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2.xml" ContentType="application/vnd.openxmlformats-officedocument.presentationml.tags+xml"/>
  <Override PartName="/ppt/slideLayouts/slideLayout7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heme/theme4.xml" ContentType="application/vnd.openxmlformats-officedocument.theme+xml"/>
  <Override PartName="/ppt/tags/tag5.xml" ContentType="application/vnd.openxmlformats-officedocument.presentationml.tags+xml"/>
  <Override PartName="/ppt/slideLayouts/slideLayout22.xml" ContentType="application/vnd.openxmlformats-officedocument.presentationml.slideLayout+xml"/>
  <Override PartName="/ppt/theme/theme5.xml" ContentType="application/vnd.openxmlformats-officedocument.theme+xml"/>
  <Override PartName="/ppt/tags/tag6.xml" ContentType="application/vnd.openxmlformats-officedocument.presentationml.tags+xml"/>
  <Override PartName="/ppt/slideLayouts/slideLayout23.xml" ContentType="application/vnd.openxmlformats-officedocument.presentationml.slideLayout+xml"/>
  <Override PartName="/ppt/theme/theme6.xml" ContentType="application/vnd.openxmlformats-officedocument.theme+xml"/>
  <Override PartName="/ppt/tags/tag7.xml" ContentType="application/vnd.openxmlformats-officedocument.presentationml.tags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heme/theme7.xml" ContentType="application/vnd.openxmlformats-officedocument.theme+xml"/>
  <Override PartName="/ppt/tags/tag8.xml" ContentType="application/vnd.openxmlformats-officedocument.presentationml.tags+xml"/>
  <Override PartName="/ppt/theme/theme8.xml" ContentType="application/vnd.openxmlformats-officedocument.theme+xml"/>
  <Override PartName="/ppt/theme/theme9.xml" ContentType="application/vnd.openxmlformats-officedocument.theme+xml"/>
  <Override PartName="/ppt/tags/tag9.xml" ContentType="application/vnd.openxmlformats-officedocument.presentationml.tags+xml"/>
  <Override PartName="/ppt/notesSlides/notesSlide1.xml" ContentType="application/vnd.openxmlformats-officedocument.presentationml.notesSlide+xml"/>
  <Override PartName="/ppt/tags/tag10.xml" ContentType="application/vnd.openxmlformats-officedocument.presentationml.tags+xml"/>
  <Override PartName="/ppt/notesSlides/notesSlide2.xml" ContentType="application/vnd.openxmlformats-officedocument.presentationml.notesSlide+xml"/>
  <Override PartName="/ppt/tags/tag11.xml" ContentType="application/vnd.openxmlformats-officedocument.presentationml.tags+xml"/>
  <Override PartName="/ppt/notesSlides/notesSlide3.xml" ContentType="application/vnd.openxmlformats-officedocument.presentationml.notesSlide+xml"/>
  <Override PartName="/ppt/tags/tag12.xml" ContentType="application/vnd.openxmlformats-officedocument.presentationml.tags+xml"/>
  <Override PartName="/ppt/notesSlides/notesSlide4.xml" ContentType="application/vnd.openxmlformats-officedocument.presentationml.notesSlide+xml"/>
  <Override PartName="/ppt/tags/tag13.xml" ContentType="application/vnd.openxmlformats-officedocument.presentationml.tags+xml"/>
  <Override PartName="/ppt/notesSlides/notesSlide5.xml" ContentType="application/vnd.openxmlformats-officedocument.presentationml.notesSlide+xml"/>
  <Override PartName="/ppt/tags/tag14.xml" ContentType="application/vnd.openxmlformats-officedocument.presentationml.tags+xml"/>
  <Override PartName="/ppt/notesSlides/notesSlide6.xml" ContentType="application/vnd.openxmlformats-officedocument.presentationml.notesSlide+xml"/>
  <Override PartName="/ppt/tags/tag15.xml" ContentType="application/vnd.openxmlformats-officedocument.presentationml.tags+xml"/>
  <Override PartName="/ppt/notesSlides/notesSlide7.xml" ContentType="application/vnd.openxmlformats-officedocument.presentationml.notesSlide+xml"/>
  <Override PartName="/ppt/tags/tag16.xml" ContentType="application/vnd.openxmlformats-officedocument.presentationml.tags+xml"/>
  <Override PartName="/ppt/notesSlides/notesSlide8.xml" ContentType="application/vnd.openxmlformats-officedocument.presentationml.notesSlide+xml"/>
  <Override PartName="/ppt/tags/tag17.xml" ContentType="application/vnd.openxmlformats-officedocument.presentationml.tags+xml"/>
  <Override PartName="/ppt/notesSlides/notesSlide9.xml" ContentType="application/vnd.openxmlformats-officedocument.presentationml.notesSlide+xml"/>
  <Override PartName="/ppt/tags/tag18.xml" ContentType="application/vnd.openxmlformats-officedocument.presentationml.tags+xml"/>
  <Override PartName="/ppt/notesSlides/notesSlide10.xml" ContentType="application/vnd.openxmlformats-officedocument.presentationml.notesSlide+xml"/>
  <Override PartName="/ppt/tags/tag19.xml" ContentType="application/vnd.openxmlformats-officedocument.presentationml.tags+xml"/>
  <Override PartName="/ppt/notesSlides/notesSlide11.xml" ContentType="application/vnd.openxmlformats-officedocument.presentationml.notesSlid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notesSlides/notesSlide12.xml" ContentType="application/vnd.openxmlformats-officedocument.presentationml.notesSlide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notesSlides/notesSlide13.xml" ContentType="application/vnd.openxmlformats-officedocument.presentationml.notesSlide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notesSlides/notesSlide14.xml" ContentType="application/vnd.openxmlformats-officedocument.presentationml.notesSlide+xml"/>
  <Override PartName="/ppt/tags/tag33.xml" ContentType="application/vnd.openxmlformats-officedocument.presentationml.tags+xml"/>
  <Override PartName="/ppt/notesSlides/notesSlide15.xml" ContentType="application/vnd.openxmlformats-officedocument.presentationml.notesSlide+xml"/>
  <Override PartName="/ppt/tags/tag34.xml" ContentType="application/vnd.openxmlformats-officedocument.presentationml.tags+xml"/>
  <Override PartName="/ppt/notesSlides/notesSlide16.xml" ContentType="application/vnd.openxmlformats-officedocument.presentationml.notesSlide+xml"/>
  <Override PartName="/ppt/tags/tag35.xml" ContentType="application/vnd.openxmlformats-officedocument.presentationml.tags+xml"/>
  <Override PartName="/ppt/notesSlides/notesSlide17.xml" ContentType="application/vnd.openxmlformats-officedocument.presentationml.notesSlide+xml"/>
  <Override PartName="/ppt/tags/tag36.xml" ContentType="application/vnd.openxmlformats-officedocument.presentationml.tags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63" r:id="rId4"/>
    <p:sldMasterId id="2147483668" r:id="rId5"/>
    <p:sldMasterId id="2147483674" r:id="rId6"/>
    <p:sldMasterId id="2147483648" r:id="rId7"/>
    <p:sldMasterId id="2147483684" r:id="rId8"/>
    <p:sldMasterId id="2147483697" r:id="rId9"/>
    <p:sldMasterId id="2147483723" r:id="rId10"/>
  </p:sldMasterIdLst>
  <p:notesMasterIdLst>
    <p:notesMasterId r:id="rId31"/>
  </p:notesMasterIdLst>
  <p:handoutMasterIdLst>
    <p:handoutMasterId r:id="rId32"/>
  </p:handoutMasterIdLst>
  <p:sldIdLst>
    <p:sldId id="357" r:id="rId11"/>
    <p:sldId id="367" r:id="rId12"/>
    <p:sldId id="378" r:id="rId13"/>
    <p:sldId id="380" r:id="rId14"/>
    <p:sldId id="468" r:id="rId15"/>
    <p:sldId id="490" r:id="rId16"/>
    <p:sldId id="475" r:id="rId17"/>
    <p:sldId id="376" r:id="rId18"/>
    <p:sldId id="476" r:id="rId19"/>
    <p:sldId id="466" r:id="rId20"/>
    <p:sldId id="390" r:id="rId21"/>
    <p:sldId id="485" r:id="rId22"/>
    <p:sldId id="391" r:id="rId23"/>
    <p:sldId id="477" r:id="rId24"/>
    <p:sldId id="493" r:id="rId25"/>
    <p:sldId id="479" r:id="rId26"/>
    <p:sldId id="473" r:id="rId27"/>
    <p:sldId id="481" r:id="rId28"/>
    <p:sldId id="489" r:id="rId29"/>
    <p:sldId id="462" r:id="rId30"/>
  </p:sldIdLst>
  <p:sldSz cx="9144000" cy="5143500" type="screen16x9"/>
  <p:notesSz cx="9925050" cy="6665913"/>
  <p:custDataLst>
    <p:tags r:id="rId33"/>
  </p:custDataLst>
  <p:defaultTextStyle>
    <a:defPPr>
      <a:defRPr lang="de-DE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  <p15:guide id="3" orient="horz" pos="162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100">
          <p15:clr>
            <a:srgbClr val="A4A3A4"/>
          </p15:clr>
        </p15:guide>
        <p15:guide id="2" pos="3126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55A2"/>
    <a:srgbClr val="0065BD"/>
    <a:srgbClr val="005293"/>
    <a:srgbClr val="FF9900"/>
    <a:srgbClr val="445064"/>
    <a:srgbClr val="666699"/>
    <a:srgbClr val="3333CC"/>
    <a:srgbClr val="1170C2"/>
    <a:srgbClr val="397BB0"/>
    <a:srgbClr val="99999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2D5ABB26-0587-4C30-8999-92F81FD0307C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Keine Formatvorlage, kein Ras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93296810-A885-4BE3-A3E7-6D5BEEA58F35}" styleName="Mittlere Formatvorlage 2 - Akz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284E427A-3D55-4303-BF80-6455036E1DE7}" styleName="Designformatvorlage 1 - Akzent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E269D01E-BC32-4049-B463-5C60D7B0CCD2}" styleName="Designformatvorlage 2 - Akzent 4">
    <a:tblBg>
      <a:fillRef idx="3">
        <a:schemeClr val="accent4"/>
      </a:fillRef>
      <a:effectRef idx="3">
        <a:schemeClr val="accent4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4">
                <a:tint val="50000"/>
              </a:schemeClr>
            </a:lnRef>
          </a:left>
          <a:right>
            <a:lnRef idx="1">
              <a:schemeClr val="accent4">
                <a:tint val="50000"/>
              </a:schemeClr>
            </a:lnRef>
          </a:right>
          <a:top>
            <a:lnRef idx="1">
              <a:schemeClr val="accent4">
                <a:tint val="50000"/>
              </a:schemeClr>
            </a:lnRef>
          </a:top>
          <a:bottom>
            <a:lnRef idx="1">
              <a:schemeClr val="accent4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9D7B26C5-4107-4FEC-AEDC-1716B250A1EF}" styleName="Helle Formatvorlag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ED083AE6-46FA-4A59-8FB0-9F97EB10719F}" styleName="Helle Formatvorlage 3 - Akzent 4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17292A2E-F333-43FB-9621-5CBBE7FDCDCB}" styleName="Helle Formatvorlage 2 - Akz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  <a:tblStyle styleId="{D27102A9-8310-4765-A935-A1911B00CA55}" styleName="Helle Formatvorlage 1 - Akzent 4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8EC20E35-A176-4012-BC5E-935CFFF8708E}" styleName="Mittlere Formatvorlage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C4B1156A-380E-4F78-BDF5-A606A8083BF9}" styleName="Mittlere Formatvorlage 4 - Akz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4"/>
              </a:solidFill>
            </a:ln>
          </a:top>
        </a:tcBdr>
        <a:fill>
          <a:solidFill>
            <a:schemeClr val="accent4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4">
              <a:tint val="20000"/>
            </a:schemeClr>
          </a:solidFill>
        </a:fill>
      </a:tcStyle>
    </a:firstRow>
  </a:tblStyle>
  <a:tblStyle styleId="{74C1A8A3-306A-4EB7-A6B1-4F7E0EB9C5D6}" styleName="Mittlere Formatvorlage 3 - Akzent 5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D7AC3CCA-C797-4891-BE02-D94E43425B78}" styleName="Mittlere Formatvorlage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 w="12700" cmpd="sng">
              <a:solidFill>
                <a:schemeClr val="dk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dk1">
              <a:tint val="20000"/>
            </a:schemeClr>
          </a:solidFill>
        </a:fill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7E9639D4-E3E2-4D34-9284-5A2195B3D0D7}" styleName="Helle Formatvorlag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268"/>
    <p:restoredTop sz="75468"/>
  </p:normalViewPr>
  <p:slideViewPr>
    <p:cSldViewPr snapToGrid="0">
      <p:cViewPr varScale="1">
        <p:scale>
          <a:sx n="159" d="100"/>
          <a:sy n="159" d="100"/>
        </p:scale>
        <p:origin x="448" y="184"/>
      </p:cViewPr>
      <p:guideLst>
        <p:guide orient="horz" pos="2160"/>
        <p:guide pos="2880"/>
        <p:guide orient="horz" pos="162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>
        <p:guide orient="horz" pos="2100"/>
        <p:guide pos="3126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3.xml"/><Relationship Id="rId18" Type="http://schemas.openxmlformats.org/officeDocument/2006/relationships/slide" Target="slides/slide8.xml"/><Relationship Id="rId26" Type="http://schemas.openxmlformats.org/officeDocument/2006/relationships/slide" Target="slides/slide16.xml"/><Relationship Id="rId21" Type="http://schemas.openxmlformats.org/officeDocument/2006/relationships/slide" Target="slides/slide11.xml"/><Relationship Id="rId34" Type="http://schemas.openxmlformats.org/officeDocument/2006/relationships/presProps" Target="presProps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2.xml"/><Relationship Id="rId17" Type="http://schemas.openxmlformats.org/officeDocument/2006/relationships/slide" Target="slides/slide7.xml"/><Relationship Id="rId25" Type="http://schemas.openxmlformats.org/officeDocument/2006/relationships/slide" Target="slides/slide15.xml"/><Relationship Id="rId33" Type="http://schemas.openxmlformats.org/officeDocument/2006/relationships/tags" Target="tags/tag1.xml"/><Relationship Id="rId2" Type="http://schemas.openxmlformats.org/officeDocument/2006/relationships/customXml" Target="../customXml/item2.xml"/><Relationship Id="rId16" Type="http://schemas.openxmlformats.org/officeDocument/2006/relationships/slide" Target="slides/slide6.xml"/><Relationship Id="rId20" Type="http://schemas.openxmlformats.org/officeDocument/2006/relationships/slide" Target="slides/slide10.xml"/><Relationship Id="rId29" Type="http://schemas.openxmlformats.org/officeDocument/2006/relationships/slide" Target="slides/slide19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1.xml"/><Relationship Id="rId24" Type="http://schemas.openxmlformats.org/officeDocument/2006/relationships/slide" Target="slides/slide14.xml"/><Relationship Id="rId32" Type="http://schemas.openxmlformats.org/officeDocument/2006/relationships/handoutMaster" Target="handoutMasters/handoutMaster1.xml"/><Relationship Id="rId37" Type="http://schemas.openxmlformats.org/officeDocument/2006/relationships/tableStyles" Target="tableStyle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5.xml"/><Relationship Id="rId23" Type="http://schemas.openxmlformats.org/officeDocument/2006/relationships/slide" Target="slides/slide13.xml"/><Relationship Id="rId28" Type="http://schemas.openxmlformats.org/officeDocument/2006/relationships/slide" Target="slides/slide18.xml"/><Relationship Id="rId36" Type="http://schemas.openxmlformats.org/officeDocument/2006/relationships/theme" Target="theme/theme1.xml"/><Relationship Id="rId10" Type="http://schemas.openxmlformats.org/officeDocument/2006/relationships/slideMaster" Target="slideMasters/slideMaster7.xml"/><Relationship Id="rId19" Type="http://schemas.openxmlformats.org/officeDocument/2006/relationships/slide" Target="slides/slide9.xml"/><Relationship Id="rId31" Type="http://schemas.openxmlformats.org/officeDocument/2006/relationships/notesMaster" Target="notesMasters/notesMaster1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" Target="slides/slide4.xml"/><Relationship Id="rId22" Type="http://schemas.openxmlformats.org/officeDocument/2006/relationships/slide" Target="slides/slide12.xml"/><Relationship Id="rId27" Type="http://schemas.openxmlformats.org/officeDocument/2006/relationships/slide" Target="slides/slide17.xml"/><Relationship Id="rId30" Type="http://schemas.openxmlformats.org/officeDocument/2006/relationships/slide" Target="slides/slide20.xml"/><Relationship Id="rId35" Type="http://schemas.openxmlformats.org/officeDocument/2006/relationships/viewProps" Target="viewProps.xml"/><Relationship Id="rId8" Type="http://schemas.openxmlformats.org/officeDocument/2006/relationships/slideMaster" Target="slideMasters/slideMaster5.xml"/><Relationship Id="rId3" Type="http://schemas.openxmlformats.org/officeDocument/2006/relationships/customXml" Target="../customXml/item3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9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2" y="0"/>
            <a:ext cx="4300855" cy="333296"/>
          </a:xfrm>
          <a:prstGeom prst="rect">
            <a:avLst/>
          </a:prstGeom>
        </p:spPr>
        <p:txBody>
          <a:bodyPr vert="horz" lIns="90708" tIns="45354" rIns="90708" bIns="45354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5621901" y="0"/>
            <a:ext cx="4300855" cy="333296"/>
          </a:xfrm>
          <a:prstGeom prst="rect">
            <a:avLst/>
          </a:prstGeom>
        </p:spPr>
        <p:txBody>
          <a:bodyPr vert="horz" lIns="90708" tIns="45354" rIns="90708" bIns="45354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20751376-2EB8-4403-B858-305A8AAA6B01}" type="datetimeFigureOut">
              <a:rPr lang="en-GB"/>
              <a:pPr>
                <a:defRPr/>
              </a:pPr>
              <a:t>20/06/2022</a:t>
            </a:fld>
            <a:endParaRPr lang="en-GB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2" y="6331460"/>
            <a:ext cx="4300855" cy="333296"/>
          </a:xfrm>
          <a:prstGeom prst="rect">
            <a:avLst/>
          </a:prstGeom>
        </p:spPr>
        <p:txBody>
          <a:bodyPr vert="horz" lIns="90708" tIns="45354" rIns="90708" bIns="45354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5621901" y="6331460"/>
            <a:ext cx="4300855" cy="333296"/>
          </a:xfrm>
          <a:prstGeom prst="rect">
            <a:avLst/>
          </a:prstGeom>
        </p:spPr>
        <p:txBody>
          <a:bodyPr vert="horz" lIns="90708" tIns="45354" rIns="90708" bIns="45354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62C15F7A-46C6-4AD2-BFEC-842DCCCC19C4}" type="slidenum">
              <a:rPr lang="en-GB"/>
              <a:pPr>
                <a:defRPr/>
              </a:pPr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2909573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2" y="0"/>
            <a:ext cx="4300855" cy="333296"/>
          </a:xfrm>
          <a:prstGeom prst="rect">
            <a:avLst/>
          </a:prstGeom>
        </p:spPr>
        <p:txBody>
          <a:bodyPr vert="horz" lIns="90708" tIns="45354" rIns="90708" bIns="45354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5621901" y="0"/>
            <a:ext cx="4300855" cy="333296"/>
          </a:xfrm>
          <a:prstGeom prst="rect">
            <a:avLst/>
          </a:prstGeom>
        </p:spPr>
        <p:txBody>
          <a:bodyPr vert="horz" lIns="90708" tIns="45354" rIns="90708" bIns="45354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89C46BC9-2C9E-4670-A85A-6A588BA2D405}" type="datetimeFigureOut">
              <a:rPr lang="en-GB"/>
              <a:pPr>
                <a:defRPr/>
              </a:pPr>
              <a:t>20/06/2022</a:t>
            </a:fld>
            <a:endParaRPr lang="en-GB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2740025" y="500063"/>
            <a:ext cx="4445000" cy="250031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0708" tIns="45354" rIns="90708" bIns="45354" rtlCol="0" anchor="ctr"/>
          <a:lstStyle/>
          <a:p>
            <a:pPr lvl="0"/>
            <a:endParaRPr lang="en-GB" noProof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992506" y="3166309"/>
            <a:ext cx="7940040" cy="2999661"/>
          </a:xfrm>
          <a:prstGeom prst="rect">
            <a:avLst/>
          </a:prstGeom>
        </p:spPr>
        <p:txBody>
          <a:bodyPr vert="horz" wrap="square" lIns="90708" tIns="45354" rIns="90708" bIns="45354" numCol="1" anchor="t" anchorCtr="0" compatLnSpc="1">
            <a:prstTxWarp prst="textNoShape">
              <a:avLst/>
            </a:prstTxWarp>
            <a:normAutofit/>
          </a:bodyPr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2" y="6331460"/>
            <a:ext cx="4300855" cy="333296"/>
          </a:xfrm>
          <a:prstGeom prst="rect">
            <a:avLst/>
          </a:prstGeom>
        </p:spPr>
        <p:txBody>
          <a:bodyPr vert="horz" lIns="90708" tIns="45354" rIns="90708" bIns="45354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5621901" y="6331460"/>
            <a:ext cx="4300855" cy="333296"/>
          </a:xfrm>
          <a:prstGeom prst="rect">
            <a:avLst/>
          </a:prstGeom>
        </p:spPr>
        <p:txBody>
          <a:bodyPr vert="horz" lIns="90708" tIns="45354" rIns="90708" bIns="45354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00AFC6D0-44D5-4EB7-828F-6F464F83D79A}" type="slidenum">
              <a:rPr lang="en-GB"/>
              <a:pPr>
                <a:defRPr/>
              </a:pPr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97997308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1pPr>
    <a:lvl2pPr marL="182563" indent="-182563" algn="l" rtl="0" fontAlgn="base">
      <a:spcBef>
        <a:spcPct val="30000"/>
      </a:spcBef>
      <a:spcAft>
        <a:spcPct val="0"/>
      </a:spcAft>
      <a:buFont typeface="Arial" charset="0"/>
      <a:buChar char="•"/>
      <a:defRPr sz="1200" kern="1200">
        <a:solidFill>
          <a:schemeClr val="tx1"/>
        </a:solidFill>
        <a:latin typeface="+mn-lt"/>
        <a:ea typeface="+mn-ea"/>
        <a:cs typeface="Arial" charset="0"/>
      </a:defRPr>
    </a:lvl2pPr>
    <a:lvl3pPr marL="355600" indent="-173038" algn="l" rtl="0" fontAlgn="base">
      <a:spcBef>
        <a:spcPct val="30000"/>
      </a:spcBef>
      <a:spcAft>
        <a:spcPct val="0"/>
      </a:spcAft>
      <a:buFont typeface="Symbol" pitchFamily="18" charset="2"/>
      <a:buChar char="-"/>
      <a:defRPr sz="1200" kern="1200">
        <a:solidFill>
          <a:schemeClr val="tx1"/>
        </a:solidFill>
        <a:latin typeface="+mn-lt"/>
        <a:ea typeface="+mn-ea"/>
        <a:cs typeface="Arial" charset="0"/>
      </a:defRPr>
    </a:lvl3pPr>
    <a:lvl4pPr marL="538163" indent="-182563" algn="l" rtl="0" fontAlgn="base">
      <a:spcBef>
        <a:spcPct val="30000"/>
      </a:spcBef>
      <a:spcAft>
        <a:spcPct val="0"/>
      </a:spcAft>
      <a:buFont typeface="Courier New" pitchFamily="49" charset="0"/>
      <a:buChar char="o"/>
      <a:defRPr sz="1200" kern="1200">
        <a:solidFill>
          <a:schemeClr val="tx1"/>
        </a:solidFill>
        <a:latin typeface="+mn-lt"/>
        <a:ea typeface="+mn-ea"/>
        <a:cs typeface="Arial" charset="0"/>
      </a:defRPr>
    </a:lvl4pPr>
    <a:lvl5pPr marL="720725" indent="-182563" algn="l" rtl="0" fontAlgn="base">
      <a:spcBef>
        <a:spcPct val="30000"/>
      </a:spcBef>
      <a:spcAft>
        <a:spcPct val="0"/>
      </a:spcAft>
      <a:buFont typeface="Wingdings" pitchFamily="2" charset="2"/>
      <a:buChar char="§"/>
      <a:defRPr sz="1200" kern="1200">
        <a:solidFill>
          <a:schemeClr val="tx1"/>
        </a:solidFill>
        <a:latin typeface="+mn-lt"/>
        <a:ea typeface="+mn-ea"/>
        <a:cs typeface="Arial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0AFC6D0-44D5-4EB7-828F-6F464F83D79A}" type="slidenum">
              <a:rPr lang="en-GB" smtClean="0"/>
              <a:pPr>
                <a:defRPr/>
              </a:pPr>
              <a:t>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1804624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DE" dirty="0"/>
              <a:t>In General </a:t>
            </a:r>
            <a:r>
              <a:rPr lang="de-DE" dirty="0" err="1"/>
              <a:t>when</a:t>
            </a:r>
            <a:r>
              <a:rPr lang="de-DE" dirty="0"/>
              <a:t> </a:t>
            </a:r>
            <a:r>
              <a:rPr lang="de-DE" dirty="0" err="1"/>
              <a:t>dealing</a:t>
            </a:r>
            <a:r>
              <a:rPr lang="de-DE" dirty="0"/>
              <a:t> </a:t>
            </a:r>
            <a:r>
              <a:rPr lang="de-DE" dirty="0" err="1"/>
              <a:t>with</a:t>
            </a:r>
            <a:r>
              <a:rPr lang="de-DE" dirty="0"/>
              <a:t> </a:t>
            </a:r>
            <a:r>
              <a:rPr lang="de-DE" dirty="0" err="1"/>
              <a:t>datasets</a:t>
            </a:r>
            <a:r>
              <a:rPr lang="de-DE" dirty="0"/>
              <a:t>, </a:t>
            </a:r>
            <a:r>
              <a:rPr lang="de-DE" dirty="0" err="1"/>
              <a:t>it</a:t>
            </a:r>
            <a:r>
              <a:rPr lang="de-DE" dirty="0"/>
              <a:t> </a:t>
            </a:r>
            <a:r>
              <a:rPr lang="de-DE" dirty="0" err="1"/>
              <a:t>is</a:t>
            </a:r>
            <a:r>
              <a:rPr lang="de-DE" dirty="0"/>
              <a:t> </a:t>
            </a:r>
            <a:r>
              <a:rPr lang="de-DE" dirty="0" err="1"/>
              <a:t>important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detect</a:t>
            </a:r>
            <a:r>
              <a:rPr lang="de-DE" dirty="0"/>
              <a:t> </a:t>
            </a:r>
            <a:r>
              <a:rPr lang="de-DE" dirty="0" err="1"/>
              <a:t>data</a:t>
            </a:r>
            <a:r>
              <a:rPr lang="de-DE" dirty="0"/>
              <a:t> </a:t>
            </a:r>
            <a:r>
              <a:rPr lang="de-DE" dirty="0" err="1"/>
              <a:t>issues</a:t>
            </a:r>
            <a:r>
              <a:rPr lang="de-DE" dirty="0"/>
              <a:t> like an </a:t>
            </a:r>
            <a:r>
              <a:rPr lang="de-DE" dirty="0" err="1"/>
              <a:t>unbalanced</a:t>
            </a:r>
            <a:r>
              <a:rPr lang="de-DE" dirty="0"/>
              <a:t> </a:t>
            </a:r>
            <a:r>
              <a:rPr lang="de-DE" dirty="0" err="1"/>
              <a:t>dataset</a:t>
            </a:r>
            <a:r>
              <a:rPr lang="de-DE" dirty="0"/>
              <a:t> </a:t>
            </a:r>
            <a:r>
              <a:rPr lang="de-DE" dirty="0" err="1"/>
              <a:t>early</a:t>
            </a:r>
            <a:r>
              <a:rPr lang="de-DE" dirty="0"/>
              <a:t>. </a:t>
            </a:r>
          </a:p>
          <a:p>
            <a:endParaRPr lang="de-DE" dirty="0"/>
          </a:p>
          <a:p>
            <a:r>
              <a:rPr lang="de-DE" dirty="0" err="1"/>
              <a:t>When</a:t>
            </a:r>
            <a:r>
              <a:rPr lang="de-DE" dirty="0"/>
              <a:t> </a:t>
            </a:r>
            <a:r>
              <a:rPr lang="de-DE" dirty="0" err="1"/>
              <a:t>using</a:t>
            </a:r>
            <a:r>
              <a:rPr lang="de-DE" dirty="0"/>
              <a:t> </a:t>
            </a:r>
            <a:r>
              <a:rPr lang="de-DE" dirty="0" err="1"/>
              <a:t>active</a:t>
            </a:r>
            <a:r>
              <a:rPr lang="de-DE" dirty="0"/>
              <a:t> </a:t>
            </a:r>
            <a:r>
              <a:rPr lang="de-DE" dirty="0" err="1"/>
              <a:t>learning</a:t>
            </a:r>
            <a:r>
              <a:rPr lang="de-DE" dirty="0"/>
              <a:t> </a:t>
            </a:r>
            <a:r>
              <a:rPr lang="de-DE" dirty="0" err="1"/>
              <a:t>we</a:t>
            </a:r>
            <a:r>
              <a:rPr lang="de-DE" dirty="0"/>
              <a:t> </a:t>
            </a:r>
            <a:r>
              <a:rPr lang="de-DE" dirty="0" err="1"/>
              <a:t>must</a:t>
            </a:r>
            <a:r>
              <a:rPr lang="de-DE" dirty="0"/>
              <a:t> </a:t>
            </a:r>
            <a:r>
              <a:rPr lang="de-DE" dirty="0" err="1"/>
              <a:t>be</a:t>
            </a:r>
            <a:r>
              <a:rPr lang="de-DE" dirty="0"/>
              <a:t> </a:t>
            </a:r>
            <a:r>
              <a:rPr lang="de-DE" dirty="0" err="1"/>
              <a:t>additionally</a:t>
            </a:r>
            <a:r>
              <a:rPr lang="de-DE" dirty="0"/>
              <a:t> </a:t>
            </a:r>
            <a:r>
              <a:rPr lang="de-DE" dirty="0" err="1"/>
              <a:t>aware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scaling</a:t>
            </a:r>
            <a:r>
              <a:rPr lang="de-DE" dirty="0"/>
              <a:t> and </a:t>
            </a:r>
            <a:r>
              <a:rPr lang="de-DE" dirty="0" err="1"/>
              <a:t>label</a:t>
            </a:r>
            <a:r>
              <a:rPr lang="de-DE" dirty="0"/>
              <a:t> </a:t>
            </a:r>
            <a:r>
              <a:rPr lang="de-DE" dirty="0" err="1"/>
              <a:t>interconnection</a:t>
            </a:r>
            <a:r>
              <a:rPr lang="de-DE" dirty="0"/>
              <a:t> </a:t>
            </a:r>
            <a:r>
              <a:rPr lang="de-DE" dirty="0" err="1"/>
              <a:t>issues</a:t>
            </a:r>
            <a:r>
              <a:rPr lang="de-DE" dirty="0"/>
              <a:t>.</a:t>
            </a:r>
          </a:p>
          <a:p>
            <a:endParaRPr lang="de-DE" dirty="0"/>
          </a:p>
          <a:p>
            <a:r>
              <a:rPr lang="de-DE" dirty="0"/>
              <a:t>As </a:t>
            </a:r>
            <a:r>
              <a:rPr lang="de-DE" dirty="0" err="1"/>
              <a:t>data</a:t>
            </a:r>
            <a:r>
              <a:rPr lang="de-DE" dirty="0"/>
              <a:t> </a:t>
            </a:r>
            <a:r>
              <a:rPr lang="de-DE" dirty="0" err="1"/>
              <a:t>can</a:t>
            </a:r>
            <a:r>
              <a:rPr lang="de-DE" dirty="0"/>
              <a:t> </a:t>
            </a:r>
            <a:r>
              <a:rPr lang="de-DE" dirty="0" err="1"/>
              <a:t>make</a:t>
            </a:r>
            <a:r>
              <a:rPr lang="de-DE" dirty="0"/>
              <a:t> </a:t>
            </a:r>
            <a:r>
              <a:rPr lang="de-DE" dirty="0" err="1"/>
              <a:t>or</a:t>
            </a:r>
            <a:r>
              <a:rPr lang="de-DE" dirty="0"/>
              <a:t> break </a:t>
            </a:r>
            <a:r>
              <a:rPr lang="de-DE" dirty="0" err="1"/>
              <a:t>our</a:t>
            </a:r>
            <a:r>
              <a:rPr lang="de-DE" dirty="0"/>
              <a:t> </a:t>
            </a:r>
            <a:r>
              <a:rPr lang="de-DE" dirty="0" err="1"/>
              <a:t>model</a:t>
            </a:r>
            <a:r>
              <a:rPr lang="de-DE" dirty="0"/>
              <a:t> </a:t>
            </a:r>
            <a:r>
              <a:rPr lang="de-DE" dirty="0" err="1"/>
              <a:t>we</a:t>
            </a:r>
            <a:r>
              <a:rPr lang="de-DE" dirty="0"/>
              <a:t> </a:t>
            </a:r>
            <a:r>
              <a:rPr lang="de-DE" dirty="0" err="1"/>
              <a:t>decided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focus</a:t>
            </a:r>
            <a:r>
              <a:rPr lang="de-DE" dirty="0"/>
              <a:t> on high </a:t>
            </a:r>
            <a:r>
              <a:rPr lang="de-DE" dirty="0" err="1"/>
              <a:t>quality</a:t>
            </a:r>
            <a:r>
              <a:rPr lang="de-DE" dirty="0"/>
              <a:t> </a:t>
            </a:r>
            <a:r>
              <a:rPr lang="de-DE" dirty="0" err="1"/>
              <a:t>data</a:t>
            </a:r>
            <a:r>
              <a:rPr lang="de-DE" dirty="0"/>
              <a:t> </a:t>
            </a:r>
            <a:r>
              <a:rPr lang="de-DE" dirty="0" err="1"/>
              <a:t>from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start</a:t>
            </a:r>
            <a:r>
              <a:rPr lang="de-DE" dirty="0"/>
              <a:t>.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00AFC6D0-44D5-4EB7-828F-6F464F83D79A}" type="slidenum">
              <a:rPr lang="en-GB" smtClean="0"/>
              <a:pPr>
                <a:defRPr/>
              </a:pPr>
              <a:t>10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09154107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00AFC6D0-44D5-4EB7-828F-6F464F83D79A}" type="slidenum">
              <a:rPr lang="en-GB" smtClean="0"/>
              <a:pPr>
                <a:defRPr/>
              </a:pPr>
              <a:t>1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14762261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/>
              <a:t>Take </a:t>
            </a:r>
            <a:r>
              <a:rPr lang="de-DE" err="1"/>
              <a:t>unlabeled</a:t>
            </a:r>
            <a:r>
              <a:rPr lang="de-DE"/>
              <a:t> </a:t>
            </a:r>
            <a:r>
              <a:rPr lang="de-DE" err="1"/>
              <a:t>dataset</a:t>
            </a:r>
            <a:r>
              <a:rPr lang="de-DE"/>
              <a:t> and </a:t>
            </a:r>
            <a:r>
              <a:rPr lang="de-DE" err="1"/>
              <a:t>define</a:t>
            </a:r>
            <a:r>
              <a:rPr lang="de-DE"/>
              <a:t> a </a:t>
            </a:r>
            <a:r>
              <a:rPr lang="de-DE" err="1"/>
              <a:t>proxy</a:t>
            </a:r>
            <a:r>
              <a:rPr lang="de-DE"/>
              <a:t> </a:t>
            </a:r>
            <a:r>
              <a:rPr lang="de-DE" err="1"/>
              <a:t>task</a:t>
            </a:r>
            <a:r>
              <a:rPr lang="de-DE"/>
              <a:t> </a:t>
            </a:r>
            <a:r>
              <a:rPr lang="de-DE" err="1"/>
              <a:t>that</a:t>
            </a:r>
            <a:r>
              <a:rPr lang="de-DE"/>
              <a:t> </a:t>
            </a:r>
            <a:r>
              <a:rPr lang="de-DE" err="1"/>
              <a:t>is</a:t>
            </a:r>
            <a:r>
              <a:rPr lang="de-DE"/>
              <a:t> easy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implement</a:t>
            </a:r>
            <a:endParaRPr lang="de-DE"/>
          </a:p>
          <a:p>
            <a:r>
              <a:rPr lang="de-DE"/>
              <a:t>Train </a:t>
            </a:r>
            <a:r>
              <a:rPr lang="de-DE" err="1"/>
              <a:t>the</a:t>
            </a:r>
            <a:r>
              <a:rPr lang="de-DE"/>
              <a:t> </a:t>
            </a:r>
            <a:r>
              <a:rPr lang="de-DE" err="1"/>
              <a:t>neural</a:t>
            </a:r>
            <a:r>
              <a:rPr lang="de-DE"/>
              <a:t> network on </a:t>
            </a:r>
            <a:r>
              <a:rPr lang="de-DE" err="1"/>
              <a:t>this</a:t>
            </a:r>
            <a:r>
              <a:rPr lang="de-DE"/>
              <a:t> </a:t>
            </a:r>
            <a:r>
              <a:rPr lang="de-DE" err="1"/>
              <a:t>proxy</a:t>
            </a:r>
            <a:r>
              <a:rPr lang="de-DE"/>
              <a:t> </a:t>
            </a:r>
            <a:r>
              <a:rPr lang="de-DE" err="1"/>
              <a:t>task</a:t>
            </a:r>
            <a:r>
              <a:rPr lang="de-DE"/>
              <a:t>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generate</a:t>
            </a:r>
            <a:r>
              <a:rPr lang="de-DE"/>
              <a:t> a </a:t>
            </a:r>
            <a:r>
              <a:rPr lang="de-DE" err="1"/>
              <a:t>pre</a:t>
            </a:r>
            <a:r>
              <a:rPr lang="de-DE"/>
              <a:t>-train </a:t>
            </a:r>
            <a:r>
              <a:rPr lang="de-DE" err="1"/>
              <a:t>model</a:t>
            </a:r>
            <a:r>
              <a:rPr lang="de-DE"/>
              <a:t> (This </a:t>
            </a:r>
            <a:r>
              <a:rPr lang="de-DE" err="1"/>
              <a:t>model</a:t>
            </a:r>
            <a:r>
              <a:rPr lang="de-DE"/>
              <a:t> will </a:t>
            </a:r>
            <a:r>
              <a:rPr lang="de-DE" err="1"/>
              <a:t>already</a:t>
            </a:r>
            <a:r>
              <a:rPr lang="de-DE"/>
              <a:t> </a:t>
            </a:r>
            <a:r>
              <a:rPr lang="de-DE" err="1"/>
              <a:t>know</a:t>
            </a:r>
            <a:r>
              <a:rPr lang="de-DE"/>
              <a:t> </a:t>
            </a:r>
            <a:r>
              <a:rPr lang="de-DE" err="1"/>
              <a:t>some</a:t>
            </a:r>
            <a:r>
              <a:rPr lang="de-DE"/>
              <a:t> </a:t>
            </a:r>
            <a:r>
              <a:rPr lang="de-DE" err="1"/>
              <a:t>features</a:t>
            </a:r>
            <a:r>
              <a:rPr lang="de-DE"/>
              <a:t> </a:t>
            </a:r>
            <a:r>
              <a:rPr lang="de-DE" err="1"/>
              <a:t>that</a:t>
            </a:r>
            <a:r>
              <a:rPr lang="de-DE"/>
              <a:t> </a:t>
            </a:r>
            <a:r>
              <a:rPr lang="de-DE" err="1"/>
              <a:t>the</a:t>
            </a:r>
            <a:r>
              <a:rPr lang="de-DE"/>
              <a:t> </a:t>
            </a:r>
            <a:r>
              <a:rPr lang="de-DE" err="1"/>
              <a:t>actual</a:t>
            </a:r>
            <a:r>
              <a:rPr lang="de-DE"/>
              <a:t> </a:t>
            </a:r>
            <a:r>
              <a:rPr lang="de-DE" err="1"/>
              <a:t>task</a:t>
            </a:r>
            <a:r>
              <a:rPr lang="de-DE"/>
              <a:t> </a:t>
            </a:r>
            <a:r>
              <a:rPr lang="de-DE" err="1"/>
              <a:t>needs</a:t>
            </a:r>
            <a:r>
              <a:rPr lang="de-DE"/>
              <a:t>)</a:t>
            </a:r>
          </a:p>
          <a:p>
            <a:r>
              <a:rPr lang="de-DE"/>
              <a:t>Train </a:t>
            </a:r>
            <a:r>
              <a:rPr lang="de-DE" err="1"/>
              <a:t>the</a:t>
            </a:r>
            <a:r>
              <a:rPr lang="de-DE"/>
              <a:t> </a:t>
            </a:r>
            <a:r>
              <a:rPr lang="de-DE" err="1"/>
              <a:t>pre</a:t>
            </a:r>
            <a:r>
              <a:rPr lang="de-DE"/>
              <a:t>-train </a:t>
            </a:r>
            <a:r>
              <a:rPr lang="de-DE" err="1"/>
              <a:t>model</a:t>
            </a:r>
            <a:r>
              <a:rPr lang="de-DE"/>
              <a:t> </a:t>
            </a:r>
            <a:r>
              <a:rPr lang="de-DE" err="1"/>
              <a:t>with</a:t>
            </a:r>
            <a:r>
              <a:rPr lang="de-DE"/>
              <a:t> a </a:t>
            </a:r>
            <a:r>
              <a:rPr lang="de-DE" err="1"/>
              <a:t>few</a:t>
            </a:r>
            <a:r>
              <a:rPr lang="de-DE"/>
              <a:t> </a:t>
            </a:r>
            <a:r>
              <a:rPr lang="de-DE" err="1"/>
              <a:t>labeld</a:t>
            </a:r>
            <a:r>
              <a:rPr lang="de-DE"/>
              <a:t> </a:t>
            </a:r>
            <a:r>
              <a:rPr lang="de-DE" err="1"/>
              <a:t>samples</a:t>
            </a:r>
            <a:r>
              <a:rPr lang="de-DE"/>
              <a:t> </a:t>
            </a:r>
            <a:r>
              <a:rPr lang="de-DE" err="1"/>
              <a:t>get</a:t>
            </a:r>
            <a:r>
              <a:rPr lang="de-DE"/>
              <a:t> a </a:t>
            </a:r>
            <a:r>
              <a:rPr lang="de-DE" err="1"/>
              <a:t>beter</a:t>
            </a:r>
            <a:r>
              <a:rPr lang="de-DE"/>
              <a:t> </a:t>
            </a:r>
            <a:r>
              <a:rPr lang="de-DE" err="1"/>
              <a:t>model</a:t>
            </a:r>
            <a:r>
              <a:rPr lang="de-DE"/>
              <a:t> </a:t>
            </a:r>
            <a:r>
              <a:rPr lang="de-DE" err="1"/>
              <a:t>for</a:t>
            </a:r>
            <a:r>
              <a:rPr lang="de-DE"/>
              <a:t> </a:t>
            </a:r>
            <a:r>
              <a:rPr lang="de-DE" err="1"/>
              <a:t>the</a:t>
            </a:r>
            <a:r>
              <a:rPr lang="de-DE"/>
              <a:t> </a:t>
            </a:r>
            <a:r>
              <a:rPr lang="de-DE" err="1"/>
              <a:t>downstream</a:t>
            </a:r>
            <a:r>
              <a:rPr lang="de-DE"/>
              <a:t> </a:t>
            </a:r>
            <a:r>
              <a:rPr lang="de-DE" err="1"/>
              <a:t>task</a:t>
            </a:r>
            <a:r>
              <a:rPr lang="de-DE"/>
              <a:t>, </a:t>
            </a:r>
            <a:r>
              <a:rPr lang="de-DE" err="1"/>
              <a:t>the</a:t>
            </a:r>
            <a:r>
              <a:rPr lang="de-DE"/>
              <a:t> </a:t>
            </a:r>
            <a:r>
              <a:rPr lang="de-DE" err="1"/>
              <a:t>task</a:t>
            </a:r>
            <a:r>
              <a:rPr lang="de-DE"/>
              <a:t> </a:t>
            </a:r>
            <a:r>
              <a:rPr lang="de-DE" err="1"/>
              <a:t>that</a:t>
            </a:r>
            <a:r>
              <a:rPr lang="de-DE"/>
              <a:t> </a:t>
            </a:r>
            <a:r>
              <a:rPr lang="de-DE" err="1"/>
              <a:t>it</a:t>
            </a:r>
            <a:r>
              <a:rPr lang="de-DE"/>
              <a:t> </a:t>
            </a:r>
            <a:r>
              <a:rPr lang="de-DE" err="1"/>
              <a:t>actually</a:t>
            </a:r>
            <a:r>
              <a:rPr lang="de-DE"/>
              <a:t> </a:t>
            </a:r>
            <a:r>
              <a:rPr lang="de-DE" err="1"/>
              <a:t>is</a:t>
            </a:r>
            <a:r>
              <a:rPr lang="de-DE"/>
              <a:t> </a:t>
            </a:r>
            <a:r>
              <a:rPr lang="de-DE" err="1"/>
              <a:t>wanted</a:t>
            </a:r>
            <a:endParaRPr lang="de-DE"/>
          </a:p>
          <a:p>
            <a:r>
              <a:rPr lang="de-DE"/>
              <a:t>Pro: </a:t>
            </a:r>
            <a:r>
              <a:rPr lang="de-DE" err="1"/>
              <a:t>No</a:t>
            </a:r>
            <a:r>
              <a:rPr lang="de-DE"/>
              <a:t> </a:t>
            </a:r>
            <a:r>
              <a:rPr lang="de-DE" err="1"/>
              <a:t>prior</a:t>
            </a:r>
            <a:r>
              <a:rPr lang="de-DE"/>
              <a:t> </a:t>
            </a:r>
            <a:r>
              <a:rPr lang="de-DE" err="1"/>
              <a:t>labeling</a:t>
            </a:r>
            <a:r>
              <a:rPr lang="de-DE"/>
              <a:t> </a:t>
            </a:r>
            <a:r>
              <a:rPr lang="de-DE" err="1"/>
              <a:t>needed</a:t>
            </a:r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00AFC6D0-44D5-4EB7-828F-6F464F83D79A}" type="slidenum">
              <a:rPr lang="en-GB" smtClean="0"/>
              <a:pPr>
                <a:defRPr/>
              </a:pPr>
              <a:t>1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98879444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55575" y="574675"/>
            <a:ext cx="6621463" cy="37242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28CEAFE-FA94-43E5-B0FF-D47E1CCDD1B4}" type="slidenum">
              <a:rPr lang="en-US" smtClean="0">
                <a:solidFill>
                  <a:srgbClr val="6E6F73"/>
                </a:solidFill>
              </a:rPr>
              <a:pPr/>
              <a:t>14</a:t>
            </a:fld>
            <a:endParaRPr lang="en-US">
              <a:solidFill>
                <a:srgbClr val="6E6F7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56607939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1">
                <a:solidFill>
                  <a:srgbClr val="575757"/>
                </a:solidFill>
                <a:sym typeface="Trebuchet MS" panose="020B0603020202020204" pitchFamily="34" charset="0"/>
              </a:rPr>
              <a:t>When using picture please refer the source</a:t>
            </a:r>
          </a:p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00AFC6D0-44D5-4EB7-828F-6F464F83D79A}" type="slidenum">
              <a:rPr lang="en-GB" smtClean="0"/>
              <a:pPr>
                <a:defRPr/>
              </a:pPr>
              <a:t>1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6249368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1200" b="1">
                <a:solidFill>
                  <a:srgbClr val="575757"/>
                </a:solidFill>
                <a:latin typeface="Arial"/>
                <a:cs typeface="Arial"/>
              </a:rPr>
              <a:t>- First we need configuration for our component (still missing in the image)</a:t>
            </a:r>
          </a:p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1200" b="1">
                <a:solidFill>
                  <a:srgbClr val="575757"/>
                </a:solidFill>
                <a:latin typeface="Arial"/>
                <a:cs typeface="Arial"/>
              </a:rPr>
              <a:t>- We need a place to send information -&gt; Metadata store</a:t>
            </a:r>
            <a:endParaRPr lang="en-US" sz="1200" b="1">
              <a:solidFill>
                <a:srgbClr val="575757"/>
              </a:solidFill>
            </a:endParaRPr>
          </a:p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1200" b="1">
                <a:solidFill>
                  <a:srgbClr val="575757"/>
                </a:solidFill>
                <a:latin typeface="Arial"/>
                <a:cs typeface="Arial"/>
              </a:rPr>
              <a:t>- Read metadata from previous components and write metadata for next components</a:t>
            </a:r>
            <a:endParaRPr lang="en-US" sz="1200" b="1">
              <a:solidFill>
                <a:srgbClr val="575757"/>
              </a:solidFill>
            </a:endParaRPr>
          </a:p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1200" b="1">
              <a:solidFill>
                <a:srgbClr val="575757"/>
              </a:solidFill>
            </a:endParaRPr>
          </a:p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00AFC6D0-44D5-4EB7-828F-6F464F83D79A}" type="slidenum">
              <a:rPr lang="en-GB" smtClean="0"/>
              <a:pPr>
                <a:defRPr/>
              </a:pPr>
              <a:t>16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77778507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 fontScale="92500" lnSpcReduction="10000"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1200" b="1">
                <a:solidFill>
                  <a:srgbClr val="575757"/>
                </a:solidFill>
                <a:sym typeface="Trebuchet MS" panose="020B0603020202020204" pitchFamily="34" charset="0"/>
              </a:rPr>
              <a:t>TFX:</a:t>
            </a:r>
          </a:p>
          <a:p>
            <a:pPr marL="171450" indent="-171450">
              <a:lnSpc>
                <a:spcPct val="90000"/>
              </a:lnSpc>
              <a:spcAft>
                <a:spcPts val="600"/>
              </a:spcAft>
              <a:buFontTx/>
              <a:buChar char="-"/>
            </a:pPr>
            <a:r>
              <a:rPr lang="en-US" sz="1200" b="1">
                <a:solidFill>
                  <a:srgbClr val="575757"/>
                </a:solidFill>
                <a:sym typeface="Trebuchet MS" panose="020B0603020202020204" pitchFamily="34" charset="0"/>
              </a:rPr>
              <a:t>Pipelines: sequence of components (driver, executor and publisher), basically only customize executor which performs the work</a:t>
            </a:r>
          </a:p>
          <a:p>
            <a:endParaRPr lang="de-DE"/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1">
                <a:solidFill>
                  <a:srgbClr val="575757"/>
                </a:solidFill>
                <a:sym typeface="Trebuchet MS" panose="020B0603020202020204" pitchFamily="34" charset="0"/>
              </a:rPr>
              <a:t>Example gen reads in data, splits into training and eval, formats as </a:t>
            </a:r>
            <a:r>
              <a:rPr lang="en-US" sz="1200" b="1" err="1">
                <a:solidFill>
                  <a:srgbClr val="575757"/>
                </a:solidFill>
                <a:sym typeface="Trebuchet MS" panose="020B0603020202020204" pitchFamily="34" charset="0"/>
              </a:rPr>
              <a:t>tfexamples</a:t>
            </a:r>
            <a:endParaRPr lang="en-US" sz="1200" b="1">
              <a:solidFill>
                <a:srgbClr val="575757"/>
              </a:solidFill>
              <a:sym typeface="Trebuchet MS" panose="020B0603020202020204" pitchFamily="34" charset="0"/>
            </a:endParaRPr>
          </a:p>
          <a:p>
            <a:endParaRPr lang="de-DE"/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1">
                <a:solidFill>
                  <a:srgbClr val="575757"/>
                </a:solidFill>
                <a:sym typeface="Trebuchet MS" panose="020B0603020202020204" pitchFamily="34" charset="0"/>
              </a:rPr>
              <a:t>Statistics gen: does one full epoch and calculates statistics of data, find possible issues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1">
                <a:solidFill>
                  <a:srgbClr val="575757"/>
                </a:solidFill>
                <a:sym typeface="Trebuchet MS" panose="020B0603020202020204" pitchFamily="34" charset="0"/>
              </a:rPr>
              <a:t>Schema gen: looks at statistics and tries to infer type per feature and range of categories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1">
                <a:solidFill>
                  <a:srgbClr val="575757"/>
                </a:solidFill>
                <a:sym typeface="Trebuchet MS" panose="020B0603020202020204" pitchFamily="34" charset="0"/>
              </a:rPr>
              <a:t>Example Validator looks for anomalies, missing values </a:t>
            </a:r>
            <a:r>
              <a:rPr lang="en-US" sz="1200" b="1" err="1">
                <a:solidFill>
                  <a:srgbClr val="575757"/>
                </a:solidFill>
                <a:sym typeface="Trebuchet MS" panose="020B0603020202020204" pitchFamily="34" charset="0"/>
              </a:rPr>
              <a:t>etc</a:t>
            </a:r>
            <a:endParaRPr lang="en-US" sz="1200" b="1">
              <a:solidFill>
                <a:srgbClr val="575757"/>
              </a:solidFill>
              <a:sym typeface="Trebuchet MS" panose="020B0603020202020204" pitchFamily="34" charset="0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1">
                <a:solidFill>
                  <a:srgbClr val="575757"/>
                </a:solidFill>
                <a:sym typeface="Trebuchet MS" panose="020B0603020202020204" pitchFamily="34" charset="0"/>
              </a:rPr>
              <a:t>Transform for feature engineering: vocabs, </a:t>
            </a:r>
            <a:r>
              <a:rPr lang="en-US" sz="1200" b="1" err="1">
                <a:solidFill>
                  <a:srgbClr val="575757"/>
                </a:solidFill>
                <a:sym typeface="Trebuchet MS" panose="020B0603020202020204" pitchFamily="34" charset="0"/>
              </a:rPr>
              <a:t>PCA</a:t>
            </a:r>
            <a:r>
              <a:rPr lang="en-US" sz="1200" b="1">
                <a:solidFill>
                  <a:srgbClr val="575757"/>
                </a:solidFill>
                <a:sym typeface="Trebuchet MS" panose="020B0603020202020204" pitchFamily="34" charset="0"/>
              </a:rPr>
              <a:t> </a:t>
            </a:r>
            <a:r>
              <a:rPr lang="en-US" sz="1200" b="1" err="1">
                <a:solidFill>
                  <a:srgbClr val="575757"/>
                </a:solidFill>
                <a:sym typeface="Trebuchet MS" panose="020B0603020202020204" pitchFamily="34" charset="0"/>
              </a:rPr>
              <a:t>etc</a:t>
            </a:r>
            <a:endParaRPr lang="en-US" sz="1200" b="1">
              <a:solidFill>
                <a:srgbClr val="575757"/>
              </a:solidFill>
              <a:sym typeface="Trebuchet MS" panose="020B0603020202020204" pitchFamily="34" charset="0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1">
                <a:solidFill>
                  <a:srgbClr val="575757"/>
                </a:solidFill>
                <a:sym typeface="Trebuchet MS" panose="020B0603020202020204" pitchFamily="34" charset="0"/>
              </a:rPr>
              <a:t>Trainer trains model and save normal </a:t>
            </a:r>
            <a:r>
              <a:rPr lang="en-US" sz="1200" b="1" err="1">
                <a:solidFill>
                  <a:srgbClr val="575757"/>
                </a:solidFill>
                <a:sym typeface="Trebuchet MS" panose="020B0603020202020204" pitchFamily="34" charset="0"/>
              </a:rPr>
              <a:t>savemodel</a:t>
            </a:r>
            <a:r>
              <a:rPr lang="en-US" sz="1200" b="1">
                <a:solidFill>
                  <a:srgbClr val="575757"/>
                </a:solidFill>
                <a:sym typeface="Trebuchet MS" panose="020B0603020202020204" pitchFamily="34" charset="0"/>
              </a:rPr>
              <a:t> and </a:t>
            </a:r>
            <a:r>
              <a:rPr lang="en-US" sz="1200" b="1" err="1">
                <a:solidFill>
                  <a:srgbClr val="575757"/>
                </a:solidFill>
                <a:sym typeface="Trebuchet MS" panose="020B0603020202020204" pitchFamily="34" charset="0"/>
              </a:rPr>
              <a:t>evalsave</a:t>
            </a:r>
            <a:r>
              <a:rPr lang="en-US" sz="1200" b="1">
                <a:solidFill>
                  <a:srgbClr val="575757"/>
                </a:solidFill>
                <a:sym typeface="Trebuchet MS" panose="020B0603020202020204" pitchFamily="34" charset="0"/>
              </a:rPr>
              <a:t> model to analyze performance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1" err="1">
                <a:solidFill>
                  <a:srgbClr val="575757"/>
                </a:solidFill>
                <a:sym typeface="Trebuchet MS" panose="020B0603020202020204" pitchFamily="34" charset="0"/>
              </a:rPr>
              <a:t>Tensorboard</a:t>
            </a:r>
            <a:r>
              <a:rPr lang="en-US" sz="1200" b="1">
                <a:solidFill>
                  <a:srgbClr val="575757"/>
                </a:solidFill>
                <a:sym typeface="Trebuchet MS" panose="020B0603020202020204" pitchFamily="34" charset="0"/>
              </a:rPr>
              <a:t> to analyze and monitor training runs based on meta data store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1">
                <a:solidFill>
                  <a:srgbClr val="575757"/>
                </a:solidFill>
                <a:sym typeface="Trebuchet MS" panose="020B0603020202020204" pitchFamily="34" charset="0"/>
              </a:rPr>
              <a:t>Evaluator for deep model analysis on individual slice basis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1">
                <a:solidFill>
                  <a:srgbClr val="575757"/>
                </a:solidFill>
                <a:sym typeface="Trebuchet MS" panose="020B0603020202020204" pitchFamily="34" charset="0"/>
              </a:rPr>
              <a:t>Model validator decides if </a:t>
            </a:r>
            <a:r>
              <a:rPr lang="en-US" sz="1200" b="1" err="1">
                <a:solidFill>
                  <a:srgbClr val="575757"/>
                </a:solidFill>
                <a:sym typeface="Trebuchet MS" panose="020B0603020202020204" pitchFamily="34" charset="0"/>
              </a:rPr>
              <a:t>modle</a:t>
            </a:r>
            <a:r>
              <a:rPr lang="en-US" sz="1200" b="1">
                <a:solidFill>
                  <a:srgbClr val="575757"/>
                </a:solidFill>
                <a:sym typeface="Trebuchet MS" panose="020B0603020202020204" pitchFamily="34" charset="0"/>
              </a:rPr>
              <a:t> Is good enough to be pushed, Pusher then pushes model</a:t>
            </a:r>
          </a:p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00AFC6D0-44D5-4EB7-828F-6F464F83D79A}" type="slidenum">
              <a:rPr lang="en-GB" smtClean="0"/>
              <a:pPr>
                <a:defRPr/>
              </a:pPr>
              <a:t>17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04961276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1" dirty="0">
                <a:solidFill>
                  <a:srgbClr val="575757"/>
                </a:solidFill>
                <a:sym typeface="Trebuchet MS" panose="020B0603020202020204" pitchFamily="34" charset="0"/>
              </a:rPr>
              <a:t>Schema gen: looks at statistics and tries to infer type per feature and range of categories</a:t>
            </a:r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00AFC6D0-44D5-4EB7-828F-6F464F83D79A}" type="slidenum">
              <a:rPr lang="en-GB" smtClean="0"/>
              <a:pPr>
                <a:defRPr/>
              </a:pPr>
              <a:t>18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10970035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00AFC6D0-44D5-4EB7-828F-6F464F83D79A}" type="slidenum">
              <a:rPr lang="en-GB" smtClean="0"/>
              <a:pPr>
                <a:defRPr/>
              </a:pPr>
              <a:t>19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13885398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55575" y="574675"/>
            <a:ext cx="6621463" cy="37242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dirty="0"/>
              <a:t>Notes view: </a:t>
            </a:r>
            <a:fld id="{128CEAFE-FA94-43E5-B0FF-D47E1CCDD1B4}" type="slidenum">
              <a:rPr lang="en-US" smtClean="0"/>
              <a:pPr/>
              <a:t>2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3622123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 fontScale="47500" lnSpcReduction="20000"/>
          </a:bodyPr>
          <a:lstStyle/>
          <a:p>
            <a:r>
              <a:rPr lang="en-US" noProof="0" dirty="0"/>
              <a:t>Let‘s first have a look at todays outline:</a:t>
            </a:r>
          </a:p>
          <a:p>
            <a:endParaRPr lang="en-US" noProof="0" dirty="0"/>
          </a:p>
          <a:p>
            <a:r>
              <a:rPr lang="en-US" noProof="0" dirty="0"/>
              <a:t>We‘ll start by reviewing our achievements and organizational structure.</a:t>
            </a:r>
          </a:p>
          <a:p>
            <a:endParaRPr lang="en-US" noProof="0" dirty="0"/>
          </a:p>
          <a:p>
            <a:r>
              <a:rPr lang="en-US" noProof="0" dirty="0"/>
              <a:t>I’ll then dive into promising ML research and corresponding techniques.</a:t>
            </a:r>
          </a:p>
          <a:p>
            <a:endParaRPr lang="en-US" noProof="0" dirty="0"/>
          </a:p>
          <a:p>
            <a:r>
              <a:rPr lang="en-US" noProof="0" dirty="0"/>
              <a:t>Afterwards </a:t>
            </a:r>
            <a:r>
              <a:rPr lang="en-US" noProof="0" dirty="0" err="1"/>
              <a:t>Linyan</a:t>
            </a:r>
            <a:r>
              <a:rPr lang="en-US" noProof="0" dirty="0"/>
              <a:t> will explain our ML pipeline, </a:t>
            </a:r>
            <a:r>
              <a:rPr lang="en-US" noProof="0" dirty="0" err="1"/>
              <a:t>tensorflow</a:t>
            </a:r>
            <a:r>
              <a:rPr lang="en-US" noProof="0" dirty="0"/>
              <a:t> extended and our next steps. </a:t>
            </a:r>
          </a:p>
          <a:p>
            <a:endParaRPr lang="en-US" noProof="0" dirty="0"/>
          </a:p>
          <a:p>
            <a:r>
              <a:rPr lang="en-US" dirty="0"/>
              <a:t>Since our last Pecha Kucha, we set up our organizational structure on Jira and our software infrastructure including the CI/CD &amp; Docker setup.</a:t>
            </a:r>
          </a:p>
          <a:p>
            <a:endParaRPr lang="en-US" dirty="0"/>
          </a:p>
          <a:p>
            <a:endParaRPr lang="en-US" noProof="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00AFC6D0-44D5-4EB7-828F-6F464F83D79A}" type="slidenum">
              <a:rPr lang="en-GB" smtClean="0"/>
              <a:pPr>
                <a:defRPr/>
              </a:pPr>
              <a:t>2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5290693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Since our last Pecha Kucha, we set up our organizational structure on Jira and our software infrastructure including the CI/CD &amp; Docker setup.</a:t>
            </a:r>
          </a:p>
          <a:p>
            <a:endParaRPr lang="en-US" dirty="0"/>
          </a:p>
          <a:p>
            <a:r>
              <a:rPr lang="en-US" dirty="0"/>
              <a:t>We also aligned on a common coding environment &amp; guidelines like the coding style.</a:t>
            </a:r>
          </a:p>
          <a:p>
            <a:endParaRPr lang="en-US" dirty="0"/>
          </a:p>
          <a:p>
            <a:r>
              <a:rPr lang="en-US" dirty="0"/>
              <a:t>Lastly we reviewed the given project data.</a:t>
            </a:r>
          </a:p>
          <a:p>
            <a:endParaRPr lang="en-US" dirty="0"/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DE" dirty="0" err="1"/>
              <a:t>Going</a:t>
            </a:r>
            <a:r>
              <a:rPr lang="de-DE" dirty="0"/>
              <a:t> </a:t>
            </a:r>
            <a:r>
              <a:rPr lang="de-DE" dirty="0" err="1"/>
              <a:t>forward</a:t>
            </a:r>
            <a:r>
              <a:rPr lang="de-DE" dirty="0"/>
              <a:t> </a:t>
            </a:r>
            <a:r>
              <a:rPr lang="de-DE" dirty="0" err="1"/>
              <a:t>we</a:t>
            </a:r>
            <a:r>
              <a:rPr lang="de-DE" dirty="0"/>
              <a:t> </a:t>
            </a:r>
            <a:r>
              <a:rPr lang="de-DE" dirty="0" err="1"/>
              <a:t>decided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conduct</a:t>
            </a:r>
            <a:r>
              <a:rPr lang="de-DE" dirty="0"/>
              <a:t> </a:t>
            </a:r>
            <a:r>
              <a:rPr lang="de-DE" dirty="0" err="1"/>
              <a:t>weekly</a:t>
            </a:r>
            <a:r>
              <a:rPr lang="de-DE" dirty="0"/>
              <a:t> all </a:t>
            </a:r>
            <a:r>
              <a:rPr lang="de-DE" dirty="0" err="1"/>
              <a:t>hands</a:t>
            </a:r>
            <a:r>
              <a:rPr lang="de-DE" dirty="0"/>
              <a:t> </a:t>
            </a:r>
            <a:r>
              <a:rPr lang="de-DE" dirty="0" err="1"/>
              <a:t>meetings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update </a:t>
            </a:r>
            <a:r>
              <a:rPr lang="de-DE" dirty="0" err="1"/>
              <a:t>each</a:t>
            </a:r>
            <a:r>
              <a:rPr lang="de-DE" dirty="0"/>
              <a:t> </a:t>
            </a:r>
            <a:r>
              <a:rPr lang="de-DE" dirty="0" err="1"/>
              <a:t>group</a:t>
            </a:r>
            <a:r>
              <a:rPr lang="de-DE" dirty="0"/>
              <a:t> </a:t>
            </a:r>
            <a:r>
              <a:rPr lang="de-DE" dirty="0" err="1"/>
              <a:t>member</a:t>
            </a:r>
            <a:r>
              <a:rPr lang="de-DE" dirty="0"/>
              <a:t> </a:t>
            </a:r>
            <a:r>
              <a:rPr lang="de-DE" dirty="0" err="1"/>
              <a:t>about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progress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each</a:t>
            </a:r>
            <a:r>
              <a:rPr lang="de-DE" dirty="0"/>
              <a:t> </a:t>
            </a:r>
            <a:r>
              <a:rPr lang="de-DE" dirty="0" err="1"/>
              <a:t>subgroup</a:t>
            </a:r>
            <a:r>
              <a:rPr lang="de-DE" dirty="0"/>
              <a:t> and review and </a:t>
            </a:r>
            <a:r>
              <a:rPr lang="de-DE" dirty="0" err="1"/>
              <a:t>assign</a:t>
            </a:r>
            <a:r>
              <a:rPr lang="de-DE" dirty="0"/>
              <a:t> </a:t>
            </a:r>
            <a:r>
              <a:rPr lang="de-DE" dirty="0" err="1"/>
              <a:t>responsibilities</a:t>
            </a:r>
            <a:r>
              <a:rPr lang="de-DE" dirty="0"/>
              <a:t>.</a:t>
            </a:r>
          </a:p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00AFC6D0-44D5-4EB7-828F-6F464F83D79A}" type="slidenum">
              <a:rPr lang="en-GB" smtClean="0"/>
              <a:pPr>
                <a:defRPr/>
              </a:pPr>
              <a:t>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2776750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 err="1"/>
              <a:t>Going</a:t>
            </a:r>
            <a:r>
              <a:rPr lang="de-DE" dirty="0"/>
              <a:t> </a:t>
            </a:r>
            <a:r>
              <a:rPr lang="de-DE" dirty="0" err="1"/>
              <a:t>forward</a:t>
            </a:r>
            <a:r>
              <a:rPr lang="de-DE" dirty="0"/>
              <a:t> </a:t>
            </a:r>
            <a:r>
              <a:rPr lang="de-DE" dirty="0" err="1"/>
              <a:t>we</a:t>
            </a:r>
            <a:r>
              <a:rPr lang="de-DE" dirty="0"/>
              <a:t> </a:t>
            </a:r>
            <a:r>
              <a:rPr lang="de-DE" dirty="0" err="1"/>
              <a:t>decided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conduct</a:t>
            </a:r>
            <a:r>
              <a:rPr lang="de-DE" dirty="0"/>
              <a:t> </a:t>
            </a:r>
            <a:r>
              <a:rPr lang="de-DE" dirty="0" err="1"/>
              <a:t>weekly</a:t>
            </a:r>
            <a:r>
              <a:rPr lang="de-DE" dirty="0"/>
              <a:t> all </a:t>
            </a:r>
            <a:r>
              <a:rPr lang="de-DE" dirty="0" err="1"/>
              <a:t>hands</a:t>
            </a:r>
            <a:r>
              <a:rPr lang="de-DE" dirty="0"/>
              <a:t> </a:t>
            </a:r>
            <a:r>
              <a:rPr lang="de-DE" dirty="0" err="1"/>
              <a:t>meetings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update </a:t>
            </a:r>
            <a:r>
              <a:rPr lang="de-DE" dirty="0" err="1"/>
              <a:t>each</a:t>
            </a:r>
            <a:r>
              <a:rPr lang="de-DE" dirty="0"/>
              <a:t> </a:t>
            </a:r>
            <a:r>
              <a:rPr lang="de-DE" dirty="0" err="1"/>
              <a:t>group</a:t>
            </a:r>
            <a:r>
              <a:rPr lang="de-DE" dirty="0"/>
              <a:t> </a:t>
            </a:r>
            <a:r>
              <a:rPr lang="de-DE" dirty="0" err="1"/>
              <a:t>member</a:t>
            </a:r>
            <a:r>
              <a:rPr lang="de-DE" dirty="0"/>
              <a:t> </a:t>
            </a:r>
            <a:r>
              <a:rPr lang="de-DE" dirty="0" err="1"/>
              <a:t>about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progress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each</a:t>
            </a:r>
            <a:r>
              <a:rPr lang="de-DE" dirty="0"/>
              <a:t> </a:t>
            </a:r>
            <a:r>
              <a:rPr lang="de-DE" dirty="0" err="1"/>
              <a:t>subgroup</a:t>
            </a:r>
            <a:r>
              <a:rPr lang="de-DE" dirty="0"/>
              <a:t> and review and </a:t>
            </a:r>
            <a:r>
              <a:rPr lang="de-DE" dirty="0" err="1"/>
              <a:t>assign</a:t>
            </a:r>
            <a:r>
              <a:rPr lang="de-DE" dirty="0"/>
              <a:t> </a:t>
            </a:r>
            <a:r>
              <a:rPr lang="de-DE" dirty="0" err="1"/>
              <a:t>responsibilities</a:t>
            </a:r>
            <a:r>
              <a:rPr lang="de-DE" dirty="0"/>
              <a:t>.</a:t>
            </a:r>
          </a:p>
          <a:p>
            <a:endParaRPr lang="de-DE" dirty="0"/>
          </a:p>
          <a:p>
            <a:r>
              <a:rPr lang="de-DE" dirty="0" err="1"/>
              <a:t>Additionally</a:t>
            </a:r>
            <a:r>
              <a:rPr lang="de-DE" dirty="0"/>
              <a:t> </a:t>
            </a:r>
            <a:r>
              <a:rPr lang="de-DE" dirty="0" err="1"/>
              <a:t>we</a:t>
            </a:r>
            <a:r>
              <a:rPr lang="de-DE" dirty="0"/>
              <a:t> </a:t>
            </a:r>
            <a:r>
              <a:rPr lang="de-DE" dirty="0" err="1"/>
              <a:t>started</a:t>
            </a:r>
            <a:r>
              <a:rPr lang="de-DE" dirty="0"/>
              <a:t> a </a:t>
            </a:r>
            <a:r>
              <a:rPr lang="de-DE" dirty="0" err="1"/>
              <a:t>paper</a:t>
            </a:r>
            <a:r>
              <a:rPr lang="de-DE" dirty="0"/>
              <a:t> </a:t>
            </a:r>
            <a:r>
              <a:rPr lang="de-DE" dirty="0" err="1"/>
              <a:t>reading</a:t>
            </a:r>
            <a:r>
              <a:rPr lang="de-DE" dirty="0"/>
              <a:t> </a:t>
            </a:r>
            <a:r>
              <a:rPr lang="de-DE" dirty="0" err="1"/>
              <a:t>circle</a:t>
            </a:r>
            <a:r>
              <a:rPr lang="de-DE" dirty="0"/>
              <a:t> </a:t>
            </a:r>
            <a:r>
              <a:rPr lang="de-DE" dirty="0" err="1"/>
              <a:t>where</a:t>
            </a:r>
            <a:r>
              <a:rPr lang="de-DE" dirty="0"/>
              <a:t> </a:t>
            </a:r>
            <a:r>
              <a:rPr lang="de-DE" dirty="0" err="1"/>
              <a:t>each</a:t>
            </a:r>
            <a:r>
              <a:rPr lang="de-DE" dirty="0"/>
              <a:t> </a:t>
            </a:r>
            <a:r>
              <a:rPr lang="de-DE" dirty="0" err="1"/>
              <a:t>group</a:t>
            </a:r>
            <a:r>
              <a:rPr lang="de-DE" dirty="0"/>
              <a:t> </a:t>
            </a:r>
            <a:r>
              <a:rPr lang="de-DE" dirty="0" err="1"/>
              <a:t>member</a:t>
            </a:r>
            <a:r>
              <a:rPr lang="de-DE" dirty="0"/>
              <a:t> will </a:t>
            </a:r>
            <a:r>
              <a:rPr lang="de-DE" dirty="0" err="1"/>
              <a:t>present</a:t>
            </a:r>
            <a:r>
              <a:rPr lang="de-DE" dirty="0"/>
              <a:t> a promising </a:t>
            </a:r>
            <a:r>
              <a:rPr lang="de-DE" dirty="0" err="1"/>
              <a:t>approach</a:t>
            </a:r>
            <a:r>
              <a:rPr lang="de-DE" dirty="0"/>
              <a:t> </a:t>
            </a:r>
            <a:r>
              <a:rPr lang="de-DE" dirty="0" err="1"/>
              <a:t>we</a:t>
            </a:r>
            <a:r>
              <a:rPr lang="de-DE" dirty="0"/>
              <a:t> </a:t>
            </a:r>
            <a:r>
              <a:rPr lang="de-DE" dirty="0" err="1"/>
              <a:t>see</a:t>
            </a:r>
            <a:r>
              <a:rPr lang="de-DE" dirty="0"/>
              <a:t> </a:t>
            </a:r>
            <a:r>
              <a:rPr lang="de-DE" dirty="0" err="1"/>
              <a:t>useful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given</a:t>
            </a:r>
            <a:r>
              <a:rPr lang="de-DE" dirty="0"/>
              <a:t> </a:t>
            </a:r>
            <a:r>
              <a:rPr lang="de-DE" dirty="0" err="1"/>
              <a:t>task</a:t>
            </a:r>
            <a:r>
              <a:rPr lang="de-DE" dirty="0"/>
              <a:t>.</a:t>
            </a:r>
          </a:p>
          <a:p>
            <a:endParaRPr lang="de-DE" dirty="0"/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DE" dirty="0"/>
              <a:t>All </a:t>
            </a:r>
            <a:r>
              <a:rPr lang="de-DE" dirty="0" err="1"/>
              <a:t>our</a:t>
            </a:r>
            <a:r>
              <a:rPr lang="de-DE" dirty="0"/>
              <a:t> </a:t>
            </a:r>
            <a:r>
              <a:rPr lang="de-DE" dirty="0" err="1"/>
              <a:t>findings</a:t>
            </a:r>
            <a:r>
              <a:rPr lang="de-DE" dirty="0"/>
              <a:t> and </a:t>
            </a:r>
            <a:r>
              <a:rPr lang="de-DE" dirty="0" err="1"/>
              <a:t>meetings</a:t>
            </a:r>
            <a:r>
              <a:rPr lang="de-DE" dirty="0"/>
              <a:t> </a:t>
            </a:r>
            <a:r>
              <a:rPr lang="de-DE" dirty="0" err="1"/>
              <a:t>are</a:t>
            </a:r>
            <a:r>
              <a:rPr lang="de-DE" dirty="0"/>
              <a:t> </a:t>
            </a:r>
            <a:r>
              <a:rPr lang="de-DE" dirty="0" err="1"/>
              <a:t>documented</a:t>
            </a:r>
            <a:r>
              <a:rPr lang="de-DE" dirty="0"/>
              <a:t> in </a:t>
            </a:r>
            <a:r>
              <a:rPr lang="de-DE" dirty="0" err="1"/>
              <a:t>our</a:t>
            </a:r>
            <a:r>
              <a:rPr lang="de-DE" dirty="0"/>
              <a:t> </a:t>
            </a:r>
            <a:r>
              <a:rPr lang="de-DE" dirty="0" err="1"/>
              <a:t>wiki</a:t>
            </a:r>
            <a:r>
              <a:rPr lang="de-DE" dirty="0"/>
              <a:t>.</a:t>
            </a:r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00AFC6D0-44D5-4EB7-828F-6F464F83D79A}" type="slidenum">
              <a:rPr lang="en-GB" smtClean="0"/>
              <a:pPr>
                <a:defRPr/>
              </a:pPr>
              <a:t>4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731094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All </a:t>
            </a:r>
            <a:r>
              <a:rPr lang="de-DE" dirty="0" err="1"/>
              <a:t>our</a:t>
            </a:r>
            <a:r>
              <a:rPr lang="de-DE" dirty="0"/>
              <a:t> </a:t>
            </a:r>
            <a:r>
              <a:rPr lang="de-DE" dirty="0" err="1"/>
              <a:t>findings</a:t>
            </a:r>
            <a:r>
              <a:rPr lang="de-DE" dirty="0"/>
              <a:t> and </a:t>
            </a:r>
            <a:r>
              <a:rPr lang="de-DE" dirty="0" err="1"/>
              <a:t>meetings</a:t>
            </a:r>
            <a:r>
              <a:rPr lang="de-DE" dirty="0"/>
              <a:t> </a:t>
            </a:r>
            <a:r>
              <a:rPr lang="de-DE" dirty="0" err="1"/>
              <a:t>are</a:t>
            </a:r>
            <a:r>
              <a:rPr lang="de-DE" dirty="0"/>
              <a:t> </a:t>
            </a:r>
            <a:r>
              <a:rPr lang="de-DE" dirty="0" err="1"/>
              <a:t>documented</a:t>
            </a:r>
            <a:r>
              <a:rPr lang="de-DE" dirty="0"/>
              <a:t> in </a:t>
            </a:r>
            <a:r>
              <a:rPr lang="de-DE" dirty="0" err="1"/>
              <a:t>our</a:t>
            </a:r>
            <a:r>
              <a:rPr lang="de-DE" dirty="0"/>
              <a:t> </a:t>
            </a:r>
            <a:r>
              <a:rPr lang="de-DE" dirty="0" err="1"/>
              <a:t>wiki</a:t>
            </a:r>
            <a:r>
              <a:rPr lang="de-DE" dirty="0"/>
              <a:t>.</a:t>
            </a:r>
          </a:p>
          <a:p>
            <a:endParaRPr lang="de-DE" dirty="0"/>
          </a:p>
          <a:p>
            <a:r>
              <a:rPr lang="de-DE" dirty="0"/>
              <a:t>The </a:t>
            </a:r>
            <a:r>
              <a:rPr lang="de-DE" dirty="0" err="1"/>
              <a:t>wiki</a:t>
            </a:r>
            <a:r>
              <a:rPr lang="de-DE" dirty="0"/>
              <a:t> </a:t>
            </a:r>
            <a:r>
              <a:rPr lang="de-DE" dirty="0" err="1"/>
              <a:t>is</a:t>
            </a:r>
            <a:r>
              <a:rPr lang="de-DE" dirty="0"/>
              <a:t> </a:t>
            </a:r>
            <a:r>
              <a:rPr lang="de-DE" dirty="0" err="1"/>
              <a:t>divided</a:t>
            </a:r>
            <a:r>
              <a:rPr lang="de-DE" dirty="0"/>
              <a:t> </a:t>
            </a:r>
            <a:r>
              <a:rPr lang="de-DE" dirty="0" err="1"/>
              <a:t>into</a:t>
            </a:r>
            <a:r>
              <a:rPr lang="de-DE" dirty="0"/>
              <a:t> </a:t>
            </a:r>
            <a:r>
              <a:rPr lang="de-DE" dirty="0" err="1"/>
              <a:t>three</a:t>
            </a:r>
            <a:r>
              <a:rPr lang="de-DE" dirty="0"/>
              <a:t> </a:t>
            </a:r>
            <a:r>
              <a:rPr lang="de-DE" dirty="0" err="1"/>
              <a:t>sections</a:t>
            </a:r>
            <a:r>
              <a:rPr lang="de-DE" dirty="0"/>
              <a:t>:</a:t>
            </a:r>
          </a:p>
          <a:p>
            <a:endParaRPr lang="de-DE" dirty="0"/>
          </a:p>
          <a:p>
            <a:r>
              <a:rPr lang="de-DE" dirty="0" err="1"/>
              <a:t>Our</a:t>
            </a:r>
            <a:r>
              <a:rPr lang="de-DE" dirty="0"/>
              <a:t> </a:t>
            </a:r>
            <a:r>
              <a:rPr lang="de-DE" dirty="0" err="1"/>
              <a:t>meeting</a:t>
            </a:r>
            <a:r>
              <a:rPr lang="de-DE" dirty="0"/>
              <a:t> </a:t>
            </a:r>
            <a:r>
              <a:rPr lang="de-DE" dirty="0" err="1"/>
              <a:t>notes</a:t>
            </a:r>
            <a:r>
              <a:rPr lang="de-DE" dirty="0"/>
              <a:t>, a </a:t>
            </a:r>
            <a:r>
              <a:rPr lang="de-DE" dirty="0" err="1"/>
              <a:t>section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literature</a:t>
            </a:r>
            <a:r>
              <a:rPr lang="de-DE" dirty="0"/>
              <a:t> review and </a:t>
            </a:r>
            <a:r>
              <a:rPr lang="de-DE" dirty="0" err="1"/>
              <a:t>guidelines</a:t>
            </a:r>
            <a:r>
              <a:rPr lang="de-DE" dirty="0"/>
              <a:t> and </a:t>
            </a:r>
            <a:r>
              <a:rPr lang="de-DE" dirty="0" err="1"/>
              <a:t>best</a:t>
            </a:r>
            <a:r>
              <a:rPr lang="de-DE" dirty="0"/>
              <a:t> </a:t>
            </a:r>
            <a:r>
              <a:rPr lang="de-DE" dirty="0" err="1"/>
              <a:t>practices</a:t>
            </a:r>
            <a:r>
              <a:rPr lang="de-DE" dirty="0"/>
              <a:t> on </a:t>
            </a:r>
            <a:r>
              <a:rPr lang="de-DE" dirty="0" err="1"/>
              <a:t>our</a:t>
            </a:r>
            <a:r>
              <a:rPr lang="de-DE" dirty="0"/>
              <a:t> </a:t>
            </a:r>
            <a:r>
              <a:rPr lang="de-DE" dirty="0" err="1"/>
              <a:t>selected</a:t>
            </a:r>
            <a:r>
              <a:rPr lang="de-DE" dirty="0"/>
              <a:t> </a:t>
            </a:r>
            <a:r>
              <a:rPr lang="de-DE" dirty="0" err="1"/>
              <a:t>tools</a:t>
            </a:r>
            <a:r>
              <a:rPr lang="de-DE" dirty="0"/>
              <a:t>.</a:t>
            </a:r>
          </a:p>
          <a:p>
            <a:endParaRPr lang="de-DE" dirty="0"/>
          </a:p>
          <a:p>
            <a:r>
              <a:rPr lang="de-DE" dirty="0"/>
              <a:t>The </a:t>
            </a:r>
            <a:r>
              <a:rPr lang="de-DE" dirty="0" err="1"/>
              <a:t>crutial</a:t>
            </a:r>
            <a:r>
              <a:rPr lang="de-DE" dirty="0"/>
              <a:t> feature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our</a:t>
            </a:r>
            <a:r>
              <a:rPr lang="de-DE" dirty="0"/>
              <a:t> </a:t>
            </a:r>
            <a:r>
              <a:rPr lang="de-DE" dirty="0" err="1"/>
              <a:t>wiki</a:t>
            </a:r>
            <a:r>
              <a:rPr lang="de-DE" dirty="0"/>
              <a:t> </a:t>
            </a:r>
            <a:r>
              <a:rPr lang="de-DE" dirty="0" err="1"/>
              <a:t>is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ability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trace back </a:t>
            </a:r>
            <a:r>
              <a:rPr lang="de-DE" dirty="0" err="1"/>
              <a:t>contributions</a:t>
            </a:r>
            <a:r>
              <a:rPr lang="de-DE" dirty="0"/>
              <a:t> and </a:t>
            </a:r>
            <a:r>
              <a:rPr lang="de-DE" dirty="0" err="1"/>
              <a:t>gained</a:t>
            </a:r>
            <a:r>
              <a:rPr lang="de-DE" dirty="0"/>
              <a:t> </a:t>
            </a:r>
            <a:r>
              <a:rPr lang="de-DE" dirty="0" err="1"/>
              <a:t>knowledge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individual </a:t>
            </a:r>
            <a:r>
              <a:rPr lang="de-DE" dirty="0" err="1"/>
              <a:t>team</a:t>
            </a:r>
            <a:r>
              <a:rPr lang="de-DE" dirty="0"/>
              <a:t> </a:t>
            </a:r>
            <a:r>
              <a:rPr lang="de-DE" dirty="0" err="1"/>
              <a:t>members</a:t>
            </a:r>
            <a:r>
              <a:rPr lang="de-DE" dirty="0"/>
              <a:t>.</a:t>
            </a:r>
          </a:p>
          <a:p>
            <a:endParaRPr lang="de-DE" dirty="0"/>
          </a:p>
          <a:p>
            <a:r>
              <a:rPr lang="de-DE" dirty="0" err="1"/>
              <a:t>We</a:t>
            </a:r>
            <a:r>
              <a:rPr lang="de-DE" dirty="0"/>
              <a:t> </a:t>
            </a:r>
            <a:r>
              <a:rPr lang="de-DE" dirty="0" err="1"/>
              <a:t>now</a:t>
            </a:r>
            <a:r>
              <a:rPr lang="de-DE" dirty="0"/>
              <a:t> </a:t>
            </a:r>
            <a:r>
              <a:rPr lang="de-DE" dirty="0" err="1"/>
              <a:t>want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dive</a:t>
            </a:r>
            <a:r>
              <a:rPr lang="de-DE" dirty="0"/>
              <a:t> </a:t>
            </a:r>
            <a:r>
              <a:rPr lang="de-DE" dirty="0" err="1"/>
              <a:t>into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technical</a:t>
            </a:r>
            <a:r>
              <a:rPr lang="de-DE" dirty="0"/>
              <a:t> </a:t>
            </a:r>
            <a:r>
              <a:rPr lang="de-DE" dirty="0" err="1"/>
              <a:t>part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project</a:t>
            </a:r>
            <a:r>
              <a:rPr lang="de-DE" dirty="0"/>
              <a:t>.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00AFC6D0-44D5-4EB7-828F-6F464F83D79A}" type="slidenum">
              <a:rPr lang="en-GB" smtClean="0"/>
              <a:pPr>
                <a:defRPr/>
              </a:pPr>
              <a:t>5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2619700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DE" dirty="0" err="1"/>
              <a:t>We</a:t>
            </a:r>
            <a:r>
              <a:rPr lang="de-DE" dirty="0"/>
              <a:t> </a:t>
            </a:r>
            <a:r>
              <a:rPr lang="de-DE" dirty="0" err="1"/>
              <a:t>now</a:t>
            </a:r>
            <a:r>
              <a:rPr lang="de-DE" dirty="0"/>
              <a:t> </a:t>
            </a:r>
            <a:r>
              <a:rPr lang="de-DE" dirty="0" err="1"/>
              <a:t>want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dive</a:t>
            </a:r>
            <a:r>
              <a:rPr lang="de-DE" dirty="0"/>
              <a:t> </a:t>
            </a:r>
            <a:r>
              <a:rPr lang="de-DE" dirty="0" err="1"/>
              <a:t>into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technical</a:t>
            </a:r>
            <a:r>
              <a:rPr lang="de-DE" dirty="0"/>
              <a:t> </a:t>
            </a:r>
            <a:r>
              <a:rPr lang="de-DE" dirty="0" err="1"/>
              <a:t>part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project</a:t>
            </a:r>
            <a:r>
              <a:rPr lang="de-DE" dirty="0"/>
              <a:t>.</a:t>
            </a:r>
          </a:p>
          <a:p>
            <a:endParaRPr lang="de-DE" dirty="0"/>
          </a:p>
          <a:p>
            <a:r>
              <a:rPr lang="de-DE" dirty="0" err="1"/>
              <a:t>We</a:t>
            </a:r>
            <a:r>
              <a:rPr lang="de-DE" dirty="0"/>
              <a:t> </a:t>
            </a:r>
            <a:r>
              <a:rPr lang="de-DE" dirty="0" err="1"/>
              <a:t>received</a:t>
            </a:r>
            <a:r>
              <a:rPr lang="de-DE" dirty="0"/>
              <a:t> </a:t>
            </a:r>
            <a:r>
              <a:rPr lang="de-DE" dirty="0" err="1"/>
              <a:t>several</a:t>
            </a:r>
            <a:r>
              <a:rPr lang="de-DE" dirty="0"/>
              <a:t> </a:t>
            </a:r>
            <a:r>
              <a:rPr lang="de-DE" dirty="0" err="1"/>
              <a:t>pictures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cars</a:t>
            </a:r>
            <a:r>
              <a:rPr lang="de-DE" dirty="0"/>
              <a:t> and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task</a:t>
            </a:r>
            <a:r>
              <a:rPr lang="de-DE" dirty="0"/>
              <a:t> </a:t>
            </a:r>
            <a:r>
              <a:rPr lang="de-DE" dirty="0" err="1"/>
              <a:t>is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classify</a:t>
            </a:r>
            <a:r>
              <a:rPr lang="de-DE" dirty="0"/>
              <a:t> possible </a:t>
            </a:r>
            <a:r>
              <a:rPr lang="de-DE" dirty="0" err="1"/>
              <a:t>damages</a:t>
            </a:r>
            <a:r>
              <a:rPr lang="de-DE" dirty="0"/>
              <a:t>.</a:t>
            </a:r>
          </a:p>
          <a:p>
            <a:endParaRPr lang="de-DE" dirty="0"/>
          </a:p>
          <a:p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some</a:t>
            </a:r>
            <a:r>
              <a:rPr lang="de-DE" dirty="0"/>
              <a:t> </a:t>
            </a:r>
            <a:r>
              <a:rPr lang="de-DE" dirty="0" err="1"/>
              <a:t>images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dataset</a:t>
            </a:r>
            <a:r>
              <a:rPr lang="de-DE" dirty="0"/>
              <a:t> </a:t>
            </a:r>
            <a:r>
              <a:rPr lang="de-DE" dirty="0" err="1"/>
              <a:t>we</a:t>
            </a:r>
            <a:r>
              <a:rPr lang="de-DE" dirty="0"/>
              <a:t> </a:t>
            </a:r>
            <a:r>
              <a:rPr lang="de-DE" dirty="0" err="1"/>
              <a:t>are</a:t>
            </a:r>
            <a:r>
              <a:rPr lang="de-DE" dirty="0"/>
              <a:t> </a:t>
            </a:r>
            <a:r>
              <a:rPr lang="de-DE" dirty="0" err="1"/>
              <a:t>given</a:t>
            </a:r>
            <a:r>
              <a:rPr lang="de-DE" dirty="0"/>
              <a:t> an additional </a:t>
            </a:r>
            <a:r>
              <a:rPr lang="de-DE" dirty="0" err="1"/>
              <a:t>json</a:t>
            </a:r>
            <a:r>
              <a:rPr lang="de-DE" dirty="0"/>
              <a:t> </a:t>
            </a:r>
            <a:r>
              <a:rPr lang="de-DE" dirty="0" err="1"/>
              <a:t>file</a:t>
            </a:r>
            <a:r>
              <a:rPr lang="de-DE" dirty="0"/>
              <a:t> </a:t>
            </a:r>
            <a:r>
              <a:rPr lang="de-DE" dirty="0" err="1"/>
              <a:t>entry</a:t>
            </a:r>
            <a:r>
              <a:rPr lang="de-DE" dirty="0"/>
              <a:t> and </a:t>
            </a:r>
            <a:r>
              <a:rPr lang="de-DE" dirty="0" err="1"/>
              <a:t>for</a:t>
            </a:r>
            <a:r>
              <a:rPr lang="de-DE" dirty="0"/>
              <a:t> a </a:t>
            </a:r>
            <a:r>
              <a:rPr lang="de-DE" dirty="0" err="1"/>
              <a:t>further</a:t>
            </a:r>
            <a:r>
              <a:rPr lang="de-DE" dirty="0"/>
              <a:t> </a:t>
            </a:r>
            <a:r>
              <a:rPr lang="de-DE" dirty="0" err="1"/>
              <a:t>subset</a:t>
            </a:r>
            <a:r>
              <a:rPr lang="de-DE" dirty="0"/>
              <a:t> </a:t>
            </a:r>
            <a:r>
              <a:rPr lang="de-DE" dirty="0" err="1"/>
              <a:t>we</a:t>
            </a:r>
            <a:r>
              <a:rPr lang="de-DE" dirty="0"/>
              <a:t> </a:t>
            </a:r>
            <a:r>
              <a:rPr lang="de-DE" dirty="0" err="1"/>
              <a:t>are</a:t>
            </a:r>
            <a:r>
              <a:rPr lang="de-DE" dirty="0"/>
              <a:t> </a:t>
            </a:r>
            <a:r>
              <a:rPr lang="de-DE" dirty="0" err="1"/>
              <a:t>given</a:t>
            </a:r>
            <a:r>
              <a:rPr lang="de-DE" dirty="0"/>
              <a:t> </a:t>
            </a:r>
            <a:r>
              <a:rPr lang="de-DE" dirty="0" err="1"/>
              <a:t>bounding</a:t>
            </a:r>
            <a:r>
              <a:rPr lang="de-DE" dirty="0"/>
              <a:t> </a:t>
            </a:r>
            <a:r>
              <a:rPr lang="de-DE" dirty="0" err="1"/>
              <a:t>boxes</a:t>
            </a:r>
            <a:r>
              <a:rPr lang="de-DE" dirty="0"/>
              <a:t>.</a:t>
            </a:r>
          </a:p>
          <a:p>
            <a:endParaRPr lang="de-DE" dirty="0"/>
          </a:p>
          <a:p>
            <a:r>
              <a:rPr lang="de-DE" dirty="0" err="1"/>
              <a:t>However</a:t>
            </a:r>
            <a:r>
              <a:rPr lang="de-DE" dirty="0"/>
              <a:t>,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bounding</a:t>
            </a:r>
            <a:r>
              <a:rPr lang="de-DE" dirty="0"/>
              <a:t> </a:t>
            </a:r>
            <a:r>
              <a:rPr lang="de-DE" dirty="0" err="1"/>
              <a:t>boxes</a:t>
            </a:r>
            <a:r>
              <a:rPr lang="de-DE" dirty="0"/>
              <a:t> </a:t>
            </a:r>
            <a:r>
              <a:rPr lang="de-DE" dirty="0" err="1"/>
              <a:t>only</a:t>
            </a:r>
            <a:r>
              <a:rPr lang="de-DE" dirty="0"/>
              <a:t> </a:t>
            </a:r>
            <a:r>
              <a:rPr lang="de-DE" dirty="0" err="1"/>
              <a:t>take</a:t>
            </a:r>
            <a:r>
              <a:rPr lang="de-DE" dirty="0"/>
              <a:t> </a:t>
            </a:r>
            <a:r>
              <a:rPr lang="de-DE" dirty="0" err="1"/>
              <a:t>up</a:t>
            </a:r>
            <a:r>
              <a:rPr lang="de-DE" dirty="0"/>
              <a:t> a </a:t>
            </a:r>
            <a:r>
              <a:rPr lang="de-DE" dirty="0" err="1"/>
              <a:t>very</a:t>
            </a:r>
            <a:r>
              <a:rPr lang="de-DE" dirty="0"/>
              <a:t> </a:t>
            </a:r>
            <a:r>
              <a:rPr lang="de-DE" dirty="0" err="1"/>
              <a:t>small</a:t>
            </a:r>
            <a:r>
              <a:rPr lang="de-DE" dirty="0"/>
              <a:t> </a:t>
            </a:r>
            <a:r>
              <a:rPr lang="de-DE" dirty="0" err="1"/>
              <a:t>area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frame </a:t>
            </a:r>
            <a:r>
              <a:rPr lang="de-DE" dirty="0" err="1"/>
              <a:t>as</a:t>
            </a:r>
            <a:r>
              <a:rPr lang="de-DE" dirty="0"/>
              <a:t> </a:t>
            </a:r>
            <a:r>
              <a:rPr lang="de-DE" dirty="0" err="1"/>
              <a:t>you</a:t>
            </a:r>
            <a:r>
              <a:rPr lang="de-DE" dirty="0"/>
              <a:t> </a:t>
            </a:r>
            <a:r>
              <a:rPr lang="de-DE" dirty="0" err="1"/>
              <a:t>can</a:t>
            </a:r>
            <a:r>
              <a:rPr lang="de-DE" dirty="0"/>
              <a:t> </a:t>
            </a:r>
            <a:r>
              <a:rPr lang="de-DE" dirty="0" err="1"/>
              <a:t>see</a:t>
            </a:r>
            <a:r>
              <a:rPr lang="de-DE" dirty="0"/>
              <a:t> on </a:t>
            </a:r>
            <a:r>
              <a:rPr lang="de-DE" dirty="0" err="1"/>
              <a:t>this</a:t>
            </a:r>
            <a:r>
              <a:rPr lang="de-DE" dirty="0"/>
              <a:t> </a:t>
            </a:r>
            <a:r>
              <a:rPr lang="de-DE" dirty="0" err="1"/>
              <a:t>slide</a:t>
            </a:r>
            <a:r>
              <a:rPr lang="de-DE" dirty="0"/>
              <a:t>.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00AFC6D0-44D5-4EB7-828F-6F464F83D79A}" type="slidenum">
              <a:rPr lang="en-GB" smtClean="0"/>
              <a:pPr>
                <a:defRPr/>
              </a:pPr>
              <a:t>6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5607314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DE" dirty="0" err="1"/>
              <a:t>However</a:t>
            </a:r>
            <a:r>
              <a:rPr lang="de-DE" dirty="0"/>
              <a:t>,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bounding</a:t>
            </a:r>
            <a:r>
              <a:rPr lang="de-DE" dirty="0"/>
              <a:t> </a:t>
            </a:r>
            <a:r>
              <a:rPr lang="de-DE" dirty="0" err="1"/>
              <a:t>boxes</a:t>
            </a:r>
            <a:r>
              <a:rPr lang="de-DE" dirty="0"/>
              <a:t> </a:t>
            </a:r>
            <a:r>
              <a:rPr lang="de-DE" dirty="0" err="1"/>
              <a:t>only</a:t>
            </a:r>
            <a:r>
              <a:rPr lang="de-DE" dirty="0"/>
              <a:t> </a:t>
            </a:r>
            <a:r>
              <a:rPr lang="de-DE" dirty="0" err="1"/>
              <a:t>take</a:t>
            </a:r>
            <a:r>
              <a:rPr lang="de-DE" dirty="0"/>
              <a:t> </a:t>
            </a:r>
            <a:r>
              <a:rPr lang="de-DE" dirty="0" err="1"/>
              <a:t>up</a:t>
            </a:r>
            <a:r>
              <a:rPr lang="de-DE" dirty="0"/>
              <a:t> a </a:t>
            </a:r>
            <a:r>
              <a:rPr lang="de-DE" dirty="0" err="1"/>
              <a:t>very</a:t>
            </a:r>
            <a:r>
              <a:rPr lang="de-DE" dirty="0"/>
              <a:t> </a:t>
            </a:r>
            <a:r>
              <a:rPr lang="de-DE" dirty="0" err="1"/>
              <a:t>small</a:t>
            </a:r>
            <a:r>
              <a:rPr lang="de-DE" dirty="0"/>
              <a:t> </a:t>
            </a:r>
            <a:r>
              <a:rPr lang="de-DE" dirty="0" err="1"/>
              <a:t>area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frame </a:t>
            </a:r>
            <a:r>
              <a:rPr lang="de-DE" dirty="0" err="1"/>
              <a:t>as</a:t>
            </a:r>
            <a:r>
              <a:rPr lang="de-DE" dirty="0"/>
              <a:t> </a:t>
            </a:r>
            <a:r>
              <a:rPr lang="de-DE" dirty="0" err="1"/>
              <a:t>you</a:t>
            </a:r>
            <a:r>
              <a:rPr lang="de-DE" dirty="0"/>
              <a:t> </a:t>
            </a:r>
            <a:r>
              <a:rPr lang="de-DE" dirty="0" err="1"/>
              <a:t>can</a:t>
            </a:r>
            <a:r>
              <a:rPr lang="de-DE" dirty="0"/>
              <a:t> </a:t>
            </a:r>
            <a:r>
              <a:rPr lang="de-DE" dirty="0" err="1"/>
              <a:t>see</a:t>
            </a:r>
            <a:r>
              <a:rPr lang="de-DE" dirty="0"/>
              <a:t> on </a:t>
            </a:r>
            <a:r>
              <a:rPr lang="de-DE" dirty="0" err="1"/>
              <a:t>this</a:t>
            </a:r>
            <a:r>
              <a:rPr lang="de-DE" dirty="0"/>
              <a:t> </a:t>
            </a:r>
            <a:r>
              <a:rPr lang="de-DE" dirty="0" err="1"/>
              <a:t>slide</a:t>
            </a:r>
            <a:r>
              <a:rPr lang="de-DE" dirty="0"/>
              <a:t>.</a:t>
            </a:r>
          </a:p>
          <a:p>
            <a:endParaRPr lang="de-DE" dirty="0"/>
          </a:p>
          <a:p>
            <a:r>
              <a:rPr lang="de-DE" dirty="0" err="1"/>
              <a:t>Additionally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data</a:t>
            </a:r>
            <a:r>
              <a:rPr lang="de-DE" dirty="0"/>
              <a:t> </a:t>
            </a:r>
            <a:r>
              <a:rPr lang="de-DE" dirty="0" err="1"/>
              <a:t>with</a:t>
            </a:r>
            <a:r>
              <a:rPr lang="de-DE" dirty="0"/>
              <a:t> </a:t>
            </a:r>
            <a:r>
              <a:rPr lang="de-DE" dirty="0" err="1"/>
              <a:t>actual</a:t>
            </a:r>
            <a:r>
              <a:rPr lang="de-DE" dirty="0"/>
              <a:t> </a:t>
            </a:r>
            <a:r>
              <a:rPr lang="de-DE" dirty="0" err="1"/>
              <a:t>damages</a:t>
            </a:r>
            <a:r>
              <a:rPr lang="de-DE" dirty="0"/>
              <a:t> in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 </a:t>
            </a:r>
            <a:r>
              <a:rPr lang="de-DE" dirty="0" err="1"/>
              <a:t>is</a:t>
            </a:r>
            <a:r>
              <a:rPr lang="de-DE" dirty="0"/>
              <a:t> </a:t>
            </a:r>
            <a:r>
              <a:rPr lang="de-DE" dirty="0" err="1"/>
              <a:t>rather</a:t>
            </a:r>
            <a:r>
              <a:rPr lang="de-DE" dirty="0"/>
              <a:t> limited.</a:t>
            </a:r>
          </a:p>
          <a:p>
            <a:endParaRPr lang="de-DE" dirty="0"/>
          </a:p>
          <a:p>
            <a:r>
              <a:rPr lang="de-DE" dirty="0"/>
              <a:t>This </a:t>
            </a:r>
            <a:r>
              <a:rPr lang="de-DE" dirty="0" err="1"/>
              <a:t>makes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whole</a:t>
            </a:r>
            <a:r>
              <a:rPr lang="de-DE" dirty="0"/>
              <a:t> </a:t>
            </a:r>
            <a:r>
              <a:rPr lang="de-DE" dirty="0" err="1"/>
              <a:t>problem</a:t>
            </a:r>
            <a:r>
              <a:rPr lang="de-DE" dirty="0"/>
              <a:t> </a:t>
            </a:r>
            <a:r>
              <a:rPr lang="de-DE" dirty="0" err="1"/>
              <a:t>setting</a:t>
            </a:r>
            <a:r>
              <a:rPr lang="de-DE" dirty="0"/>
              <a:t> </a:t>
            </a:r>
            <a:r>
              <a:rPr lang="de-DE" dirty="0" err="1"/>
              <a:t>very</a:t>
            </a:r>
            <a:r>
              <a:rPr lang="de-DE" dirty="0"/>
              <a:t> </a:t>
            </a:r>
            <a:r>
              <a:rPr lang="de-DE" dirty="0" err="1"/>
              <a:t>complex</a:t>
            </a:r>
            <a:r>
              <a:rPr lang="de-DE" dirty="0"/>
              <a:t>.</a:t>
            </a:r>
          </a:p>
          <a:p>
            <a:endParaRPr lang="de-DE" dirty="0"/>
          </a:p>
          <a:p>
            <a:r>
              <a:rPr lang="de-DE" dirty="0" err="1"/>
              <a:t>We</a:t>
            </a:r>
            <a:r>
              <a:rPr lang="de-DE" dirty="0"/>
              <a:t> </a:t>
            </a:r>
            <a:r>
              <a:rPr lang="de-DE" dirty="0" err="1"/>
              <a:t>therefore</a:t>
            </a:r>
            <a:r>
              <a:rPr lang="de-DE" dirty="0"/>
              <a:t> </a:t>
            </a:r>
            <a:r>
              <a:rPr lang="de-DE" dirty="0" err="1"/>
              <a:t>started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investigate</a:t>
            </a:r>
            <a:r>
              <a:rPr lang="de-DE" dirty="0"/>
              <a:t> </a:t>
            </a:r>
            <a:r>
              <a:rPr lang="de-DE" dirty="0" err="1"/>
              <a:t>techniques</a:t>
            </a:r>
            <a:r>
              <a:rPr lang="de-DE" dirty="0"/>
              <a:t> like </a:t>
            </a:r>
            <a:r>
              <a:rPr lang="de-DE" dirty="0" err="1"/>
              <a:t>data</a:t>
            </a:r>
            <a:r>
              <a:rPr lang="de-DE" dirty="0"/>
              <a:t> </a:t>
            </a:r>
            <a:r>
              <a:rPr lang="de-DE" dirty="0" err="1"/>
              <a:t>augmentation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increase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size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our</a:t>
            </a:r>
            <a:r>
              <a:rPr lang="de-DE" dirty="0"/>
              <a:t> </a:t>
            </a:r>
            <a:r>
              <a:rPr lang="de-DE" dirty="0" err="1"/>
              <a:t>training</a:t>
            </a:r>
            <a:r>
              <a:rPr lang="de-DE" dirty="0"/>
              <a:t> </a:t>
            </a:r>
            <a:r>
              <a:rPr lang="de-DE" dirty="0" err="1"/>
              <a:t>data</a:t>
            </a:r>
            <a:r>
              <a:rPr lang="de-DE" dirty="0"/>
              <a:t> </a:t>
            </a:r>
            <a:r>
              <a:rPr lang="de-DE" dirty="0" err="1"/>
              <a:t>set</a:t>
            </a:r>
            <a:r>
              <a:rPr lang="de-DE" dirty="0"/>
              <a:t>.</a:t>
            </a:r>
          </a:p>
          <a:p>
            <a:endParaRPr lang="de-DE" dirty="0"/>
          </a:p>
          <a:p>
            <a:r>
              <a:rPr lang="de-DE" dirty="0"/>
              <a:t>In </a:t>
            </a:r>
            <a:r>
              <a:rPr lang="de-DE" dirty="0" err="1"/>
              <a:t>data</a:t>
            </a:r>
            <a:r>
              <a:rPr lang="de-DE" dirty="0"/>
              <a:t> </a:t>
            </a:r>
            <a:r>
              <a:rPr lang="de-DE" dirty="0" err="1"/>
              <a:t>augmentation</a:t>
            </a:r>
            <a:r>
              <a:rPr lang="de-DE" dirty="0"/>
              <a:t> </a:t>
            </a:r>
            <a:r>
              <a:rPr lang="de-DE" dirty="0" err="1"/>
              <a:t>we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slightly</a:t>
            </a:r>
            <a:r>
              <a:rPr lang="de-DE" dirty="0"/>
              <a:t> </a:t>
            </a:r>
            <a:r>
              <a:rPr lang="de-DE" dirty="0" err="1"/>
              <a:t>modifies</a:t>
            </a:r>
            <a:r>
              <a:rPr lang="de-DE" dirty="0"/>
              <a:t> </a:t>
            </a:r>
            <a:r>
              <a:rPr lang="de-DE" dirty="0" err="1"/>
              <a:t>versions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our</a:t>
            </a:r>
            <a:r>
              <a:rPr lang="de-DE" dirty="0"/>
              <a:t> original </a:t>
            </a:r>
            <a:r>
              <a:rPr lang="de-DE" dirty="0" err="1"/>
              <a:t>dataset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rich</a:t>
            </a:r>
            <a:r>
              <a:rPr lang="de-DE" dirty="0"/>
              <a:t> it.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00AFC6D0-44D5-4EB7-828F-6F464F83D79A}" type="slidenum">
              <a:rPr lang="en-GB" smtClean="0"/>
              <a:pPr>
                <a:defRPr/>
              </a:pPr>
              <a:t>7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4772286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DE" dirty="0"/>
              <a:t>In </a:t>
            </a:r>
            <a:r>
              <a:rPr lang="de-DE" dirty="0" err="1"/>
              <a:t>data</a:t>
            </a:r>
            <a:r>
              <a:rPr lang="de-DE" dirty="0"/>
              <a:t> </a:t>
            </a:r>
            <a:r>
              <a:rPr lang="de-DE" dirty="0" err="1"/>
              <a:t>augmentation</a:t>
            </a:r>
            <a:r>
              <a:rPr lang="de-DE" dirty="0"/>
              <a:t> </a:t>
            </a:r>
            <a:r>
              <a:rPr lang="de-DE" dirty="0" err="1"/>
              <a:t>we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slightly</a:t>
            </a:r>
            <a:r>
              <a:rPr lang="de-DE" dirty="0"/>
              <a:t> </a:t>
            </a:r>
            <a:r>
              <a:rPr lang="de-DE" dirty="0" err="1"/>
              <a:t>modifies</a:t>
            </a:r>
            <a:r>
              <a:rPr lang="de-DE" dirty="0"/>
              <a:t> </a:t>
            </a:r>
            <a:r>
              <a:rPr lang="de-DE" dirty="0" err="1"/>
              <a:t>versions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our</a:t>
            </a:r>
            <a:r>
              <a:rPr lang="de-DE" dirty="0"/>
              <a:t> original </a:t>
            </a:r>
            <a:r>
              <a:rPr lang="de-DE" dirty="0" err="1"/>
              <a:t>dataset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rich</a:t>
            </a:r>
            <a:r>
              <a:rPr lang="de-DE" dirty="0"/>
              <a:t> it.</a:t>
            </a:r>
          </a:p>
          <a:p>
            <a:endParaRPr lang="de-DE" dirty="0"/>
          </a:p>
          <a:p>
            <a:r>
              <a:rPr lang="de-DE" dirty="0"/>
              <a:t>This </a:t>
            </a:r>
            <a:r>
              <a:rPr lang="de-DE" dirty="0" err="1"/>
              <a:t>acts</a:t>
            </a:r>
            <a:r>
              <a:rPr lang="de-DE" dirty="0"/>
              <a:t> </a:t>
            </a:r>
            <a:r>
              <a:rPr lang="de-DE" dirty="0" err="1"/>
              <a:t>as</a:t>
            </a:r>
            <a:r>
              <a:rPr lang="de-DE" dirty="0"/>
              <a:t> a </a:t>
            </a:r>
            <a:r>
              <a:rPr lang="de-DE" dirty="0" err="1"/>
              <a:t>regularizer</a:t>
            </a:r>
            <a:r>
              <a:rPr lang="de-DE" dirty="0"/>
              <a:t> and </a:t>
            </a:r>
            <a:r>
              <a:rPr lang="de-DE" dirty="0" err="1"/>
              <a:t>helps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reduce</a:t>
            </a:r>
            <a:r>
              <a:rPr lang="de-DE" dirty="0"/>
              <a:t> </a:t>
            </a:r>
            <a:r>
              <a:rPr lang="de-DE" dirty="0" err="1"/>
              <a:t>overfitting</a:t>
            </a:r>
            <a:r>
              <a:rPr lang="de-DE" dirty="0"/>
              <a:t>.</a:t>
            </a:r>
          </a:p>
          <a:p>
            <a:endParaRPr lang="de-DE" dirty="0"/>
          </a:p>
          <a:p>
            <a:r>
              <a:rPr lang="de-DE" dirty="0" err="1"/>
              <a:t>We</a:t>
            </a:r>
            <a:r>
              <a:rPr lang="de-DE" dirty="0"/>
              <a:t> plan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try</a:t>
            </a:r>
            <a:r>
              <a:rPr lang="de-DE" dirty="0"/>
              <a:t> </a:t>
            </a:r>
            <a:r>
              <a:rPr lang="de-DE" dirty="0" err="1"/>
              <a:t>various</a:t>
            </a:r>
            <a:r>
              <a:rPr lang="de-DE" dirty="0"/>
              <a:t> </a:t>
            </a:r>
            <a:r>
              <a:rPr lang="de-DE" dirty="0" err="1"/>
              <a:t>techniques</a:t>
            </a:r>
            <a:r>
              <a:rPr lang="de-DE" dirty="0"/>
              <a:t> like </a:t>
            </a:r>
            <a:r>
              <a:rPr lang="de-DE" dirty="0" err="1"/>
              <a:t>flipping</a:t>
            </a:r>
            <a:r>
              <a:rPr lang="de-DE" dirty="0"/>
              <a:t>, </a:t>
            </a:r>
            <a:r>
              <a:rPr lang="de-DE" dirty="0" err="1"/>
              <a:t>zooming</a:t>
            </a:r>
            <a:r>
              <a:rPr lang="de-DE" dirty="0"/>
              <a:t>, shifting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colorspace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compare</a:t>
            </a:r>
            <a:r>
              <a:rPr lang="de-DE" dirty="0"/>
              <a:t> </a:t>
            </a:r>
            <a:r>
              <a:rPr lang="de-DE" dirty="0" err="1"/>
              <a:t>their</a:t>
            </a:r>
            <a:r>
              <a:rPr lang="de-DE" dirty="0"/>
              <a:t> </a:t>
            </a:r>
            <a:r>
              <a:rPr lang="de-DE" dirty="0" err="1"/>
              <a:t>influence</a:t>
            </a:r>
            <a:r>
              <a:rPr lang="de-DE" dirty="0"/>
              <a:t> on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models</a:t>
            </a:r>
            <a:r>
              <a:rPr lang="de-DE" dirty="0"/>
              <a:t> </a:t>
            </a:r>
            <a:r>
              <a:rPr lang="de-DE" dirty="0" err="1"/>
              <a:t>performance</a:t>
            </a:r>
            <a:r>
              <a:rPr lang="de-DE" dirty="0"/>
              <a:t>.</a:t>
            </a:r>
          </a:p>
          <a:p>
            <a:endParaRPr lang="de-DE" dirty="0"/>
          </a:p>
          <a:p>
            <a:r>
              <a:rPr lang="de-DE" dirty="0"/>
              <a:t>As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input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a ML </a:t>
            </a:r>
            <a:r>
              <a:rPr lang="de-DE" dirty="0" err="1"/>
              <a:t>model</a:t>
            </a:r>
            <a:r>
              <a:rPr lang="de-DE" dirty="0"/>
              <a:t> </a:t>
            </a:r>
            <a:r>
              <a:rPr lang="de-DE" dirty="0" err="1"/>
              <a:t>must</a:t>
            </a:r>
            <a:r>
              <a:rPr lang="de-DE" dirty="0"/>
              <a:t> </a:t>
            </a:r>
            <a:r>
              <a:rPr lang="de-DE" dirty="0" err="1"/>
              <a:t>always</a:t>
            </a:r>
            <a:r>
              <a:rPr lang="de-DE" dirty="0"/>
              <a:t> </a:t>
            </a:r>
            <a:r>
              <a:rPr lang="de-DE" dirty="0" err="1"/>
              <a:t>be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same </a:t>
            </a:r>
            <a:r>
              <a:rPr lang="de-DE" dirty="0" err="1"/>
              <a:t>size</a:t>
            </a:r>
            <a:r>
              <a:rPr lang="de-DE" dirty="0"/>
              <a:t>, </a:t>
            </a:r>
            <a:r>
              <a:rPr lang="de-DE" dirty="0" err="1"/>
              <a:t>we</a:t>
            </a:r>
            <a:r>
              <a:rPr lang="de-DE" dirty="0"/>
              <a:t> also </a:t>
            </a:r>
            <a:r>
              <a:rPr lang="de-DE" dirty="0" err="1"/>
              <a:t>need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resize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data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respective</a:t>
            </a:r>
            <a:r>
              <a:rPr lang="de-DE" dirty="0"/>
              <a:t> </a:t>
            </a:r>
            <a:r>
              <a:rPr lang="de-DE" dirty="0" err="1"/>
              <a:t>pixel</a:t>
            </a:r>
            <a:r>
              <a:rPr lang="de-DE" dirty="0"/>
              <a:t> </a:t>
            </a:r>
            <a:r>
              <a:rPr lang="de-DE" dirty="0" err="1"/>
              <a:t>ratio</a:t>
            </a:r>
            <a:r>
              <a:rPr lang="de-DE" dirty="0"/>
              <a:t> and </a:t>
            </a:r>
            <a:r>
              <a:rPr lang="de-DE" dirty="0" err="1"/>
              <a:t>size</a:t>
            </a:r>
            <a:r>
              <a:rPr lang="de-DE" dirty="0"/>
              <a:t>.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00AFC6D0-44D5-4EB7-828F-6F464F83D79A}" type="slidenum">
              <a:rPr lang="en-GB" smtClean="0"/>
              <a:pPr>
                <a:defRPr/>
              </a:pPr>
              <a:t>8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7457832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DE" dirty="0"/>
              <a:t>As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input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a ML </a:t>
            </a:r>
            <a:r>
              <a:rPr lang="de-DE" dirty="0" err="1"/>
              <a:t>model</a:t>
            </a:r>
            <a:r>
              <a:rPr lang="de-DE" dirty="0"/>
              <a:t> </a:t>
            </a:r>
            <a:r>
              <a:rPr lang="de-DE" dirty="0" err="1"/>
              <a:t>must</a:t>
            </a:r>
            <a:r>
              <a:rPr lang="de-DE" dirty="0"/>
              <a:t> </a:t>
            </a:r>
            <a:r>
              <a:rPr lang="de-DE" dirty="0" err="1"/>
              <a:t>always</a:t>
            </a:r>
            <a:r>
              <a:rPr lang="de-DE" dirty="0"/>
              <a:t> </a:t>
            </a:r>
            <a:r>
              <a:rPr lang="de-DE" dirty="0" err="1"/>
              <a:t>be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same </a:t>
            </a:r>
            <a:r>
              <a:rPr lang="de-DE" dirty="0" err="1"/>
              <a:t>size</a:t>
            </a:r>
            <a:r>
              <a:rPr lang="de-DE" dirty="0"/>
              <a:t>, </a:t>
            </a:r>
            <a:r>
              <a:rPr lang="de-DE" dirty="0" err="1"/>
              <a:t>we</a:t>
            </a:r>
            <a:r>
              <a:rPr lang="de-DE" dirty="0"/>
              <a:t> also </a:t>
            </a:r>
            <a:r>
              <a:rPr lang="de-DE" dirty="0" err="1"/>
              <a:t>need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resize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data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respective</a:t>
            </a:r>
            <a:r>
              <a:rPr lang="de-DE" dirty="0"/>
              <a:t> </a:t>
            </a:r>
            <a:r>
              <a:rPr lang="de-DE" dirty="0" err="1"/>
              <a:t>pixel</a:t>
            </a:r>
            <a:r>
              <a:rPr lang="de-DE" dirty="0"/>
              <a:t> </a:t>
            </a:r>
            <a:r>
              <a:rPr lang="de-DE" dirty="0" err="1"/>
              <a:t>ratio</a:t>
            </a:r>
            <a:r>
              <a:rPr lang="de-DE" dirty="0"/>
              <a:t> and </a:t>
            </a:r>
            <a:r>
              <a:rPr lang="de-DE" dirty="0" err="1"/>
              <a:t>size</a:t>
            </a:r>
            <a:r>
              <a:rPr lang="de-DE" dirty="0"/>
              <a:t>.</a:t>
            </a:r>
          </a:p>
          <a:p>
            <a:endParaRPr lang="de-DE" dirty="0"/>
          </a:p>
          <a:p>
            <a:r>
              <a:rPr lang="de-DE" dirty="0" err="1"/>
              <a:t>If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image</a:t>
            </a:r>
            <a:r>
              <a:rPr lang="de-DE" dirty="0"/>
              <a:t> </a:t>
            </a:r>
            <a:r>
              <a:rPr lang="de-DE" dirty="0" err="1"/>
              <a:t>is</a:t>
            </a:r>
            <a:r>
              <a:rPr lang="de-DE" dirty="0"/>
              <a:t> </a:t>
            </a:r>
            <a:r>
              <a:rPr lang="de-DE" dirty="0" err="1"/>
              <a:t>too</a:t>
            </a:r>
            <a:r>
              <a:rPr lang="de-DE" dirty="0"/>
              <a:t> </a:t>
            </a:r>
            <a:r>
              <a:rPr lang="de-DE" dirty="0" err="1"/>
              <a:t>small</a:t>
            </a:r>
            <a:r>
              <a:rPr lang="de-DE" dirty="0"/>
              <a:t>, </a:t>
            </a:r>
            <a:r>
              <a:rPr lang="de-DE" dirty="0" err="1"/>
              <a:t>it</a:t>
            </a:r>
            <a:r>
              <a:rPr lang="de-DE" dirty="0"/>
              <a:t> </a:t>
            </a:r>
            <a:r>
              <a:rPr lang="de-DE" dirty="0" err="1"/>
              <a:t>should</a:t>
            </a:r>
            <a:r>
              <a:rPr lang="de-DE" dirty="0"/>
              <a:t> </a:t>
            </a:r>
            <a:r>
              <a:rPr lang="de-DE" dirty="0" err="1"/>
              <a:t>rather</a:t>
            </a:r>
            <a:r>
              <a:rPr lang="de-DE" dirty="0"/>
              <a:t> </a:t>
            </a:r>
            <a:r>
              <a:rPr lang="de-DE" dirty="0" err="1"/>
              <a:t>be</a:t>
            </a:r>
            <a:r>
              <a:rPr lang="de-DE" dirty="0"/>
              <a:t> </a:t>
            </a:r>
            <a:r>
              <a:rPr lang="de-DE" dirty="0" err="1"/>
              <a:t>zero</a:t>
            </a:r>
            <a:r>
              <a:rPr lang="de-DE" dirty="0"/>
              <a:t> </a:t>
            </a:r>
            <a:r>
              <a:rPr lang="de-DE" dirty="0" err="1"/>
              <a:t>padded</a:t>
            </a:r>
            <a:r>
              <a:rPr lang="de-DE" dirty="0"/>
              <a:t> </a:t>
            </a:r>
            <a:r>
              <a:rPr lang="de-DE" dirty="0" err="1"/>
              <a:t>than</a:t>
            </a:r>
            <a:r>
              <a:rPr lang="de-DE" dirty="0"/>
              <a:t> </a:t>
            </a:r>
            <a:r>
              <a:rPr lang="de-DE" dirty="0" err="1"/>
              <a:t>upscaled</a:t>
            </a:r>
            <a:r>
              <a:rPr lang="de-DE" dirty="0"/>
              <a:t>. </a:t>
            </a:r>
          </a:p>
          <a:p>
            <a:endParaRPr lang="de-DE" dirty="0"/>
          </a:p>
          <a:p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images</a:t>
            </a:r>
            <a:r>
              <a:rPr lang="de-DE" dirty="0"/>
              <a:t> </a:t>
            </a:r>
            <a:r>
              <a:rPr lang="de-DE" dirty="0" err="1"/>
              <a:t>too</a:t>
            </a:r>
            <a:r>
              <a:rPr lang="de-DE" dirty="0"/>
              <a:t> large down </a:t>
            </a:r>
            <a:r>
              <a:rPr lang="de-DE" dirty="0" err="1"/>
              <a:t>scaling</a:t>
            </a:r>
            <a:r>
              <a:rPr lang="de-DE" dirty="0"/>
              <a:t> </a:t>
            </a:r>
            <a:r>
              <a:rPr lang="de-DE" dirty="0" err="1"/>
              <a:t>is</a:t>
            </a:r>
            <a:r>
              <a:rPr lang="de-DE" dirty="0"/>
              <a:t> </a:t>
            </a:r>
            <a:r>
              <a:rPr lang="de-DE" dirty="0" err="1"/>
              <a:t>preferred</a:t>
            </a:r>
            <a:r>
              <a:rPr lang="de-DE" dirty="0"/>
              <a:t> </a:t>
            </a:r>
            <a:r>
              <a:rPr lang="de-DE" dirty="0" err="1"/>
              <a:t>over</a:t>
            </a:r>
            <a:r>
              <a:rPr lang="de-DE" dirty="0"/>
              <a:t> </a:t>
            </a:r>
            <a:r>
              <a:rPr lang="de-DE" dirty="0" err="1"/>
              <a:t>cropping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prevent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risk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losing</a:t>
            </a:r>
            <a:r>
              <a:rPr lang="de-DE" dirty="0"/>
              <a:t> </a:t>
            </a:r>
            <a:r>
              <a:rPr lang="de-DE" dirty="0" err="1"/>
              <a:t>features</a:t>
            </a:r>
            <a:r>
              <a:rPr lang="de-DE" dirty="0"/>
              <a:t>.</a:t>
            </a:r>
          </a:p>
          <a:p>
            <a:endParaRPr lang="de-DE" dirty="0"/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DE" dirty="0"/>
              <a:t>In General </a:t>
            </a:r>
            <a:r>
              <a:rPr lang="de-DE" dirty="0" err="1"/>
              <a:t>when</a:t>
            </a:r>
            <a:r>
              <a:rPr lang="de-DE" dirty="0"/>
              <a:t> </a:t>
            </a:r>
            <a:r>
              <a:rPr lang="de-DE" dirty="0" err="1"/>
              <a:t>dealing</a:t>
            </a:r>
            <a:r>
              <a:rPr lang="de-DE" dirty="0"/>
              <a:t> </a:t>
            </a:r>
            <a:r>
              <a:rPr lang="de-DE" dirty="0" err="1"/>
              <a:t>with</a:t>
            </a:r>
            <a:r>
              <a:rPr lang="de-DE" dirty="0"/>
              <a:t> </a:t>
            </a:r>
            <a:r>
              <a:rPr lang="de-DE" dirty="0" err="1"/>
              <a:t>datasets</a:t>
            </a:r>
            <a:r>
              <a:rPr lang="de-DE" dirty="0"/>
              <a:t>, </a:t>
            </a:r>
            <a:r>
              <a:rPr lang="de-DE" dirty="0" err="1"/>
              <a:t>it</a:t>
            </a:r>
            <a:r>
              <a:rPr lang="de-DE" dirty="0"/>
              <a:t> </a:t>
            </a:r>
            <a:r>
              <a:rPr lang="de-DE" dirty="0" err="1"/>
              <a:t>is</a:t>
            </a:r>
            <a:r>
              <a:rPr lang="de-DE" dirty="0"/>
              <a:t> </a:t>
            </a:r>
            <a:r>
              <a:rPr lang="de-DE" dirty="0" err="1"/>
              <a:t>important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detect</a:t>
            </a:r>
            <a:r>
              <a:rPr lang="de-DE" dirty="0"/>
              <a:t> </a:t>
            </a:r>
            <a:r>
              <a:rPr lang="de-DE" dirty="0" err="1"/>
              <a:t>data</a:t>
            </a:r>
            <a:r>
              <a:rPr lang="de-DE" dirty="0"/>
              <a:t> </a:t>
            </a:r>
            <a:r>
              <a:rPr lang="de-DE" dirty="0" err="1"/>
              <a:t>issues</a:t>
            </a:r>
            <a:r>
              <a:rPr lang="de-DE" dirty="0"/>
              <a:t> like an </a:t>
            </a:r>
            <a:r>
              <a:rPr lang="de-DE" dirty="0" err="1"/>
              <a:t>unbalanced</a:t>
            </a:r>
            <a:r>
              <a:rPr lang="de-DE" dirty="0"/>
              <a:t> </a:t>
            </a:r>
            <a:r>
              <a:rPr lang="de-DE" dirty="0" err="1"/>
              <a:t>dataset</a:t>
            </a:r>
            <a:r>
              <a:rPr lang="de-DE" dirty="0"/>
              <a:t> </a:t>
            </a:r>
            <a:r>
              <a:rPr lang="de-DE" dirty="0" err="1"/>
              <a:t>early</a:t>
            </a:r>
            <a:r>
              <a:rPr lang="de-DE" dirty="0"/>
              <a:t>. </a:t>
            </a:r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00AFC6D0-44D5-4EB7-828F-6F464F83D79A}" type="slidenum">
              <a:rPr lang="en-GB" smtClean="0"/>
              <a:pPr>
                <a:defRPr/>
              </a:pPr>
              <a:t>9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4086975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7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el 1"/>
          <p:cNvSpPr>
            <a:spLocks noGrp="1"/>
          </p:cNvSpPr>
          <p:nvPr>
            <p:ph type="title" hasCustomPrompt="1"/>
          </p:nvPr>
        </p:nvSpPr>
        <p:spPr>
          <a:xfrm>
            <a:off x="319090" y="972000"/>
            <a:ext cx="8508999" cy="38338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ts val="3200"/>
              </a:lnSpc>
              <a:defRPr lang="de-DE" sz="2500" noProof="0" dirty="0"/>
            </a:lvl1pPr>
          </a:lstStyle>
          <a:p>
            <a:pPr lvl="0"/>
            <a:r>
              <a:rPr lang="de-DE" noProof="0"/>
              <a:t>Titel der Präsentation durch Klicken bearbeiten</a:t>
            </a:r>
          </a:p>
        </p:txBody>
      </p:sp>
      <p:sp>
        <p:nvSpPr>
          <p:cNvPr id="16" name="Inhaltsplatzhalter 2"/>
          <p:cNvSpPr>
            <a:spLocks noGrp="1"/>
          </p:cNvSpPr>
          <p:nvPr>
            <p:ph idx="10" hasCustomPrompt="1"/>
          </p:nvPr>
        </p:nvSpPr>
        <p:spPr>
          <a:xfrm>
            <a:off x="319088" y="1484040"/>
            <a:ext cx="8508999" cy="9555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50000"/>
              </a:lnSpc>
              <a:defRPr lang="de-DE" sz="1400" baseline="0" noProof="0" dirty="0" smtClean="0"/>
            </a:lvl1pPr>
            <a:lvl2pPr>
              <a:defRPr lang="de-DE" noProof="0" dirty="0" smtClean="0"/>
            </a:lvl2pPr>
          </a:lstStyle>
          <a:p>
            <a:pPr lvl="0"/>
            <a:r>
              <a:rPr lang="de-DE" noProof="0"/>
              <a:t>Referent</a:t>
            </a:r>
            <a:br>
              <a:rPr lang="de-DE" noProof="0"/>
            </a:br>
            <a:r>
              <a:rPr lang="de-DE" noProof="0"/>
              <a:t>Ort, Datum (Schreibweise: 00. Januar 2015)</a:t>
            </a:r>
          </a:p>
        </p:txBody>
      </p:sp>
      <p:sp>
        <p:nvSpPr>
          <p:cNvPr id="14" name="Rechteck 13"/>
          <p:cNvSpPr/>
          <p:nvPr userDrawn="1"/>
        </p:nvSpPr>
        <p:spPr bwMode="auto">
          <a:xfrm>
            <a:off x="8347635" y="4806203"/>
            <a:ext cx="575236" cy="268941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0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pl-PL"/>
              <a:t>Pecha Kucha by Group 4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18550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 advTm="20000"/>
    </mc:Choice>
    <mc:Fallback xmlns="">
      <p:transition spd="slow" advClick="0" advTm="20000"/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317500" y="772597"/>
            <a:ext cx="8508999" cy="4042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14000"/>
              </a:lnSpc>
              <a:defRPr lang="de-DE" sz="1400" noProof="0" dirty="0" smtClean="0"/>
            </a:lvl1pPr>
            <a:lvl2pPr>
              <a:lnSpc>
                <a:spcPct val="114000"/>
              </a:lnSpc>
              <a:defRPr lang="de-DE" sz="1400" noProof="0" dirty="0" smtClean="0"/>
            </a:lvl2pPr>
            <a:lvl3pPr>
              <a:defRPr sz="1400"/>
            </a:lvl3pPr>
          </a:lstStyle>
          <a:p>
            <a:pPr lvl="0"/>
            <a:r>
              <a:rPr lang="de-DE" noProof="0"/>
              <a:t>Inhalt durch Klicken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</p:txBody>
      </p:sp>
      <p:sp>
        <p:nvSpPr>
          <p:cNvPr id="10" name="Titel 1"/>
          <p:cNvSpPr>
            <a:spLocks noGrp="1"/>
          </p:cNvSpPr>
          <p:nvPr>
            <p:ph type="title" hasCustomPrompt="1"/>
          </p:nvPr>
        </p:nvSpPr>
        <p:spPr>
          <a:xfrm>
            <a:off x="317501" y="282065"/>
            <a:ext cx="7891317" cy="4103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3200"/>
              </a:lnSpc>
              <a:defRPr lang="de-DE" sz="2500" noProof="0" dirty="0"/>
            </a:lvl1pPr>
          </a:lstStyle>
          <a:p>
            <a:pPr lvl="0"/>
            <a:r>
              <a:rPr lang="de-DE" noProof="0"/>
              <a:t>Titel durch Klicken bearbeiten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>
          <a:xfrm>
            <a:off x="6774934" y="4854985"/>
            <a:ext cx="2052074" cy="273844"/>
          </a:xfrm>
          <a:prstGeom prst="rect">
            <a:avLst/>
          </a:prstGeom>
        </p:spPr>
        <p:txBody>
          <a:bodyPr lIns="0" rIns="0"/>
          <a:lstStyle/>
          <a:p>
            <a:fld id="{CE58CB1E-F828-4F11-99E0-327109AF9DA4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pl-PL"/>
              <a:t>Pecha Kucha by Group 4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460883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 advTm="20000"/>
    </mc:Choice>
    <mc:Fallback xmlns="">
      <p:transition spd="slow" advClick="0" advTm="20000"/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Zwei Inhalte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19090" y="1600200"/>
            <a:ext cx="8508999" cy="4957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14000"/>
              </a:lnSpc>
              <a:defRPr lang="de-DE" sz="1400" noProof="0" dirty="0" smtClean="0"/>
            </a:lvl1pPr>
          </a:lstStyle>
          <a:p>
            <a:pPr lvl="0"/>
            <a:r>
              <a:rPr lang="de-DE" noProof="0"/>
              <a:t>Inhalt durch Klicken bearbeiten</a:t>
            </a:r>
          </a:p>
        </p:txBody>
      </p:sp>
      <p:sp>
        <p:nvSpPr>
          <p:cNvPr id="13" name="Titel 1"/>
          <p:cNvSpPr>
            <a:spLocks noGrp="1"/>
          </p:cNvSpPr>
          <p:nvPr>
            <p:ph type="title" hasCustomPrompt="1"/>
          </p:nvPr>
        </p:nvSpPr>
        <p:spPr>
          <a:xfrm>
            <a:off x="319090" y="972000"/>
            <a:ext cx="8508999" cy="4103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3200"/>
              </a:lnSpc>
              <a:defRPr lang="de-DE" sz="2500" noProof="0" dirty="0"/>
            </a:lvl1pPr>
          </a:lstStyle>
          <a:p>
            <a:pPr lvl="0"/>
            <a:r>
              <a:rPr lang="de-DE" noProof="0"/>
              <a:t>Titel durch Klicken bearbeiten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5"/>
          </p:nvPr>
        </p:nvSpPr>
        <p:spPr>
          <a:xfrm>
            <a:off x="6774934" y="4854985"/>
            <a:ext cx="2052074" cy="273844"/>
          </a:xfrm>
          <a:prstGeom prst="rect">
            <a:avLst/>
          </a:prstGeom>
        </p:spPr>
        <p:txBody>
          <a:bodyPr/>
          <a:lstStyle/>
          <a:p>
            <a:fld id="{CE58CB1E-F828-4F11-99E0-327109AF9DA4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2" name="Fußzeilenplatzhalter 11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pl-PL" noProof="0"/>
              <a:t>Pecha Kucha by Group 4</a:t>
            </a:r>
            <a:endParaRPr lang="de-DE" noProof="0"/>
          </a:p>
        </p:txBody>
      </p:sp>
      <p:sp>
        <p:nvSpPr>
          <p:cNvPr id="8" name="Inhaltsplatzhalter 9"/>
          <p:cNvSpPr>
            <a:spLocks noGrp="1"/>
          </p:cNvSpPr>
          <p:nvPr>
            <p:ph sz="quarter" idx="18"/>
          </p:nvPr>
        </p:nvSpPr>
        <p:spPr>
          <a:xfrm>
            <a:off x="316992" y="2148752"/>
            <a:ext cx="4188333" cy="2547074"/>
          </a:xfrm>
          <a:prstGeom prst="rect">
            <a:avLst/>
          </a:prstGeom>
        </p:spPr>
        <p:txBody>
          <a:bodyPr lIns="0" rIns="0"/>
          <a:lstStyle>
            <a:lvl1pPr>
              <a:defRPr lang="de-DE" sz="14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sz="1400"/>
            </a:lvl2pPr>
            <a:lvl3pPr>
              <a:defRPr sz="1400" baseline="0"/>
            </a:lvl3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11" name="Bildplatzhalter 2"/>
          <p:cNvSpPr>
            <a:spLocks noGrp="1"/>
          </p:cNvSpPr>
          <p:nvPr>
            <p:ph type="pic" sz="quarter" idx="14" hasCustomPrompt="1"/>
          </p:nvPr>
        </p:nvSpPr>
        <p:spPr>
          <a:xfrm>
            <a:off x="4648200" y="2148840"/>
            <a:ext cx="4180392" cy="2546911"/>
          </a:xfrm>
          <a:prstGeom prst="rect">
            <a:avLst/>
          </a:prstGeom>
        </p:spPr>
        <p:txBody>
          <a:bodyPr/>
          <a:lstStyle>
            <a:lvl1pPr>
              <a:lnSpc>
                <a:spcPct val="114000"/>
              </a:lnSpc>
              <a:defRPr sz="1400"/>
            </a:lvl1pPr>
          </a:lstStyle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899035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 advTm="20000"/>
    </mc:Choice>
    <mc:Fallback xmlns="">
      <p:transition spd="slow" advClick="0" advTm="20000"/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>
          <a:xfrm>
            <a:off x="7258051" y="4803777"/>
            <a:ext cx="1111538" cy="11541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7" name="Copyright"/>
          <p:cNvSpPr txBox="1"/>
          <p:nvPr userDrawn="1"/>
        </p:nvSpPr>
        <p:spPr>
          <a:xfrm rot="16200000">
            <a:off x="7115176" y="2941873"/>
            <a:ext cx="3850481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5130671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 advTm="20000"/>
    </mc:Choice>
    <mc:Fallback xmlns="">
      <p:transition spd="slow" advClick="0" advTm="20000"/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el 1"/>
          <p:cNvSpPr>
            <a:spLocks noGrp="1"/>
          </p:cNvSpPr>
          <p:nvPr>
            <p:ph type="title" hasCustomPrompt="1"/>
          </p:nvPr>
        </p:nvSpPr>
        <p:spPr>
          <a:xfrm>
            <a:off x="319088" y="286190"/>
            <a:ext cx="8508999" cy="4103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3200"/>
              </a:lnSpc>
              <a:defRPr lang="de-DE" sz="2500" noProof="0" dirty="0"/>
            </a:lvl1pPr>
          </a:lstStyle>
          <a:p>
            <a:pPr lvl="0"/>
            <a:r>
              <a:rPr lang="de-DE" noProof="0"/>
              <a:t>Titel durch Klicken bearbeiten</a:t>
            </a:r>
          </a:p>
        </p:txBody>
      </p:sp>
      <p:sp>
        <p:nvSpPr>
          <p:cNvPr id="16" name="Inhaltsplatzhalter 2"/>
          <p:cNvSpPr>
            <a:spLocks noGrp="1"/>
          </p:cNvSpPr>
          <p:nvPr>
            <p:ph idx="10" hasCustomPrompt="1"/>
          </p:nvPr>
        </p:nvSpPr>
        <p:spPr>
          <a:xfrm>
            <a:off x="319088" y="788845"/>
            <a:ext cx="8508999" cy="9555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50000"/>
              </a:lnSpc>
              <a:defRPr lang="de-DE" sz="1400" baseline="0" noProof="0" dirty="0" smtClean="0"/>
            </a:lvl1pPr>
            <a:lvl2pPr>
              <a:defRPr lang="de-DE" noProof="0" dirty="0" smtClean="0"/>
            </a:lvl2pPr>
          </a:lstStyle>
          <a:p>
            <a:pPr lvl="0"/>
            <a:r>
              <a:rPr lang="de-DE" noProof="0"/>
              <a:t>Referent</a:t>
            </a:r>
            <a:br>
              <a:rPr lang="de-DE" noProof="0"/>
            </a:br>
            <a:r>
              <a:rPr lang="de-DE" noProof="0"/>
              <a:t>Ort, Datum (Schreibweise: 00. Januar 2015)</a:t>
            </a:r>
          </a:p>
        </p:txBody>
      </p:sp>
      <p:sp>
        <p:nvSpPr>
          <p:cNvPr id="14" name="Rechteck 13"/>
          <p:cNvSpPr/>
          <p:nvPr userDrawn="1"/>
        </p:nvSpPr>
        <p:spPr bwMode="auto">
          <a:xfrm>
            <a:off x="8347635" y="4806203"/>
            <a:ext cx="575236" cy="268941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0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>
          <a:xfrm>
            <a:off x="6774934" y="4854985"/>
            <a:ext cx="2052074" cy="273844"/>
          </a:xfrm>
          <a:prstGeom prst="rect">
            <a:avLst/>
          </a:prstGeom>
        </p:spPr>
        <p:txBody>
          <a:bodyPr/>
          <a:lstStyle/>
          <a:p>
            <a:fld id="{CE58CB1E-F828-4F11-99E0-327109AF9DA4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0" name="Fußzeilenplatzhalter 9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pl-PL"/>
              <a:t>Pecha Kucha by Group 4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18550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 advTm="20000"/>
    </mc:Choice>
    <mc:Fallback xmlns="">
      <p:transition spd="slow" advClick="0" advTm="20000"/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317500" y="772597"/>
            <a:ext cx="8508999" cy="4042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14000"/>
              </a:lnSpc>
              <a:defRPr lang="de-DE" sz="1400" noProof="0" dirty="0" smtClean="0"/>
            </a:lvl1pPr>
            <a:lvl2pPr>
              <a:lnSpc>
                <a:spcPct val="114000"/>
              </a:lnSpc>
              <a:defRPr lang="de-DE" sz="1400" noProof="0" dirty="0" smtClean="0"/>
            </a:lvl2pPr>
            <a:lvl3pPr>
              <a:defRPr sz="1400"/>
            </a:lvl3pPr>
          </a:lstStyle>
          <a:p>
            <a:pPr lvl="0"/>
            <a:r>
              <a:rPr lang="de-DE" noProof="0"/>
              <a:t>Inhalt durch Klicken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</p:txBody>
      </p:sp>
      <p:sp>
        <p:nvSpPr>
          <p:cNvPr id="10" name="Titel 1"/>
          <p:cNvSpPr>
            <a:spLocks noGrp="1"/>
          </p:cNvSpPr>
          <p:nvPr>
            <p:ph type="title" hasCustomPrompt="1"/>
          </p:nvPr>
        </p:nvSpPr>
        <p:spPr>
          <a:xfrm>
            <a:off x="317501" y="282065"/>
            <a:ext cx="7891317" cy="4103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3200"/>
              </a:lnSpc>
              <a:defRPr lang="de-DE" sz="2500" noProof="0" dirty="0"/>
            </a:lvl1pPr>
          </a:lstStyle>
          <a:p>
            <a:pPr lvl="0"/>
            <a:r>
              <a:rPr lang="de-DE" noProof="0"/>
              <a:t>Titel durch Klicken bearbeiten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>
          <a:xfrm>
            <a:off x="6774934" y="4854985"/>
            <a:ext cx="2052074" cy="273844"/>
          </a:xfrm>
          <a:prstGeom prst="rect">
            <a:avLst/>
          </a:prstGeom>
        </p:spPr>
        <p:txBody>
          <a:bodyPr lIns="0" rIns="0"/>
          <a:lstStyle/>
          <a:p>
            <a:fld id="{CE58CB1E-F828-4F11-99E0-327109AF9DA4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pl-PL"/>
              <a:t>Pecha Kucha by Group 4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839487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 advTm="20000"/>
    </mc:Choice>
    <mc:Fallback xmlns="">
      <p:transition spd="slow" advClick="0" advTm="20000"/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319090" y="1319928"/>
            <a:ext cx="8508999" cy="3366372"/>
          </a:xfrm>
          <a:prstGeom prst="rect">
            <a:avLst/>
          </a:prstGeom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14000"/>
              </a:lnSpc>
              <a:defRPr lang="de-DE" sz="1400" noProof="0" dirty="0" smtClean="0"/>
            </a:lvl1pPr>
            <a:lvl2pPr>
              <a:lnSpc>
                <a:spcPct val="114000"/>
              </a:lnSpc>
              <a:defRPr lang="de-DE" sz="1400" noProof="0" dirty="0" smtClean="0"/>
            </a:lvl2pPr>
            <a:lvl3pPr>
              <a:defRPr sz="1400" baseline="0"/>
            </a:lvl3pPr>
          </a:lstStyle>
          <a:p>
            <a:pPr lvl="0"/>
            <a:r>
              <a:rPr lang="de-DE" noProof="0"/>
              <a:t>Inhalt durch Klicken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</p:txBody>
      </p:sp>
      <p:sp useBgFill="1">
        <p:nvSpPr>
          <p:cNvPr id="10" name="Titel 1"/>
          <p:cNvSpPr>
            <a:spLocks noGrp="1"/>
          </p:cNvSpPr>
          <p:nvPr>
            <p:ph type="title" hasCustomPrompt="1"/>
          </p:nvPr>
        </p:nvSpPr>
        <p:spPr>
          <a:xfrm>
            <a:off x="319090" y="300364"/>
            <a:ext cx="8508999" cy="410369"/>
          </a:xfrm>
          <a:prstGeom prst="rect">
            <a:avLst/>
          </a:prstGeom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3200"/>
              </a:lnSpc>
              <a:defRPr lang="de-DE" sz="2500" noProof="0" dirty="0"/>
            </a:lvl1pPr>
          </a:lstStyle>
          <a:p>
            <a:pPr lvl="0"/>
            <a:r>
              <a:rPr lang="de-DE" noProof="0"/>
              <a:t>Titel durch Klicken bearbeiten</a:t>
            </a:r>
          </a:p>
        </p:txBody>
      </p:sp>
      <p:sp useBgFill="1"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>
          <a:xfrm>
            <a:off x="6774934" y="4854985"/>
            <a:ext cx="2052074" cy="273844"/>
          </a:xfrm>
          <a:prstGeom prst="rect">
            <a:avLst/>
          </a:prstGeom>
        </p:spPr>
        <p:txBody>
          <a:bodyPr/>
          <a:lstStyle/>
          <a:p>
            <a:fld id="{CE58CB1E-F828-4F11-99E0-327109AF9DA4}" type="slidenum">
              <a:rPr lang="de-DE" smtClean="0"/>
              <a:pPr/>
              <a:t>‹Nr.›</a:t>
            </a:fld>
            <a:endParaRPr lang="de-DE"/>
          </a:p>
        </p:txBody>
      </p:sp>
      <p:sp useBgFill="1">
        <p:nvSpPr>
          <p:cNvPr id="7" name="Fußzeilenplatzhalter 6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pl-PL"/>
              <a:t>Pecha Kucha by Group 4</a:t>
            </a:r>
            <a:endParaRPr lang="en-US"/>
          </a:p>
        </p:txBody>
      </p:sp>
      <p:sp useBgFill="1">
        <p:nvSpPr>
          <p:cNvPr id="6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19090" y="762678"/>
            <a:ext cx="8508999" cy="505305"/>
          </a:xfrm>
          <a:prstGeom prst="rect">
            <a:avLst/>
          </a:prstGeom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14000"/>
              </a:lnSpc>
              <a:defRPr lang="de-DE" sz="1400" noProof="0" dirty="0" smtClean="0"/>
            </a:lvl1pPr>
          </a:lstStyle>
          <a:p>
            <a:pPr lvl="0"/>
            <a:r>
              <a:rPr lang="de-DE" noProof="0"/>
              <a:t>Inhal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21839487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 advTm="20000"/>
    </mc:Choice>
    <mc:Fallback xmlns="">
      <p:transition spd="slow" advClick="0" advTm="20000"/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Inhaltsplatzhalter 2"/>
          <p:cNvSpPr>
            <a:spLocks noGrp="1"/>
          </p:cNvSpPr>
          <p:nvPr>
            <p:ph idx="14" hasCustomPrompt="1"/>
          </p:nvPr>
        </p:nvSpPr>
        <p:spPr>
          <a:xfrm>
            <a:off x="319090" y="770795"/>
            <a:ext cx="4180910" cy="38847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14000"/>
              </a:lnSpc>
              <a:defRPr lang="de-DE" sz="1400" noProof="0" dirty="0" smtClean="0"/>
            </a:lvl1pPr>
            <a:lvl2pPr>
              <a:lnSpc>
                <a:spcPct val="114000"/>
              </a:lnSpc>
              <a:defRPr lang="de-DE" sz="1400" noProof="0" dirty="0" smtClean="0"/>
            </a:lvl2pPr>
            <a:lvl3pPr>
              <a:defRPr sz="1400" baseline="0"/>
            </a:lvl3pPr>
          </a:lstStyle>
          <a:p>
            <a:pPr lvl="0"/>
            <a:r>
              <a:rPr lang="de-DE" noProof="0"/>
              <a:t>Inhalt durch Klicken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</p:txBody>
      </p:sp>
      <p:sp>
        <p:nvSpPr>
          <p:cNvPr id="13" name="Inhaltsplatzhalter 2"/>
          <p:cNvSpPr>
            <a:spLocks noGrp="1"/>
          </p:cNvSpPr>
          <p:nvPr>
            <p:ph idx="15" hasCustomPrompt="1"/>
          </p:nvPr>
        </p:nvSpPr>
        <p:spPr>
          <a:xfrm>
            <a:off x="4644002" y="770794"/>
            <a:ext cx="4180910" cy="38847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14000"/>
              </a:lnSpc>
              <a:defRPr lang="de-DE" sz="1400" noProof="0" dirty="0" smtClean="0"/>
            </a:lvl1pPr>
            <a:lvl2pPr>
              <a:lnSpc>
                <a:spcPct val="114000"/>
              </a:lnSpc>
              <a:defRPr lang="de-DE" sz="1400" noProof="0" dirty="0" smtClean="0"/>
            </a:lvl2pPr>
            <a:lvl3pPr>
              <a:defRPr sz="1400" baseline="0"/>
            </a:lvl3pPr>
          </a:lstStyle>
          <a:p>
            <a:pPr lvl="0"/>
            <a:r>
              <a:rPr lang="de-DE" noProof="0"/>
              <a:t>Inhalt durch Klicken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</p:txBody>
      </p:sp>
      <p:sp>
        <p:nvSpPr>
          <p:cNvPr id="16" name="Titel 1"/>
          <p:cNvSpPr>
            <a:spLocks noGrp="1"/>
          </p:cNvSpPr>
          <p:nvPr>
            <p:ph type="title" hasCustomPrompt="1"/>
          </p:nvPr>
        </p:nvSpPr>
        <p:spPr>
          <a:xfrm>
            <a:off x="319090" y="262449"/>
            <a:ext cx="7821445" cy="4103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3200"/>
              </a:lnSpc>
              <a:defRPr lang="de-DE" sz="2500" baseline="0" noProof="0" dirty="0"/>
            </a:lvl1pPr>
          </a:lstStyle>
          <a:p>
            <a:pPr lvl="0"/>
            <a:r>
              <a:rPr lang="de-DE" noProof="0"/>
              <a:t>Titel durch Klicken bearbeiten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>
          <a:xfrm>
            <a:off x="6774934" y="4854985"/>
            <a:ext cx="2052074" cy="273844"/>
          </a:xfrm>
          <a:prstGeom prst="rect">
            <a:avLst/>
          </a:prstGeom>
        </p:spPr>
        <p:txBody>
          <a:bodyPr/>
          <a:lstStyle/>
          <a:p>
            <a:fld id="{CE58CB1E-F828-4F11-99E0-327109AF9DA4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pl-PL"/>
              <a:t>Pecha Kucha by Group 4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629014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 advTm="20000"/>
    </mc:Choice>
    <mc:Fallback xmlns="">
      <p:transition spd="slow" advClick="0" advTm="20000"/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19090" y="1600200"/>
            <a:ext cx="8508999" cy="4957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14000"/>
              </a:lnSpc>
              <a:defRPr lang="de-DE" sz="1400" noProof="0" dirty="0" smtClean="0"/>
            </a:lvl1pPr>
          </a:lstStyle>
          <a:p>
            <a:pPr lvl="0"/>
            <a:r>
              <a:rPr lang="de-DE" noProof="0"/>
              <a:t>Inhalt durch Klicken bearbeiten</a:t>
            </a:r>
          </a:p>
        </p:txBody>
      </p:sp>
      <p:sp>
        <p:nvSpPr>
          <p:cNvPr id="13" name="Titel 1"/>
          <p:cNvSpPr>
            <a:spLocks noGrp="1"/>
          </p:cNvSpPr>
          <p:nvPr>
            <p:ph type="title" hasCustomPrompt="1"/>
          </p:nvPr>
        </p:nvSpPr>
        <p:spPr>
          <a:xfrm>
            <a:off x="319090" y="972000"/>
            <a:ext cx="8508999" cy="4103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3200"/>
              </a:lnSpc>
              <a:defRPr lang="de-DE" sz="2500" noProof="0" dirty="0"/>
            </a:lvl1pPr>
          </a:lstStyle>
          <a:p>
            <a:pPr lvl="0"/>
            <a:r>
              <a:rPr lang="de-DE" noProof="0"/>
              <a:t>Titel durch Klicken bearbeiten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5"/>
          </p:nvPr>
        </p:nvSpPr>
        <p:spPr>
          <a:xfrm>
            <a:off x="6774934" y="4854985"/>
            <a:ext cx="2052074" cy="273844"/>
          </a:xfrm>
          <a:prstGeom prst="rect">
            <a:avLst/>
          </a:prstGeom>
        </p:spPr>
        <p:txBody>
          <a:bodyPr/>
          <a:lstStyle/>
          <a:p>
            <a:fld id="{CE58CB1E-F828-4F11-99E0-327109AF9DA4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2" name="Fußzeilenplatzhalter 11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pl-PL" noProof="0"/>
              <a:t>Pecha Kucha by Group 4</a:t>
            </a:r>
            <a:endParaRPr lang="de-DE" noProof="0"/>
          </a:p>
        </p:txBody>
      </p:sp>
      <p:sp>
        <p:nvSpPr>
          <p:cNvPr id="8" name="Inhaltsplatzhalter 9"/>
          <p:cNvSpPr>
            <a:spLocks noGrp="1"/>
          </p:cNvSpPr>
          <p:nvPr>
            <p:ph sz="quarter" idx="18"/>
          </p:nvPr>
        </p:nvSpPr>
        <p:spPr>
          <a:xfrm>
            <a:off x="316992" y="2148752"/>
            <a:ext cx="4188333" cy="2547074"/>
          </a:xfrm>
          <a:prstGeom prst="rect">
            <a:avLst/>
          </a:prstGeom>
        </p:spPr>
        <p:txBody>
          <a:bodyPr lIns="0" rIns="0"/>
          <a:lstStyle>
            <a:lvl1pPr>
              <a:defRPr lang="de-DE" sz="14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sz="1400"/>
            </a:lvl2pPr>
            <a:lvl3pPr>
              <a:defRPr sz="1400" baseline="0"/>
            </a:lvl3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11" name="Bildplatzhalter 2"/>
          <p:cNvSpPr>
            <a:spLocks noGrp="1"/>
          </p:cNvSpPr>
          <p:nvPr>
            <p:ph type="pic" sz="quarter" idx="14" hasCustomPrompt="1"/>
          </p:nvPr>
        </p:nvSpPr>
        <p:spPr>
          <a:xfrm>
            <a:off x="4648200" y="2148840"/>
            <a:ext cx="4180392" cy="2546911"/>
          </a:xfrm>
          <a:prstGeom prst="rect">
            <a:avLst/>
          </a:prstGeom>
        </p:spPr>
        <p:txBody>
          <a:bodyPr/>
          <a:lstStyle>
            <a:lvl1pPr>
              <a:lnSpc>
                <a:spcPct val="114000"/>
              </a:lnSpc>
              <a:defRPr sz="1400"/>
            </a:lvl1pPr>
          </a:lstStyle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115081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 advTm="20000"/>
    </mc:Choice>
    <mc:Fallback xmlns="">
      <p:transition spd="slow" advClick="0" advTm="20000"/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+ Text (Hintergrun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/>
          <p:cNvSpPr/>
          <p:nvPr userDrawn="1"/>
        </p:nvSpPr>
        <p:spPr bwMode="auto">
          <a:xfrm>
            <a:off x="0" y="2152650"/>
            <a:ext cx="9144000" cy="299085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r" eaLnBrk="0" hangingPunct="0"/>
            <a:endParaRPr lang="de-DE" sz="1000">
              <a:latin typeface="Arial" pitchFamily="34" charset="0"/>
            </a:endParaRPr>
          </a:p>
        </p:txBody>
      </p:sp>
      <p:sp>
        <p:nvSpPr>
          <p:cNvPr id="13" name="Titel 1"/>
          <p:cNvSpPr>
            <a:spLocks noGrp="1"/>
          </p:cNvSpPr>
          <p:nvPr>
            <p:ph type="title" hasCustomPrompt="1"/>
          </p:nvPr>
        </p:nvSpPr>
        <p:spPr>
          <a:xfrm>
            <a:off x="319090" y="972000"/>
            <a:ext cx="8508999" cy="4103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3200"/>
              </a:lnSpc>
              <a:defRPr lang="de-DE" sz="2500" noProof="0" dirty="0"/>
            </a:lvl1pPr>
          </a:lstStyle>
          <a:p>
            <a:pPr lvl="0"/>
            <a:r>
              <a:rPr lang="de-DE" noProof="0"/>
              <a:t>Titel durch Klicken bearbeiten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5"/>
          </p:nvPr>
        </p:nvSpPr>
        <p:spPr>
          <a:xfrm>
            <a:off x="6774934" y="4854985"/>
            <a:ext cx="2052074" cy="273844"/>
          </a:xfrm>
          <a:prstGeom prst="rect">
            <a:avLst/>
          </a:prstGeom>
        </p:spPr>
        <p:txBody>
          <a:bodyPr/>
          <a:lstStyle/>
          <a:p>
            <a:fld id="{CE58CB1E-F828-4F11-99E0-327109AF9DA4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2" name="Fußzeilenplatzhalter 11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pl-PL" noProof="0"/>
              <a:t>Pecha Kucha by Group 4</a:t>
            </a:r>
            <a:endParaRPr lang="de-DE" noProof="0"/>
          </a:p>
        </p:txBody>
      </p:sp>
      <p:sp>
        <p:nvSpPr>
          <p:cNvPr id="8" name="Inhaltsplatzhalter 9"/>
          <p:cNvSpPr>
            <a:spLocks noGrp="1"/>
          </p:cNvSpPr>
          <p:nvPr>
            <p:ph sz="quarter" idx="18"/>
          </p:nvPr>
        </p:nvSpPr>
        <p:spPr>
          <a:xfrm>
            <a:off x="316992" y="2152650"/>
            <a:ext cx="4197858" cy="2552700"/>
          </a:xfrm>
          <a:prstGeom prst="rect">
            <a:avLst/>
          </a:prstGeom>
        </p:spPr>
        <p:txBody>
          <a:bodyPr lIns="0" rIns="0"/>
          <a:lstStyle>
            <a:lvl1pPr>
              <a:defRPr lang="de-DE" sz="14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sz="1400"/>
            </a:lvl2pPr>
            <a:lvl3pPr>
              <a:defRPr sz="1400" baseline="0"/>
            </a:lvl3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11" name="Bildplatzhalter 2"/>
          <p:cNvSpPr>
            <a:spLocks noGrp="1"/>
          </p:cNvSpPr>
          <p:nvPr>
            <p:ph type="pic" sz="quarter" idx="14" hasCustomPrompt="1"/>
          </p:nvPr>
        </p:nvSpPr>
        <p:spPr>
          <a:xfrm>
            <a:off x="4648200" y="2143125"/>
            <a:ext cx="4180392" cy="2543176"/>
          </a:xfrm>
          <a:prstGeom prst="rect">
            <a:avLst/>
          </a:prstGeom>
        </p:spPr>
        <p:txBody>
          <a:bodyPr/>
          <a:lstStyle>
            <a:lvl1pPr>
              <a:lnSpc>
                <a:spcPct val="114000"/>
              </a:lnSpc>
              <a:defRPr sz="1400"/>
            </a:lvl1pPr>
          </a:lstStyle>
          <a:p>
            <a:endParaRPr lang="de-DE"/>
          </a:p>
        </p:txBody>
      </p:sp>
      <p:sp>
        <p:nvSpPr>
          <p:cNvPr id="10" name="Textplatzhalter 7"/>
          <p:cNvSpPr>
            <a:spLocks noGrp="1"/>
          </p:cNvSpPr>
          <p:nvPr>
            <p:ph type="body" sz="quarter" idx="19" hasCustomPrompt="1"/>
          </p:nvPr>
        </p:nvSpPr>
        <p:spPr>
          <a:xfrm>
            <a:off x="319090" y="1600200"/>
            <a:ext cx="8508999" cy="4957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14000"/>
              </a:lnSpc>
              <a:defRPr lang="de-DE" sz="1400" noProof="0" dirty="0" smtClean="0"/>
            </a:lvl1pPr>
          </a:lstStyle>
          <a:p>
            <a:pPr lvl="0"/>
            <a:r>
              <a:rPr lang="de-DE" noProof="0"/>
              <a:t>Inhal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11115081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 advTm="20000"/>
    </mc:Choice>
    <mc:Fallback xmlns="">
      <p:transition spd="slow" advClick="0" advTm="20000"/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oße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el 1"/>
          <p:cNvSpPr>
            <a:spLocks noGrp="1"/>
          </p:cNvSpPr>
          <p:nvPr>
            <p:ph type="title" hasCustomPrompt="1"/>
          </p:nvPr>
        </p:nvSpPr>
        <p:spPr>
          <a:xfrm>
            <a:off x="319090" y="972000"/>
            <a:ext cx="8508999" cy="4103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3200"/>
              </a:lnSpc>
              <a:defRPr lang="de-DE" sz="2500" noProof="0" dirty="0"/>
            </a:lvl1pPr>
          </a:lstStyle>
          <a:p>
            <a:pPr lvl="0"/>
            <a:r>
              <a:rPr lang="de-DE" noProof="0"/>
              <a:t>Titel durch Klicken bearbeiten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5"/>
          </p:nvPr>
        </p:nvSpPr>
        <p:spPr>
          <a:xfrm>
            <a:off x="6774934" y="4854985"/>
            <a:ext cx="2052074" cy="273844"/>
          </a:xfrm>
          <a:prstGeom prst="rect">
            <a:avLst/>
          </a:prstGeom>
        </p:spPr>
        <p:txBody>
          <a:bodyPr/>
          <a:lstStyle/>
          <a:p>
            <a:fld id="{CE58CB1E-F828-4F11-99E0-327109AF9DA4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2" name="Fußzeilenplatzhalter 11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pl-PL" noProof="0"/>
              <a:t>Pecha Kucha by Group 4</a:t>
            </a:r>
            <a:endParaRPr lang="de-DE" noProof="0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7"/>
          </p:nvPr>
        </p:nvSpPr>
        <p:spPr>
          <a:xfrm>
            <a:off x="0" y="2133600"/>
            <a:ext cx="9144000" cy="3009900"/>
          </a:xfrm>
          <a:prstGeom prst="rect">
            <a:avLst/>
          </a:prstGeom>
        </p:spPr>
        <p:txBody>
          <a:bodyPr/>
          <a:lstStyle>
            <a:lvl1pPr>
              <a:defRPr sz="1400"/>
            </a:lvl1pPr>
          </a:lstStyle>
          <a:p>
            <a:endParaRPr lang="de-DE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8" hasCustomPrompt="1"/>
          </p:nvPr>
        </p:nvSpPr>
        <p:spPr>
          <a:xfrm>
            <a:off x="319090" y="1600200"/>
            <a:ext cx="8508999" cy="4957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14000"/>
              </a:lnSpc>
              <a:defRPr lang="de-DE" sz="1400" noProof="0" dirty="0" smtClean="0"/>
            </a:lvl1pPr>
          </a:lstStyle>
          <a:p>
            <a:pPr lvl="0"/>
            <a:r>
              <a:rPr lang="de-DE" noProof="0"/>
              <a:t>Inhal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11115081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 advTm="20000"/>
    </mc:Choice>
    <mc:Fallback xmlns="">
      <p:transition spd="slow" advClick="0" advTm="20000"/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nhalt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319090" y="1319928"/>
            <a:ext cx="8508999" cy="3366372"/>
          </a:xfrm>
          <a:prstGeom prst="rect">
            <a:avLst/>
          </a:prstGeom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14000"/>
              </a:lnSpc>
              <a:defRPr lang="de-DE" sz="1400" noProof="0" dirty="0" smtClean="0"/>
            </a:lvl1pPr>
            <a:lvl2pPr>
              <a:lnSpc>
                <a:spcPct val="114000"/>
              </a:lnSpc>
              <a:defRPr lang="de-DE" sz="1400" noProof="0" dirty="0" smtClean="0"/>
            </a:lvl2pPr>
            <a:lvl3pPr>
              <a:defRPr sz="1400" baseline="0"/>
            </a:lvl3pPr>
          </a:lstStyle>
          <a:p>
            <a:pPr lvl="0"/>
            <a:r>
              <a:rPr lang="de-DE" noProof="0"/>
              <a:t>Inhalt durch Klicken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</p:txBody>
      </p:sp>
      <p:sp useBgFill="1">
        <p:nvSpPr>
          <p:cNvPr id="10" name="Titel 1"/>
          <p:cNvSpPr>
            <a:spLocks noGrp="1"/>
          </p:cNvSpPr>
          <p:nvPr>
            <p:ph type="title" hasCustomPrompt="1"/>
          </p:nvPr>
        </p:nvSpPr>
        <p:spPr>
          <a:xfrm>
            <a:off x="319090" y="300364"/>
            <a:ext cx="8508999" cy="410369"/>
          </a:xfrm>
          <a:prstGeom prst="rect">
            <a:avLst/>
          </a:prstGeom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3200"/>
              </a:lnSpc>
              <a:defRPr lang="de-DE" sz="2500" noProof="0" dirty="0"/>
            </a:lvl1pPr>
          </a:lstStyle>
          <a:p>
            <a:pPr lvl="0"/>
            <a:r>
              <a:rPr lang="de-DE" noProof="0"/>
              <a:t>Titel durch Klicken bearbeiten</a:t>
            </a:r>
          </a:p>
        </p:txBody>
      </p:sp>
      <p:sp useBgFill="1"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>
          <a:xfrm>
            <a:off x="6774934" y="4854985"/>
            <a:ext cx="2052074" cy="273844"/>
          </a:xfrm>
          <a:prstGeom prst="rect">
            <a:avLst/>
          </a:prstGeom>
        </p:spPr>
        <p:txBody>
          <a:bodyPr/>
          <a:lstStyle/>
          <a:p>
            <a:fld id="{CE58CB1E-F828-4F11-99E0-327109AF9DA4}" type="slidenum">
              <a:rPr lang="de-DE" smtClean="0"/>
              <a:pPr/>
              <a:t>‹Nr.›</a:t>
            </a:fld>
            <a:endParaRPr lang="de-DE"/>
          </a:p>
        </p:txBody>
      </p:sp>
      <p:sp useBgFill="1">
        <p:nvSpPr>
          <p:cNvPr id="7" name="Fußzeilenplatzhalter 6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pl-PL"/>
              <a:t>Pecha Kucha by Group 4</a:t>
            </a:r>
            <a:endParaRPr lang="en-US"/>
          </a:p>
        </p:txBody>
      </p:sp>
      <p:sp useBgFill="1">
        <p:nvSpPr>
          <p:cNvPr id="6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19090" y="762678"/>
            <a:ext cx="8508999" cy="505305"/>
          </a:xfrm>
          <a:prstGeom prst="rect">
            <a:avLst/>
          </a:prstGeom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14000"/>
              </a:lnSpc>
              <a:defRPr lang="de-DE" sz="1400" noProof="0" dirty="0" smtClean="0"/>
            </a:lvl1pPr>
          </a:lstStyle>
          <a:p>
            <a:pPr lvl="0"/>
            <a:r>
              <a:rPr lang="de-DE" noProof="0"/>
              <a:t>Inhal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38400925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 advTm="20000"/>
    </mc:Choice>
    <mc:Fallback xmlns="">
      <p:transition spd="slow" advClick="0" advTm="20000"/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er formatfüll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ildplatzhalter 2"/>
          <p:cNvSpPr>
            <a:spLocks noGrp="1"/>
          </p:cNvSpPr>
          <p:nvPr>
            <p:ph type="pic" sz="quarter" idx="14" hasCustomPrompt="1"/>
          </p:nvPr>
        </p:nvSpPr>
        <p:spPr>
          <a:xfrm>
            <a:off x="0" y="1600200"/>
            <a:ext cx="9144000" cy="3543299"/>
          </a:xfrm>
          <a:prstGeom prst="rect">
            <a:avLst/>
          </a:prstGeom>
        </p:spPr>
        <p:txBody>
          <a:bodyPr/>
          <a:lstStyle>
            <a:lvl1pPr>
              <a:lnSpc>
                <a:spcPct val="114000"/>
              </a:lnSpc>
              <a:defRPr sz="1400"/>
            </a:lvl1pPr>
          </a:lstStyle>
          <a:p>
            <a:endParaRPr lang="de-DE"/>
          </a:p>
        </p:txBody>
      </p:sp>
      <p:sp>
        <p:nvSpPr>
          <p:cNvPr id="11" name="Titel 1"/>
          <p:cNvSpPr>
            <a:spLocks noGrp="1"/>
          </p:cNvSpPr>
          <p:nvPr>
            <p:ph type="title" hasCustomPrompt="1"/>
          </p:nvPr>
        </p:nvSpPr>
        <p:spPr>
          <a:xfrm>
            <a:off x="319090" y="972000"/>
            <a:ext cx="8508999" cy="4103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3200"/>
              </a:lnSpc>
              <a:defRPr lang="de-DE" sz="2500" noProof="0" dirty="0"/>
            </a:lvl1pPr>
          </a:lstStyle>
          <a:p>
            <a:pPr lvl="0"/>
            <a:r>
              <a:rPr lang="de-DE" noProof="0"/>
              <a:t>Titel durch Klicken bearbeiten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5"/>
          </p:nvPr>
        </p:nvSpPr>
        <p:spPr>
          <a:xfrm>
            <a:off x="6774934" y="4854985"/>
            <a:ext cx="2052074" cy="273844"/>
          </a:xfrm>
          <a:prstGeom prst="rect">
            <a:avLst/>
          </a:prstGeom>
        </p:spPr>
        <p:txBody>
          <a:bodyPr/>
          <a:lstStyle/>
          <a:p>
            <a:fld id="{CE58CB1E-F828-4F11-99E0-327109AF9DA4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0" name="Fußzeilenplatzhalter 9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pl-PL"/>
              <a:t>Pecha Kucha by Group 4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579873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 advTm="20000"/>
    </mc:Choice>
    <mc:Fallback xmlns="">
      <p:transition spd="slow" advClick="0" advTm="20000"/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>
          <a:xfrm>
            <a:off x="7258051" y="4803777"/>
            <a:ext cx="1111538" cy="11541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7" name="Copyright"/>
          <p:cNvSpPr txBox="1"/>
          <p:nvPr userDrawn="1"/>
        </p:nvSpPr>
        <p:spPr>
          <a:xfrm rot="16200000">
            <a:off x="7115176" y="2941873"/>
            <a:ext cx="3850481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7256029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 advTm="20000"/>
    </mc:Choice>
    <mc:Fallback xmlns="">
      <p:transition spd="slow" advClick="0" advTm="20000"/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tren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el 1"/>
          <p:cNvSpPr>
            <a:spLocks noGrp="1"/>
          </p:cNvSpPr>
          <p:nvPr>
            <p:ph type="title" hasCustomPrompt="1"/>
          </p:nvPr>
        </p:nvSpPr>
        <p:spPr>
          <a:xfrm>
            <a:off x="319090" y="972000"/>
            <a:ext cx="8508999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3200"/>
              </a:lnSpc>
              <a:defRPr lang="de-DE" sz="2500" baseline="0" noProof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noProof="0"/>
              <a:t>Präsentationsmuster</a:t>
            </a:r>
            <a:br>
              <a:rPr lang="de-DE" noProof="0"/>
            </a:br>
            <a:br>
              <a:rPr lang="de-DE" noProof="0"/>
            </a:br>
            <a:r>
              <a:rPr lang="de-DE" noProof="0"/>
              <a:t>kann auch als </a:t>
            </a:r>
            <a:r>
              <a:rPr lang="de-DE" noProof="0" err="1"/>
              <a:t>Kapiteltrenner</a:t>
            </a:r>
            <a:r>
              <a:rPr lang="de-DE" noProof="0"/>
              <a:t> verwendet werden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pl-PL"/>
              <a:t>Pecha Kucha by Group 4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18550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 advTm="20000"/>
    </mc:Choice>
    <mc:Fallback xmlns="">
      <p:transition spd="slow" advClick="0" advTm="20000"/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tren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el 1"/>
          <p:cNvSpPr>
            <a:spLocks noGrp="1"/>
          </p:cNvSpPr>
          <p:nvPr>
            <p:ph type="title" hasCustomPrompt="1"/>
          </p:nvPr>
        </p:nvSpPr>
        <p:spPr>
          <a:xfrm>
            <a:off x="319090" y="972000"/>
            <a:ext cx="8508999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3200"/>
              </a:lnSpc>
              <a:defRPr lang="de-DE" sz="2500" noProof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noProof="0"/>
              <a:t>Präsentationsmuster</a:t>
            </a:r>
            <a:br>
              <a:rPr lang="de-DE" noProof="0"/>
            </a:br>
            <a:br>
              <a:rPr lang="de-DE" noProof="0"/>
            </a:br>
            <a:r>
              <a:rPr lang="de-DE" noProof="0"/>
              <a:t>kann auch als </a:t>
            </a:r>
            <a:r>
              <a:rPr lang="de-DE" noProof="0" err="1"/>
              <a:t>Kapiteltrenner</a:t>
            </a:r>
            <a:r>
              <a:rPr lang="de-DE" noProof="0"/>
              <a:t> verwendet werden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CE58CB1E-F828-4F11-99E0-327109AF9DA4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pl-PL"/>
              <a:t>Pecha Kucha by Group 4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18550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 advTm="20000"/>
    </mc:Choice>
    <mc:Fallback xmlns="">
      <p:transition spd="slow" advClick="0" advTm="20000"/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el 1"/>
          <p:cNvSpPr>
            <a:spLocks noGrp="1"/>
          </p:cNvSpPr>
          <p:nvPr>
            <p:ph type="title" hasCustomPrompt="1"/>
          </p:nvPr>
        </p:nvSpPr>
        <p:spPr>
          <a:xfrm>
            <a:off x="319090" y="972000"/>
            <a:ext cx="8508999" cy="38338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ts val="3200"/>
              </a:lnSpc>
              <a:defRPr lang="de-DE" sz="2500" noProof="0" dirty="0"/>
            </a:lvl1pPr>
          </a:lstStyle>
          <a:p>
            <a:pPr lvl="0"/>
            <a:r>
              <a:rPr lang="de-DE" noProof="0"/>
              <a:t>Titel der Präsentation durch Klicken bearbeiten</a:t>
            </a:r>
          </a:p>
        </p:txBody>
      </p:sp>
      <p:sp>
        <p:nvSpPr>
          <p:cNvPr id="16" name="Inhaltsplatzhalter 2"/>
          <p:cNvSpPr>
            <a:spLocks noGrp="1"/>
          </p:cNvSpPr>
          <p:nvPr>
            <p:ph idx="10" hasCustomPrompt="1"/>
          </p:nvPr>
        </p:nvSpPr>
        <p:spPr>
          <a:xfrm>
            <a:off x="319088" y="1484040"/>
            <a:ext cx="8508999" cy="9555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50000"/>
              </a:lnSpc>
              <a:defRPr lang="de-DE" sz="1400" baseline="0" noProof="0" dirty="0" smtClean="0"/>
            </a:lvl1pPr>
            <a:lvl2pPr>
              <a:defRPr lang="de-DE" noProof="0" dirty="0" smtClean="0"/>
            </a:lvl2pPr>
          </a:lstStyle>
          <a:p>
            <a:pPr lvl="0"/>
            <a:r>
              <a:rPr lang="de-DE" noProof="0"/>
              <a:t>Referent</a:t>
            </a:r>
            <a:br>
              <a:rPr lang="de-DE" noProof="0"/>
            </a:br>
            <a:r>
              <a:rPr lang="de-DE" noProof="0"/>
              <a:t>Ort, Datum (Schreibweise: 00. Januar 2015)</a:t>
            </a:r>
          </a:p>
        </p:txBody>
      </p:sp>
      <p:sp>
        <p:nvSpPr>
          <p:cNvPr id="14" name="Rechteck 13"/>
          <p:cNvSpPr/>
          <p:nvPr userDrawn="1"/>
        </p:nvSpPr>
        <p:spPr bwMode="auto">
          <a:xfrm>
            <a:off x="8347635" y="4806203"/>
            <a:ext cx="575236" cy="268941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0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pl-PL"/>
              <a:t>Pecha Kucha by Group 4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18550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 advTm="20000"/>
    </mc:Choice>
    <mc:Fallback xmlns="">
      <p:transition spd="slow" advClick="0" advTm="20000"/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nhalt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319090" y="1319928"/>
            <a:ext cx="8508999" cy="3366372"/>
          </a:xfrm>
          <a:prstGeom prst="rect">
            <a:avLst/>
          </a:prstGeom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14000"/>
              </a:lnSpc>
              <a:defRPr lang="de-DE" sz="1400" noProof="0" dirty="0" smtClean="0"/>
            </a:lvl1pPr>
            <a:lvl2pPr>
              <a:lnSpc>
                <a:spcPct val="114000"/>
              </a:lnSpc>
              <a:defRPr lang="de-DE" sz="1400" noProof="0" dirty="0" smtClean="0"/>
            </a:lvl2pPr>
            <a:lvl3pPr>
              <a:defRPr sz="1400" baseline="0"/>
            </a:lvl3pPr>
          </a:lstStyle>
          <a:p>
            <a:pPr lvl="0"/>
            <a:r>
              <a:rPr lang="de-DE" noProof="0"/>
              <a:t>Inhalt durch Klicken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</p:txBody>
      </p:sp>
      <p:sp useBgFill="1">
        <p:nvSpPr>
          <p:cNvPr id="10" name="Titel 1"/>
          <p:cNvSpPr>
            <a:spLocks noGrp="1"/>
          </p:cNvSpPr>
          <p:nvPr>
            <p:ph type="title" hasCustomPrompt="1"/>
          </p:nvPr>
        </p:nvSpPr>
        <p:spPr>
          <a:xfrm>
            <a:off x="319090" y="300364"/>
            <a:ext cx="8508999" cy="410369"/>
          </a:xfrm>
          <a:prstGeom prst="rect">
            <a:avLst/>
          </a:prstGeom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3200"/>
              </a:lnSpc>
              <a:defRPr lang="de-DE" sz="2500" noProof="0" dirty="0"/>
            </a:lvl1pPr>
          </a:lstStyle>
          <a:p>
            <a:pPr lvl="0"/>
            <a:r>
              <a:rPr lang="de-DE" noProof="0"/>
              <a:t>Titel durch Klicken bearbeiten</a:t>
            </a:r>
          </a:p>
        </p:txBody>
      </p:sp>
      <p:sp useBgFill="1"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>
          <a:xfrm>
            <a:off x="6774934" y="4854985"/>
            <a:ext cx="2052074" cy="273844"/>
          </a:xfrm>
          <a:prstGeom prst="rect">
            <a:avLst/>
          </a:prstGeom>
        </p:spPr>
        <p:txBody>
          <a:bodyPr/>
          <a:lstStyle/>
          <a:p>
            <a:fld id="{CE58CB1E-F828-4F11-99E0-327109AF9DA4}" type="slidenum">
              <a:rPr lang="de-DE" smtClean="0"/>
              <a:pPr/>
              <a:t>‹Nr.›</a:t>
            </a:fld>
            <a:endParaRPr lang="de-DE"/>
          </a:p>
        </p:txBody>
      </p:sp>
      <p:sp useBgFill="1">
        <p:nvSpPr>
          <p:cNvPr id="7" name="Fußzeilenplatzhalter 6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pl-PL"/>
              <a:t>Pecha Kucha by Group 4</a:t>
            </a:r>
            <a:endParaRPr lang="en-US"/>
          </a:p>
        </p:txBody>
      </p:sp>
      <p:sp useBgFill="1">
        <p:nvSpPr>
          <p:cNvPr id="6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19090" y="762678"/>
            <a:ext cx="8508999" cy="505305"/>
          </a:xfrm>
          <a:prstGeom prst="rect">
            <a:avLst/>
          </a:prstGeom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14000"/>
              </a:lnSpc>
              <a:defRPr lang="de-DE" sz="1400" noProof="0" dirty="0" smtClean="0"/>
            </a:lvl1pPr>
          </a:lstStyle>
          <a:p>
            <a:pPr lvl="0"/>
            <a:r>
              <a:rPr lang="de-DE" noProof="0"/>
              <a:t>Inhal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38400925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 advTm="20000"/>
    </mc:Choice>
    <mc:Fallback xmlns="">
      <p:transition spd="slow" advClick="0" advTm="20000"/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317500" y="772597"/>
            <a:ext cx="8508999" cy="4042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14000"/>
              </a:lnSpc>
              <a:defRPr lang="de-DE" sz="1400" noProof="0" dirty="0" smtClean="0"/>
            </a:lvl1pPr>
            <a:lvl2pPr>
              <a:lnSpc>
                <a:spcPct val="114000"/>
              </a:lnSpc>
              <a:defRPr lang="de-DE" sz="1400" noProof="0" dirty="0" smtClean="0"/>
            </a:lvl2pPr>
            <a:lvl3pPr>
              <a:defRPr sz="1400"/>
            </a:lvl3pPr>
          </a:lstStyle>
          <a:p>
            <a:pPr lvl="0"/>
            <a:r>
              <a:rPr lang="de-DE" noProof="0"/>
              <a:t>Inhalt durch Klicken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</p:txBody>
      </p:sp>
      <p:sp>
        <p:nvSpPr>
          <p:cNvPr id="10" name="Titel 1"/>
          <p:cNvSpPr>
            <a:spLocks noGrp="1"/>
          </p:cNvSpPr>
          <p:nvPr>
            <p:ph type="title" hasCustomPrompt="1"/>
          </p:nvPr>
        </p:nvSpPr>
        <p:spPr>
          <a:xfrm>
            <a:off x="317501" y="282065"/>
            <a:ext cx="7891317" cy="4103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3200"/>
              </a:lnSpc>
              <a:defRPr lang="de-DE" sz="2500" noProof="0" dirty="0"/>
            </a:lvl1pPr>
          </a:lstStyle>
          <a:p>
            <a:pPr lvl="0"/>
            <a:r>
              <a:rPr lang="de-DE" noProof="0"/>
              <a:t>Titel durch Klicken bearbeiten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>
          <a:xfrm>
            <a:off x="6774934" y="4854985"/>
            <a:ext cx="2052074" cy="273844"/>
          </a:xfrm>
          <a:prstGeom prst="rect">
            <a:avLst/>
          </a:prstGeom>
        </p:spPr>
        <p:txBody>
          <a:bodyPr lIns="0" rIns="0"/>
          <a:lstStyle/>
          <a:p>
            <a:fld id="{CE58CB1E-F828-4F11-99E0-327109AF9DA4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pl-PL"/>
              <a:t>Pecha Kucha by Group 4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283034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 advTm="20000"/>
    </mc:Choice>
    <mc:Fallback xmlns="">
      <p:transition spd="slow" advClick="0" advTm="20000"/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Zwei Inhalte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19090" y="1600200"/>
            <a:ext cx="8508999" cy="4957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14000"/>
              </a:lnSpc>
              <a:defRPr lang="de-DE" sz="1400" noProof="0" dirty="0" smtClean="0"/>
            </a:lvl1pPr>
          </a:lstStyle>
          <a:p>
            <a:pPr lvl="0"/>
            <a:r>
              <a:rPr lang="de-DE" noProof="0"/>
              <a:t>Inhalt durch Klicken bearbeiten</a:t>
            </a:r>
          </a:p>
        </p:txBody>
      </p:sp>
      <p:sp>
        <p:nvSpPr>
          <p:cNvPr id="13" name="Titel 1"/>
          <p:cNvSpPr>
            <a:spLocks noGrp="1"/>
          </p:cNvSpPr>
          <p:nvPr>
            <p:ph type="title" hasCustomPrompt="1"/>
          </p:nvPr>
        </p:nvSpPr>
        <p:spPr>
          <a:xfrm>
            <a:off x="319090" y="972000"/>
            <a:ext cx="8508999" cy="4103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3200"/>
              </a:lnSpc>
              <a:defRPr lang="de-DE" sz="2500" noProof="0" dirty="0"/>
            </a:lvl1pPr>
          </a:lstStyle>
          <a:p>
            <a:pPr lvl="0"/>
            <a:r>
              <a:rPr lang="de-DE" noProof="0"/>
              <a:t>Titel durch Klicken bearbeiten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5"/>
          </p:nvPr>
        </p:nvSpPr>
        <p:spPr>
          <a:xfrm>
            <a:off x="6774934" y="4854985"/>
            <a:ext cx="2052074" cy="273844"/>
          </a:xfrm>
          <a:prstGeom prst="rect">
            <a:avLst/>
          </a:prstGeom>
        </p:spPr>
        <p:txBody>
          <a:bodyPr/>
          <a:lstStyle/>
          <a:p>
            <a:fld id="{CE58CB1E-F828-4F11-99E0-327109AF9DA4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2" name="Fußzeilenplatzhalter 11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pl-PL" noProof="0"/>
              <a:t>Pecha Kucha by Group 4</a:t>
            </a:r>
            <a:endParaRPr lang="de-DE" noProof="0"/>
          </a:p>
        </p:txBody>
      </p:sp>
      <p:sp>
        <p:nvSpPr>
          <p:cNvPr id="8" name="Inhaltsplatzhalter 9"/>
          <p:cNvSpPr>
            <a:spLocks noGrp="1"/>
          </p:cNvSpPr>
          <p:nvPr>
            <p:ph sz="quarter" idx="18"/>
          </p:nvPr>
        </p:nvSpPr>
        <p:spPr>
          <a:xfrm>
            <a:off x="316992" y="2148752"/>
            <a:ext cx="4188333" cy="2547074"/>
          </a:xfrm>
          <a:prstGeom prst="rect">
            <a:avLst/>
          </a:prstGeom>
        </p:spPr>
        <p:txBody>
          <a:bodyPr lIns="0" rIns="0"/>
          <a:lstStyle>
            <a:lvl1pPr>
              <a:defRPr lang="de-DE" sz="14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sz="1400"/>
            </a:lvl2pPr>
            <a:lvl3pPr>
              <a:defRPr sz="1400" baseline="0"/>
            </a:lvl3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11" name="Bildplatzhalter 2"/>
          <p:cNvSpPr>
            <a:spLocks noGrp="1"/>
          </p:cNvSpPr>
          <p:nvPr>
            <p:ph type="pic" sz="quarter" idx="14" hasCustomPrompt="1"/>
          </p:nvPr>
        </p:nvSpPr>
        <p:spPr>
          <a:xfrm>
            <a:off x="4648200" y="2148840"/>
            <a:ext cx="4180392" cy="2546911"/>
          </a:xfrm>
          <a:prstGeom prst="rect">
            <a:avLst/>
          </a:prstGeom>
        </p:spPr>
        <p:txBody>
          <a:bodyPr/>
          <a:lstStyle>
            <a:lvl1pPr>
              <a:lnSpc>
                <a:spcPct val="114000"/>
              </a:lnSpc>
              <a:defRPr sz="1400"/>
            </a:lvl1pPr>
          </a:lstStyle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19575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 advTm="20000"/>
    </mc:Choice>
    <mc:Fallback xmlns="">
      <p:transition spd="slow" advClick="0" advTm="20000"/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>
          <a:xfrm>
            <a:off x="7258051" y="4803777"/>
            <a:ext cx="1111538" cy="11541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7" name="Copyright"/>
          <p:cNvSpPr txBox="1"/>
          <p:nvPr userDrawn="1"/>
        </p:nvSpPr>
        <p:spPr>
          <a:xfrm rot="16200000">
            <a:off x="7115176" y="2941873"/>
            <a:ext cx="3850481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5085799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 advTm="20000"/>
    </mc:Choice>
    <mc:Fallback xmlns="">
      <p:transition spd="slow" advClick="0" advTm="20000"/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D. Four column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6771935" y="0"/>
            <a:ext cx="312713" cy="51435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white">
          <a:xfrm>
            <a:off x="0" y="0"/>
            <a:ext cx="6775704" cy="51435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9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7258051" y="4803777"/>
            <a:ext cx="1111538" cy="115416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2" name="Copyright"/>
          <p:cNvSpPr txBox="1"/>
          <p:nvPr userDrawn="1"/>
        </p:nvSpPr>
        <p:spPr>
          <a:xfrm rot="16200000">
            <a:off x="7115176" y="2941873"/>
            <a:ext cx="3850481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8375904" y="4803777"/>
            <a:ext cx="28575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lang="en-US" sz="75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72500" y="467101"/>
            <a:ext cx="6076188" cy="249299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4045016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 advTm="20000"/>
    </mc:Choice>
    <mc:Fallback xmlns="">
      <p:transition spd="slow" advClick="0" advTm="20000"/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317500" y="772597"/>
            <a:ext cx="8508999" cy="4042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14000"/>
              </a:lnSpc>
              <a:defRPr lang="de-DE" sz="1400" noProof="0" dirty="0" smtClean="0"/>
            </a:lvl1pPr>
            <a:lvl2pPr>
              <a:lnSpc>
                <a:spcPct val="114000"/>
              </a:lnSpc>
              <a:defRPr lang="de-DE" sz="1400" noProof="0" dirty="0" smtClean="0"/>
            </a:lvl2pPr>
            <a:lvl3pPr>
              <a:defRPr sz="1400"/>
            </a:lvl3pPr>
          </a:lstStyle>
          <a:p>
            <a:pPr lvl="0"/>
            <a:r>
              <a:rPr lang="de-DE" noProof="0"/>
              <a:t>Inhalt durch Klicken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</p:txBody>
      </p:sp>
      <p:sp>
        <p:nvSpPr>
          <p:cNvPr id="10" name="Titel 1"/>
          <p:cNvSpPr>
            <a:spLocks noGrp="1"/>
          </p:cNvSpPr>
          <p:nvPr>
            <p:ph type="title" hasCustomPrompt="1"/>
          </p:nvPr>
        </p:nvSpPr>
        <p:spPr>
          <a:xfrm>
            <a:off x="317501" y="282065"/>
            <a:ext cx="7891317" cy="4103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3200"/>
              </a:lnSpc>
              <a:defRPr lang="de-DE" sz="2500" noProof="0" dirty="0"/>
            </a:lvl1pPr>
          </a:lstStyle>
          <a:p>
            <a:pPr lvl="0"/>
            <a:r>
              <a:rPr lang="de-DE" noProof="0"/>
              <a:t>Titel durch Klicken bearbeiten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>
          <a:xfrm>
            <a:off x="6774934" y="4854985"/>
            <a:ext cx="2052074" cy="273844"/>
          </a:xfrm>
          <a:prstGeom prst="rect">
            <a:avLst/>
          </a:prstGeom>
        </p:spPr>
        <p:txBody>
          <a:bodyPr lIns="0" rIns="0"/>
          <a:lstStyle/>
          <a:p>
            <a:fld id="{CE58CB1E-F828-4F11-99E0-327109AF9DA4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pl-PL"/>
              <a:t>Pecha Kucha by Group 4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283034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 advTm="20000"/>
    </mc:Choice>
    <mc:Fallback xmlns="">
      <p:transition spd="slow" advClick="0" advTm="20000"/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Zwei Inhalte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19090" y="1600200"/>
            <a:ext cx="8508999" cy="4957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14000"/>
              </a:lnSpc>
              <a:defRPr lang="de-DE" sz="1400" noProof="0" dirty="0" smtClean="0"/>
            </a:lvl1pPr>
          </a:lstStyle>
          <a:p>
            <a:pPr lvl="0"/>
            <a:r>
              <a:rPr lang="de-DE" noProof="0"/>
              <a:t>Inhalt durch Klicken bearbeiten</a:t>
            </a:r>
          </a:p>
        </p:txBody>
      </p:sp>
      <p:sp>
        <p:nvSpPr>
          <p:cNvPr id="13" name="Titel 1"/>
          <p:cNvSpPr>
            <a:spLocks noGrp="1"/>
          </p:cNvSpPr>
          <p:nvPr>
            <p:ph type="title" hasCustomPrompt="1"/>
          </p:nvPr>
        </p:nvSpPr>
        <p:spPr>
          <a:xfrm>
            <a:off x="319090" y="972000"/>
            <a:ext cx="8508999" cy="4103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3200"/>
              </a:lnSpc>
              <a:defRPr lang="de-DE" sz="2500" noProof="0" dirty="0"/>
            </a:lvl1pPr>
          </a:lstStyle>
          <a:p>
            <a:pPr lvl="0"/>
            <a:r>
              <a:rPr lang="de-DE" noProof="0"/>
              <a:t>Titel durch Klicken bearbeiten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5"/>
          </p:nvPr>
        </p:nvSpPr>
        <p:spPr>
          <a:xfrm>
            <a:off x="6774934" y="4854985"/>
            <a:ext cx="2052074" cy="273844"/>
          </a:xfrm>
          <a:prstGeom prst="rect">
            <a:avLst/>
          </a:prstGeom>
        </p:spPr>
        <p:txBody>
          <a:bodyPr/>
          <a:lstStyle/>
          <a:p>
            <a:fld id="{CE58CB1E-F828-4F11-99E0-327109AF9DA4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2" name="Fußzeilenplatzhalter 11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pl-PL" noProof="0"/>
              <a:t>Pecha Kucha by Group 4</a:t>
            </a:r>
            <a:endParaRPr lang="de-DE" noProof="0"/>
          </a:p>
        </p:txBody>
      </p:sp>
      <p:sp>
        <p:nvSpPr>
          <p:cNvPr id="8" name="Inhaltsplatzhalter 9"/>
          <p:cNvSpPr>
            <a:spLocks noGrp="1"/>
          </p:cNvSpPr>
          <p:nvPr>
            <p:ph sz="quarter" idx="18"/>
          </p:nvPr>
        </p:nvSpPr>
        <p:spPr>
          <a:xfrm>
            <a:off x="316992" y="2148752"/>
            <a:ext cx="4188333" cy="2547074"/>
          </a:xfrm>
          <a:prstGeom prst="rect">
            <a:avLst/>
          </a:prstGeom>
        </p:spPr>
        <p:txBody>
          <a:bodyPr lIns="0" rIns="0"/>
          <a:lstStyle>
            <a:lvl1pPr>
              <a:defRPr lang="de-DE" sz="14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sz="1400"/>
            </a:lvl2pPr>
            <a:lvl3pPr>
              <a:defRPr sz="1400" baseline="0"/>
            </a:lvl3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11" name="Bildplatzhalter 2"/>
          <p:cNvSpPr>
            <a:spLocks noGrp="1"/>
          </p:cNvSpPr>
          <p:nvPr>
            <p:ph type="pic" sz="quarter" idx="14" hasCustomPrompt="1"/>
          </p:nvPr>
        </p:nvSpPr>
        <p:spPr>
          <a:xfrm>
            <a:off x="4648200" y="2148840"/>
            <a:ext cx="4180392" cy="2546911"/>
          </a:xfrm>
          <a:prstGeom prst="rect">
            <a:avLst/>
          </a:prstGeom>
        </p:spPr>
        <p:txBody>
          <a:bodyPr/>
          <a:lstStyle>
            <a:lvl1pPr>
              <a:lnSpc>
                <a:spcPct val="114000"/>
              </a:lnSpc>
              <a:defRPr sz="1400"/>
            </a:lvl1pPr>
          </a:lstStyle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19575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 advTm="20000"/>
    </mc:Choice>
    <mc:Fallback xmlns="">
      <p:transition spd="slow" advClick="0" advTm="20000"/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>
          <a:xfrm>
            <a:off x="7258051" y="4803777"/>
            <a:ext cx="1111538" cy="11541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7" name="Copyright"/>
          <p:cNvSpPr txBox="1"/>
          <p:nvPr userDrawn="1"/>
        </p:nvSpPr>
        <p:spPr>
          <a:xfrm rot="16200000">
            <a:off x="7115176" y="2941873"/>
            <a:ext cx="3850481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5085799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 advTm="20000"/>
    </mc:Choice>
    <mc:Fallback xmlns="">
      <p:transition spd="slow" advClick="0" advTm="20000"/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D. Arrow half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entagon 8"/>
          <p:cNvSpPr/>
          <p:nvPr/>
        </p:nvSpPr>
        <p:spPr bwMode="white">
          <a:xfrm>
            <a:off x="0" y="0"/>
            <a:ext cx="4772660" cy="5143500"/>
          </a:xfrm>
          <a:prstGeom prst="homePlate">
            <a:avLst>
              <a:gd name="adj" fmla="val 1293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750"/>
              </a:spcAft>
            </a:pPr>
            <a:endParaRPr lang="en-US" sz="9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472500" y="467101"/>
            <a:ext cx="3560867" cy="249299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7258051" y="4803777"/>
            <a:ext cx="1111538" cy="115416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8" name="Copyright"/>
          <p:cNvSpPr txBox="1"/>
          <p:nvPr userDrawn="1"/>
        </p:nvSpPr>
        <p:spPr>
          <a:xfrm rot="16200000">
            <a:off x="7115176" y="2941873"/>
            <a:ext cx="3850481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16" name="TextBox 15"/>
          <p:cNvSpPr txBox="1"/>
          <p:nvPr userDrawn="1"/>
        </p:nvSpPr>
        <p:spPr>
          <a:xfrm>
            <a:off x="8375904" y="4803777"/>
            <a:ext cx="28575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lang="en-US" sz="75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0" name="Picture 9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48354" y="2692204"/>
            <a:ext cx="1023938" cy="2537222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7171713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 advTm="20000"/>
    </mc:Choice>
    <mc:Fallback xmlns="">
      <p:transition spd="slow" advClick="0" advTm="20000"/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el 1"/>
          <p:cNvSpPr>
            <a:spLocks noGrp="1"/>
          </p:cNvSpPr>
          <p:nvPr>
            <p:ph type="title" hasCustomPrompt="1"/>
          </p:nvPr>
        </p:nvSpPr>
        <p:spPr>
          <a:xfrm>
            <a:off x="319090" y="972000"/>
            <a:ext cx="8508999" cy="376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ts val="3200"/>
              </a:lnSpc>
              <a:defRPr lang="de-DE" sz="2500" noProof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noProof="0"/>
              <a:t>Titel der Präsentation durch Klicken bearbeiten</a:t>
            </a:r>
          </a:p>
        </p:txBody>
      </p:sp>
      <p:sp>
        <p:nvSpPr>
          <p:cNvPr id="16" name="Inhaltsplatzhalter 2"/>
          <p:cNvSpPr>
            <a:spLocks noGrp="1"/>
          </p:cNvSpPr>
          <p:nvPr>
            <p:ph idx="10" hasCustomPrompt="1"/>
          </p:nvPr>
        </p:nvSpPr>
        <p:spPr>
          <a:xfrm>
            <a:off x="319088" y="1484040"/>
            <a:ext cx="8508999" cy="9555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50000"/>
              </a:lnSpc>
              <a:defRPr lang="de-DE" sz="1600" baseline="0" noProof="0" dirty="0" smtClean="0">
                <a:solidFill>
                  <a:schemeClr val="bg1"/>
                </a:solidFill>
              </a:defRPr>
            </a:lvl1pPr>
            <a:lvl2pPr>
              <a:defRPr lang="de-DE" noProof="0" dirty="0" smtClean="0"/>
            </a:lvl2pPr>
          </a:lstStyle>
          <a:p>
            <a:pPr lvl="0"/>
            <a:r>
              <a:rPr lang="de-DE" noProof="0"/>
              <a:t>Referent</a:t>
            </a:r>
            <a:br>
              <a:rPr lang="de-DE" noProof="0"/>
            </a:br>
            <a:r>
              <a:rPr lang="de-DE" noProof="0"/>
              <a:t>Ort, Datum (Schreibweise: 00. Januar 2015)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CE58CB1E-F828-4F11-99E0-327109AF9DA4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pl-PL"/>
              <a:t>Pecha Kucha by Group 4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18550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 advTm="20000"/>
    </mc:Choice>
    <mc:Fallback xmlns="">
      <p:transition spd="slow" advClick="0" advTm="20000"/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el 1"/>
          <p:cNvSpPr>
            <a:spLocks noGrp="1"/>
          </p:cNvSpPr>
          <p:nvPr>
            <p:ph type="title" hasCustomPrompt="1"/>
          </p:nvPr>
        </p:nvSpPr>
        <p:spPr>
          <a:xfrm>
            <a:off x="319090" y="972000"/>
            <a:ext cx="8508999" cy="376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ts val="3200"/>
              </a:lnSpc>
              <a:defRPr lang="de-DE" sz="2500" noProof="0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noProof="0"/>
              <a:t>Titel der Präsentation durch Klicken bearbeiten</a:t>
            </a:r>
          </a:p>
        </p:txBody>
      </p:sp>
      <p:sp>
        <p:nvSpPr>
          <p:cNvPr id="16" name="Inhaltsplatzhalter 2"/>
          <p:cNvSpPr>
            <a:spLocks noGrp="1"/>
          </p:cNvSpPr>
          <p:nvPr>
            <p:ph idx="10" hasCustomPrompt="1"/>
          </p:nvPr>
        </p:nvSpPr>
        <p:spPr>
          <a:xfrm>
            <a:off x="319088" y="1484040"/>
            <a:ext cx="8508999" cy="9555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50000"/>
              </a:lnSpc>
              <a:defRPr lang="de-DE" sz="1400" baseline="0" noProof="0" dirty="0" smtClean="0">
                <a:solidFill>
                  <a:srgbClr val="000000"/>
                </a:solidFill>
              </a:defRPr>
            </a:lvl1pPr>
            <a:lvl2pPr>
              <a:defRPr lang="de-DE" noProof="0" dirty="0" smtClean="0"/>
            </a:lvl2pPr>
          </a:lstStyle>
          <a:p>
            <a:pPr lvl="0"/>
            <a:r>
              <a:rPr lang="de-DE" noProof="0"/>
              <a:t>Referent</a:t>
            </a:r>
            <a:br>
              <a:rPr lang="de-DE" noProof="0"/>
            </a:br>
            <a:r>
              <a:rPr lang="de-DE" noProof="0"/>
              <a:t>Ort, Datum (Schreibweise: 00. Januar 2015)</a:t>
            </a:r>
          </a:p>
        </p:txBody>
      </p:sp>
      <p:sp>
        <p:nvSpPr>
          <p:cNvPr id="14" name="Rechteck 13"/>
          <p:cNvSpPr/>
          <p:nvPr userDrawn="1"/>
        </p:nvSpPr>
        <p:spPr bwMode="auto">
          <a:xfrm>
            <a:off x="8347635" y="4806203"/>
            <a:ext cx="575236" cy="268941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0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pl-PL"/>
              <a:t>Pecha Kucha by Group 4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18550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 advTm="20000"/>
    </mc:Choice>
    <mc:Fallback xmlns="">
      <p:transition spd="slow" advClick="0" advTm="20000"/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nhalt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319090" y="1319928"/>
            <a:ext cx="8508999" cy="3366372"/>
          </a:xfrm>
          <a:prstGeom prst="rect">
            <a:avLst/>
          </a:prstGeom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14000"/>
              </a:lnSpc>
              <a:defRPr lang="de-DE" sz="1400" noProof="0" dirty="0" smtClean="0"/>
            </a:lvl1pPr>
            <a:lvl2pPr>
              <a:lnSpc>
                <a:spcPct val="114000"/>
              </a:lnSpc>
              <a:defRPr lang="de-DE" sz="1400" noProof="0" dirty="0" smtClean="0"/>
            </a:lvl2pPr>
            <a:lvl3pPr>
              <a:defRPr sz="1400" baseline="0"/>
            </a:lvl3pPr>
          </a:lstStyle>
          <a:p>
            <a:pPr lvl="0"/>
            <a:r>
              <a:rPr lang="de-DE" noProof="0"/>
              <a:t>Inhalt durch Klicken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</p:txBody>
      </p:sp>
      <p:sp useBgFill="1">
        <p:nvSpPr>
          <p:cNvPr id="10" name="Titel 1"/>
          <p:cNvSpPr>
            <a:spLocks noGrp="1"/>
          </p:cNvSpPr>
          <p:nvPr>
            <p:ph type="title" hasCustomPrompt="1"/>
          </p:nvPr>
        </p:nvSpPr>
        <p:spPr>
          <a:xfrm>
            <a:off x="319090" y="300364"/>
            <a:ext cx="8508999" cy="410369"/>
          </a:xfrm>
          <a:prstGeom prst="rect">
            <a:avLst/>
          </a:prstGeom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3200"/>
              </a:lnSpc>
              <a:defRPr lang="de-DE" sz="2500" noProof="0" dirty="0"/>
            </a:lvl1pPr>
          </a:lstStyle>
          <a:p>
            <a:pPr lvl="0"/>
            <a:r>
              <a:rPr lang="de-DE" noProof="0"/>
              <a:t>Titel durch Klicken bearbeiten</a:t>
            </a:r>
          </a:p>
        </p:txBody>
      </p:sp>
      <p:sp useBgFill="1"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>
          <a:xfrm>
            <a:off x="6774934" y="4854985"/>
            <a:ext cx="2052074" cy="273844"/>
          </a:xfrm>
          <a:prstGeom prst="rect">
            <a:avLst/>
          </a:prstGeom>
        </p:spPr>
        <p:txBody>
          <a:bodyPr/>
          <a:lstStyle/>
          <a:p>
            <a:fld id="{CE58CB1E-F828-4F11-99E0-327109AF9DA4}" type="slidenum">
              <a:rPr lang="de-DE" smtClean="0"/>
              <a:pPr/>
              <a:t>‹Nr.›</a:t>
            </a:fld>
            <a:endParaRPr lang="de-DE"/>
          </a:p>
        </p:txBody>
      </p:sp>
      <p:sp useBgFill="1">
        <p:nvSpPr>
          <p:cNvPr id="7" name="Fußzeilenplatzhalter 6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pl-PL"/>
              <a:t>Pecha Kucha by Group 4</a:t>
            </a:r>
            <a:endParaRPr lang="en-US"/>
          </a:p>
        </p:txBody>
      </p:sp>
      <p:sp useBgFill="1">
        <p:nvSpPr>
          <p:cNvPr id="6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19090" y="762678"/>
            <a:ext cx="8508999" cy="505305"/>
          </a:xfrm>
          <a:prstGeom prst="rect">
            <a:avLst/>
          </a:prstGeom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14000"/>
              </a:lnSpc>
              <a:defRPr lang="de-DE" sz="1400" noProof="0" dirty="0" smtClean="0"/>
            </a:lvl1pPr>
          </a:lstStyle>
          <a:p>
            <a:pPr lvl="0"/>
            <a:r>
              <a:rPr lang="de-DE" noProof="0"/>
              <a:t>Inhal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40646722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 advTm="20000"/>
    </mc:Choice>
    <mc:Fallback xmlns="">
      <p:transition spd="slow" advClick="0" advTm="20000"/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7" Type="http://schemas.openxmlformats.org/officeDocument/2006/relationships/image" Target="../media/image4.emf"/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3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.bin"/><Relationship Id="rId3" Type="http://schemas.openxmlformats.org/officeDocument/2006/relationships/slideLayout" Target="../slideLayouts/slideLayout10.xml"/><Relationship Id="rId7" Type="http://schemas.openxmlformats.org/officeDocument/2006/relationships/tags" Target="../tags/tag4.xml"/><Relationship Id="rId2" Type="http://schemas.openxmlformats.org/officeDocument/2006/relationships/slideLayout" Target="../slideLayouts/slideLayout9.xml"/><Relationship Id="rId1" Type="http://schemas.openxmlformats.org/officeDocument/2006/relationships/slideLayout" Target="../slideLayouts/slideLayout8.xml"/><Relationship Id="rId6" Type="http://schemas.openxmlformats.org/officeDocument/2006/relationships/theme" Target="../theme/theme3.xml"/><Relationship Id="rId5" Type="http://schemas.openxmlformats.org/officeDocument/2006/relationships/slideLayout" Target="../slideLayouts/slideLayout12.xml"/><Relationship Id="rId4" Type="http://schemas.openxmlformats.org/officeDocument/2006/relationships/slideLayout" Target="../slideLayouts/slideLayout11.xml"/><Relationship Id="rId9" Type="http://schemas.openxmlformats.org/officeDocument/2006/relationships/image" Target="../media/image1.emf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oleObject" Target="../embeddings/oleObject4.bin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tags" Target="../tags/tag5.xml"/><Relationship Id="rId5" Type="http://schemas.openxmlformats.org/officeDocument/2006/relationships/slideLayout" Target="../slideLayouts/slideLayout17.xml"/><Relationship Id="rId10" Type="http://schemas.openxmlformats.org/officeDocument/2006/relationships/theme" Target="../theme/theme4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/Relationships>
</file>

<file path=ppt/slideMasters/_rels/slideMaster5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theme" Target="../theme/theme5.xml"/><Relationship Id="rId1" Type="http://schemas.openxmlformats.org/officeDocument/2006/relationships/slideLayout" Target="../slideLayouts/slideLayout22.xml"/><Relationship Id="rId6" Type="http://schemas.openxmlformats.org/officeDocument/2006/relationships/image" Target="../media/image4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Masters/_rels/slideMaster6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heme" Target="../theme/theme6.xml"/><Relationship Id="rId1" Type="http://schemas.openxmlformats.org/officeDocument/2006/relationships/slideLayout" Target="../slideLayouts/slideLayout23.xml"/><Relationship Id="rId6" Type="http://schemas.openxmlformats.org/officeDocument/2006/relationships/image" Target="../media/image4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3" Type="http://schemas.openxmlformats.org/officeDocument/2006/relationships/slideLayout" Target="../slideLayouts/slideLayout26.xml"/><Relationship Id="rId7" Type="http://schemas.openxmlformats.org/officeDocument/2006/relationships/theme" Target="../theme/theme7.xml"/><Relationship Id="rId2" Type="http://schemas.openxmlformats.org/officeDocument/2006/relationships/slideLayout" Target="../slideLayouts/slideLayout25.xml"/><Relationship Id="rId1" Type="http://schemas.openxmlformats.org/officeDocument/2006/relationships/slideLayout" Target="../slideLayouts/slideLayout24.xml"/><Relationship Id="rId6" Type="http://schemas.openxmlformats.org/officeDocument/2006/relationships/slideLayout" Target="../slideLayouts/slideLayout29.xml"/><Relationship Id="rId5" Type="http://schemas.openxmlformats.org/officeDocument/2006/relationships/slideLayout" Target="../slideLayouts/slideLayout28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27.xml"/><Relationship Id="rId9" Type="http://schemas.openxmlformats.org/officeDocument/2006/relationships/oleObject" Target="../embeddings/oleObject7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688778D7-668D-4A1E-8551-33378BF853E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28684978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688778D7-668D-4A1E-8551-33378BF853E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Fußzeilenplatzhalter 3"/>
          <p:cNvSpPr>
            <a:spLocks noGrp="1"/>
          </p:cNvSpPr>
          <p:nvPr>
            <p:ph type="ftr" sz="quarter" idx="3"/>
          </p:nvPr>
        </p:nvSpPr>
        <p:spPr>
          <a:xfrm>
            <a:off x="311162" y="4854985"/>
            <a:ext cx="7829538" cy="28851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1100">
                <a:solidFill>
                  <a:schemeClr val="tx1"/>
                </a:solidFill>
              </a:defRPr>
            </a:lvl1pPr>
          </a:lstStyle>
          <a:p>
            <a:r>
              <a:rPr lang="pl-PL" dirty="0"/>
              <a:t>Pecha Kucha by </a:t>
            </a:r>
            <a:r>
              <a:rPr lang="pl-PL" dirty="0" err="1"/>
              <a:t>Group</a:t>
            </a:r>
            <a:r>
              <a:rPr lang="pl-PL"/>
              <a:t> 4</a:t>
            </a:r>
            <a:endParaRPr lang="en-US"/>
          </a:p>
        </p:txBody>
      </p:sp>
      <p:sp>
        <p:nvSpPr>
          <p:cNvPr id="11" name="Foliennummernplatzhalter 4"/>
          <p:cNvSpPr>
            <a:spLocks noGrp="1"/>
          </p:cNvSpPr>
          <p:nvPr>
            <p:ph type="sldNum" sz="quarter" idx="4"/>
          </p:nvPr>
        </p:nvSpPr>
        <p:spPr>
          <a:xfrm>
            <a:off x="6774934" y="4854985"/>
            <a:ext cx="2052000" cy="27384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1100">
                <a:solidFill>
                  <a:schemeClr val="tx1"/>
                </a:solidFill>
              </a:defRPr>
            </a:lvl1pPr>
          </a:lstStyle>
          <a:p>
            <a:fld id="{CE58CB1E-F828-4F11-99E0-327109AF9DA4}" type="slidenum">
              <a:rPr lang="de-DE" smtClean="0"/>
              <a:pPr/>
              <a:t>‹Nr.›</a:t>
            </a:fld>
            <a:endParaRPr lang="de-DE"/>
          </a:p>
        </p:txBody>
      </p:sp>
      <p:grpSp>
        <p:nvGrpSpPr>
          <p:cNvPr id="2" name="Group 4">
            <a:extLst>
              <a:ext uri="{FF2B5EF4-FFF2-40B4-BE49-F238E27FC236}">
                <a16:creationId xmlns:a16="http://schemas.microsoft.com/office/drawing/2014/main" id="{0DA675F1-802B-41C3-8E3B-0BC107DD15DC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7962170" y="323850"/>
            <a:ext cx="604837" cy="319088"/>
            <a:chOff x="5177" y="204"/>
            <a:chExt cx="381" cy="201"/>
          </a:xfrm>
        </p:grpSpPr>
        <p:sp>
          <p:nvSpPr>
            <p:cNvPr id="3" name="AutoShape 3">
              <a:extLst>
                <a:ext uri="{FF2B5EF4-FFF2-40B4-BE49-F238E27FC236}">
                  <a16:creationId xmlns:a16="http://schemas.microsoft.com/office/drawing/2014/main" id="{1278AFA4-DDC6-42D4-A3F1-255C64185FE0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auto">
            <a:xfrm>
              <a:off x="5177" y="204"/>
              <a:ext cx="381" cy="20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" name="Freeform 5">
              <a:extLst>
                <a:ext uri="{FF2B5EF4-FFF2-40B4-BE49-F238E27FC236}">
                  <a16:creationId xmlns:a16="http://schemas.microsoft.com/office/drawing/2014/main" id="{BC130FD9-BFBD-4E3E-B211-7A63652DB2C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177" y="204"/>
              <a:ext cx="381" cy="201"/>
            </a:xfrm>
            <a:custGeom>
              <a:avLst/>
              <a:gdLst>
                <a:gd name="T0" fmla="*/ 0 w 4953"/>
                <a:gd name="T1" fmla="*/ 0 h 2613"/>
                <a:gd name="T2" fmla="*/ 1940 w 4953"/>
                <a:gd name="T3" fmla="*/ 0 h 2613"/>
                <a:gd name="T4" fmla="*/ 1940 w 4953"/>
                <a:gd name="T5" fmla="*/ 2144 h 2613"/>
                <a:gd name="T6" fmla="*/ 2474 w 4953"/>
                <a:gd name="T7" fmla="*/ 2144 h 2613"/>
                <a:gd name="T8" fmla="*/ 2474 w 4953"/>
                <a:gd name="T9" fmla="*/ 0 h 2613"/>
                <a:gd name="T10" fmla="*/ 4953 w 4953"/>
                <a:gd name="T11" fmla="*/ 0 h 2613"/>
                <a:gd name="T12" fmla="*/ 4953 w 4953"/>
                <a:gd name="T13" fmla="*/ 2613 h 2613"/>
                <a:gd name="T14" fmla="*/ 4485 w 4953"/>
                <a:gd name="T15" fmla="*/ 2613 h 2613"/>
                <a:gd name="T16" fmla="*/ 4485 w 4953"/>
                <a:gd name="T17" fmla="*/ 469 h 2613"/>
                <a:gd name="T18" fmla="*/ 3947 w 4953"/>
                <a:gd name="T19" fmla="*/ 469 h 2613"/>
                <a:gd name="T20" fmla="*/ 3947 w 4953"/>
                <a:gd name="T21" fmla="*/ 2613 h 2613"/>
                <a:gd name="T22" fmla="*/ 3479 w 4953"/>
                <a:gd name="T23" fmla="*/ 2613 h 2613"/>
                <a:gd name="T24" fmla="*/ 3479 w 4953"/>
                <a:gd name="T25" fmla="*/ 469 h 2613"/>
                <a:gd name="T26" fmla="*/ 2942 w 4953"/>
                <a:gd name="T27" fmla="*/ 469 h 2613"/>
                <a:gd name="T28" fmla="*/ 2942 w 4953"/>
                <a:gd name="T29" fmla="*/ 2613 h 2613"/>
                <a:gd name="T30" fmla="*/ 1471 w 4953"/>
                <a:gd name="T31" fmla="*/ 2613 h 2613"/>
                <a:gd name="T32" fmla="*/ 1471 w 4953"/>
                <a:gd name="T33" fmla="*/ 469 h 2613"/>
                <a:gd name="T34" fmla="*/ 936 w 4953"/>
                <a:gd name="T35" fmla="*/ 469 h 2613"/>
                <a:gd name="T36" fmla="*/ 936 w 4953"/>
                <a:gd name="T37" fmla="*/ 2613 h 2613"/>
                <a:gd name="T38" fmla="*/ 468 w 4953"/>
                <a:gd name="T39" fmla="*/ 2613 h 2613"/>
                <a:gd name="T40" fmla="*/ 468 w 4953"/>
                <a:gd name="T41" fmla="*/ 469 h 2613"/>
                <a:gd name="T42" fmla="*/ 0 w 4953"/>
                <a:gd name="T43" fmla="*/ 469 h 2613"/>
                <a:gd name="T44" fmla="*/ 0 w 4953"/>
                <a:gd name="T45" fmla="*/ 0 h 26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4953" h="2613">
                  <a:moveTo>
                    <a:pt x="0" y="0"/>
                  </a:moveTo>
                  <a:lnTo>
                    <a:pt x="1940" y="0"/>
                  </a:lnTo>
                  <a:lnTo>
                    <a:pt x="1940" y="2144"/>
                  </a:lnTo>
                  <a:lnTo>
                    <a:pt x="2474" y="2144"/>
                  </a:lnTo>
                  <a:lnTo>
                    <a:pt x="2474" y="0"/>
                  </a:lnTo>
                  <a:lnTo>
                    <a:pt x="4953" y="0"/>
                  </a:lnTo>
                  <a:lnTo>
                    <a:pt x="4953" y="2613"/>
                  </a:lnTo>
                  <a:lnTo>
                    <a:pt x="4485" y="2613"/>
                  </a:lnTo>
                  <a:lnTo>
                    <a:pt x="4485" y="469"/>
                  </a:lnTo>
                  <a:lnTo>
                    <a:pt x="3947" y="469"/>
                  </a:lnTo>
                  <a:lnTo>
                    <a:pt x="3947" y="2613"/>
                  </a:lnTo>
                  <a:lnTo>
                    <a:pt x="3479" y="2613"/>
                  </a:lnTo>
                  <a:lnTo>
                    <a:pt x="3479" y="469"/>
                  </a:lnTo>
                  <a:lnTo>
                    <a:pt x="2942" y="469"/>
                  </a:lnTo>
                  <a:lnTo>
                    <a:pt x="2942" y="2613"/>
                  </a:lnTo>
                  <a:lnTo>
                    <a:pt x="1471" y="2613"/>
                  </a:lnTo>
                  <a:lnTo>
                    <a:pt x="1471" y="469"/>
                  </a:lnTo>
                  <a:lnTo>
                    <a:pt x="936" y="469"/>
                  </a:lnTo>
                  <a:lnTo>
                    <a:pt x="936" y="2613"/>
                  </a:lnTo>
                  <a:lnTo>
                    <a:pt x="468" y="2613"/>
                  </a:lnTo>
                  <a:lnTo>
                    <a:pt x="468" y="469"/>
                  </a:lnTo>
                  <a:lnTo>
                    <a:pt x="0" y="46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65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4" r:id="rId1"/>
    <p:sldLayoutId id="2147483717" r:id="rId2"/>
    <p:sldLayoutId id="2147483718" r:id="rId3"/>
    <p:sldLayoutId id="2147483719" r:id="rId4"/>
    <p:sldLayoutId id="2147483720" r:id="rId5"/>
    <p:sldLayoutId id="2147483731" r:id="rId6"/>
  </p:sldLayoutIdLst>
  <mc:AlternateContent xmlns:mc="http://schemas.openxmlformats.org/markup-compatibility/2006" xmlns:p14="http://schemas.microsoft.com/office/powerpoint/2010/main">
    <mc:Choice Requires="p14">
      <p:transition spd="slow" p14:dur="2000" advClick="0" advTm="20000"/>
    </mc:Choice>
    <mc:Fallback xmlns="">
      <p:transition spd="slow" advClick="0" advTm="20000"/>
    </mc:Fallback>
  </mc:AlternateContent>
  <p:hf hdr="0" dt="0"/>
  <p:txStyles>
    <p:titleStyle>
      <a:lvl1pPr algn="l" rtl="0" eaLnBrk="1" fontAlgn="base" hangingPunct="1">
        <a:lnSpc>
          <a:spcPct val="125000"/>
        </a:lnSpc>
        <a:spcBef>
          <a:spcPct val="0"/>
        </a:spcBef>
        <a:spcAft>
          <a:spcPct val="0"/>
        </a:spcAft>
        <a:defRPr sz="2200" b="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algn="l" rtl="0" eaLnBrk="1" fontAlgn="base" hangingPunct="1">
        <a:lnSpc>
          <a:spcPct val="100000"/>
        </a:lnSpc>
        <a:spcBef>
          <a:spcPct val="0"/>
        </a:spcBef>
        <a:spcAft>
          <a:spcPct val="0"/>
        </a:spcAft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176213" indent="-176213" algn="l" rtl="0" eaLnBrk="1" fontAlgn="base" hangingPunct="1">
        <a:lnSpc>
          <a:spcPct val="100000"/>
        </a:lnSpc>
        <a:spcBef>
          <a:spcPct val="0"/>
        </a:spcBef>
        <a:spcAft>
          <a:spcPct val="0"/>
        </a:spcAft>
        <a:buFont typeface="Arial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60363" indent="-184150" algn="l" rtl="0" eaLnBrk="1" fontAlgn="base" hangingPunct="1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8163" indent="-177800" algn="l" rtl="0" eaLnBrk="1" fontAlgn="base" hangingPunct="1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6213" algn="l" rtl="0" eaLnBrk="1" fontAlgn="base" hangingPunct="1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62ABAD96-6BED-4CBD-ACB8-6A15D960EB9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6266842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62ABAD96-6BED-4CBD-ACB8-6A15D960EB9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Textfeld 22"/>
          <p:cNvSpPr txBox="1"/>
          <p:nvPr/>
        </p:nvSpPr>
        <p:spPr>
          <a:xfrm>
            <a:off x="7713330" y="4922462"/>
            <a:ext cx="1115376" cy="210507"/>
          </a:xfrm>
          <a:prstGeom prst="rect">
            <a:avLst/>
          </a:prstGeom>
        </p:spPr>
        <p:txBody>
          <a:bodyPr wrap="square" lIns="0" tIns="0" rIns="0" bIns="0" rtlCol="0" anchor="b" anchorCtr="0">
            <a:spAutoFit/>
          </a:bodyPr>
          <a:lstStyle/>
          <a:p>
            <a:pPr algn="r">
              <a:lnSpc>
                <a:spcPct val="114000"/>
              </a:lnSpc>
            </a:pPr>
            <a:fld id="{C51078C5-4710-4254-8001-F1C0900803FD}" type="slidenum">
              <a:rPr lang="de-DE" sz="1200" smtClean="0">
                <a:latin typeface="+mn-lt"/>
                <a:cs typeface="Arial" pitchFamily="34" charset="0"/>
              </a:rPr>
              <a:pPr algn="r">
                <a:lnSpc>
                  <a:spcPct val="114000"/>
                </a:lnSpc>
              </a:pPr>
              <a:t>‹Nr.›</a:t>
            </a:fld>
            <a:endParaRPr lang="de-DE" sz="1200">
              <a:latin typeface="+mn-lt"/>
              <a:cs typeface="Arial" pitchFamily="34" charset="0"/>
            </a:endParaRPr>
          </a:p>
        </p:txBody>
      </p:sp>
      <p:pic>
        <p:nvPicPr>
          <p:cNvPr id="5" name="Bild 4" descr="Fahnen_HG.jpg"/>
          <p:cNvPicPr>
            <a:picLocks noChangeAspect="1"/>
          </p:cNvPicPr>
          <p:nvPr/>
        </p:nvPicPr>
        <p:blipFill>
          <a:blip r:embed="rId6" cstate="screen"/>
          <a:srcRect l="398" t="14167" b="10833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pic>
        <p:nvPicPr>
          <p:cNvPr id="7" name="Bild 6" descr="20150416 tum logo blau png final.png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218800" y="324000"/>
            <a:ext cx="599513" cy="320288"/>
          </a:xfrm>
          <a:prstGeom prst="rect">
            <a:avLst/>
          </a:prstGeom>
        </p:spPr>
      </p:pic>
      <p:sp>
        <p:nvSpPr>
          <p:cNvPr id="8" name="Foliennummernplatzhalter 4"/>
          <p:cNvSpPr>
            <a:spLocks noGrp="1"/>
          </p:cNvSpPr>
          <p:nvPr>
            <p:ph type="sldNum" sz="quarter" idx="4"/>
          </p:nvPr>
        </p:nvSpPr>
        <p:spPr>
          <a:xfrm>
            <a:off x="6774934" y="4854985"/>
            <a:ext cx="2052000" cy="27384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1100">
                <a:solidFill>
                  <a:schemeClr val="bg1"/>
                </a:solidFill>
              </a:defRPr>
            </a:lvl1pPr>
          </a:lstStyle>
          <a:p>
            <a:fld id="{CE58CB1E-F828-4F11-99E0-327109AF9DA4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0" name="Fußzeilenplatzhalter 3"/>
          <p:cNvSpPr>
            <a:spLocks noGrp="1"/>
          </p:cNvSpPr>
          <p:nvPr>
            <p:ph type="ftr" sz="quarter" idx="3"/>
          </p:nvPr>
        </p:nvSpPr>
        <p:spPr>
          <a:xfrm>
            <a:off x="311162" y="4854985"/>
            <a:ext cx="6464280" cy="27384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1100">
                <a:solidFill>
                  <a:schemeClr val="bg1"/>
                </a:solidFill>
              </a:defRPr>
            </a:lvl1pPr>
          </a:lstStyle>
          <a:p>
            <a:r>
              <a:rPr lang="pl-PL"/>
              <a:t>Pecha Kucha by Group 4</a:t>
            </a:r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9" r:id="rId1"/>
  </p:sldLayoutIdLst>
  <mc:AlternateContent xmlns:mc="http://schemas.openxmlformats.org/markup-compatibility/2006" xmlns:p14="http://schemas.microsoft.com/office/powerpoint/2010/main">
    <mc:Choice Requires="p14">
      <p:transition spd="slow" p14:dur="2000" advClick="0" advTm="20000"/>
    </mc:Choice>
    <mc:Fallback xmlns="">
      <p:transition spd="slow" advClick="0" advTm="20000"/>
    </mc:Fallback>
  </mc:AlternateContent>
  <p:hf hdr="0" dt="0"/>
  <p:txStyles>
    <p:titleStyle>
      <a:lvl1pPr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defRPr sz="2200" b="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algn="l" rtl="0" eaLnBrk="0" fontAlgn="base" hangingPunct="0">
        <a:lnSpc>
          <a:spcPct val="100000"/>
        </a:lnSpc>
        <a:spcBef>
          <a:spcPct val="0"/>
        </a:spcBef>
        <a:spcAft>
          <a:spcPct val="0"/>
        </a:spcAft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176213" indent="-176213" algn="l" rtl="0" eaLnBrk="0" fontAlgn="base" hangingPunct="0">
        <a:lnSpc>
          <a:spcPct val="100000"/>
        </a:lnSpc>
        <a:spcBef>
          <a:spcPct val="0"/>
        </a:spcBef>
        <a:spcAft>
          <a:spcPct val="0"/>
        </a:spcAft>
        <a:buFont typeface="Arial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60363" indent="-184150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8163" indent="-177800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6213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FC7102FA-13DD-410F-ACFD-3E0A64EE702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4224661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FC7102FA-13DD-410F-ACFD-3E0A64EE702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Foliennummernplatzhalter 4"/>
          <p:cNvSpPr>
            <a:spLocks noGrp="1"/>
          </p:cNvSpPr>
          <p:nvPr>
            <p:ph type="sldNum" sz="quarter" idx="4"/>
          </p:nvPr>
        </p:nvSpPr>
        <p:spPr>
          <a:xfrm>
            <a:off x="6774934" y="4854985"/>
            <a:ext cx="2052000" cy="27384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1100">
                <a:solidFill>
                  <a:schemeClr val="tx1"/>
                </a:solidFill>
              </a:defRPr>
            </a:lvl1pPr>
          </a:lstStyle>
          <a:p>
            <a:fld id="{CE58CB1E-F828-4F11-99E0-327109AF9DA4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0" name="Fußzeilenplatzhalter 3"/>
          <p:cNvSpPr>
            <a:spLocks noGrp="1"/>
          </p:cNvSpPr>
          <p:nvPr>
            <p:ph type="ftr" sz="quarter" idx="3"/>
          </p:nvPr>
        </p:nvSpPr>
        <p:spPr>
          <a:xfrm>
            <a:off x="311162" y="4854985"/>
            <a:ext cx="6464280" cy="27384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1100">
                <a:solidFill>
                  <a:schemeClr val="tx1"/>
                </a:solidFill>
              </a:defRPr>
            </a:lvl1pPr>
          </a:lstStyle>
          <a:p>
            <a:r>
              <a:rPr lang="pl-PL"/>
              <a:t>Pecha Kucha by Group 4</a:t>
            </a:r>
            <a:endParaRPr lang="en-US"/>
          </a:p>
        </p:txBody>
      </p:sp>
      <p:sp>
        <p:nvSpPr>
          <p:cNvPr id="11" name="Textfeld 10"/>
          <p:cNvSpPr txBox="1"/>
          <p:nvPr userDrawn="1"/>
        </p:nvSpPr>
        <p:spPr>
          <a:xfrm>
            <a:off x="319506" y="321468"/>
            <a:ext cx="7160425" cy="34624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900"/>
              </a:lnSpc>
            </a:pPr>
            <a:r>
              <a:rPr lang="de-DE" sz="800">
                <a:solidFill>
                  <a:schemeClr val="tx2"/>
                </a:solidFill>
                <a:latin typeface="+mn-lt"/>
              </a:rPr>
              <a:t>Lehrstuhl für Datenverarbeitung</a:t>
            </a:r>
          </a:p>
          <a:p>
            <a:pPr>
              <a:lnSpc>
                <a:spcPts val="900"/>
              </a:lnSpc>
            </a:pPr>
            <a:r>
              <a:rPr lang="de-DE" sz="800">
                <a:solidFill>
                  <a:schemeClr val="tx2"/>
                </a:solidFill>
                <a:latin typeface="+mn-lt"/>
              </a:rPr>
              <a:t>Fakultät für Elektrotechnik und Informationstechnik</a:t>
            </a:r>
          </a:p>
          <a:p>
            <a:pPr>
              <a:lnSpc>
                <a:spcPts val="900"/>
              </a:lnSpc>
            </a:pPr>
            <a:r>
              <a:rPr lang="de-DE" sz="800">
                <a:solidFill>
                  <a:schemeClr val="tx2"/>
                </a:solidFill>
                <a:latin typeface="+mn-lt"/>
              </a:rPr>
              <a:t>Technische Universität</a:t>
            </a:r>
            <a:r>
              <a:rPr lang="de-DE" sz="800" baseline="0">
                <a:solidFill>
                  <a:schemeClr val="tx2"/>
                </a:solidFill>
                <a:latin typeface="+mn-lt"/>
              </a:rPr>
              <a:t> München</a:t>
            </a:r>
            <a:endParaRPr lang="de-DE" sz="800">
              <a:solidFill>
                <a:schemeClr val="tx2"/>
              </a:solidFill>
              <a:latin typeface="+mn-lt"/>
            </a:endParaRPr>
          </a:p>
        </p:txBody>
      </p:sp>
      <p:grpSp>
        <p:nvGrpSpPr>
          <p:cNvPr id="2" name="Group 4">
            <a:extLst>
              <a:ext uri="{FF2B5EF4-FFF2-40B4-BE49-F238E27FC236}">
                <a16:creationId xmlns:a16="http://schemas.microsoft.com/office/drawing/2014/main" id="{DEB43FDA-C21A-4028-9F9D-04F9B8475080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7579582" y="163513"/>
            <a:ext cx="987425" cy="479425"/>
            <a:chOff x="4936" y="103"/>
            <a:chExt cx="622" cy="302"/>
          </a:xfrm>
        </p:grpSpPr>
        <p:sp>
          <p:nvSpPr>
            <p:cNvPr id="3" name="AutoShape 3">
              <a:extLst>
                <a:ext uri="{FF2B5EF4-FFF2-40B4-BE49-F238E27FC236}">
                  <a16:creationId xmlns:a16="http://schemas.microsoft.com/office/drawing/2014/main" id="{ABFAEBC5-4896-456F-AAD6-30E9B4EC63E2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auto">
            <a:xfrm>
              <a:off x="4936" y="103"/>
              <a:ext cx="622" cy="30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" name="Freeform 5">
              <a:extLst>
                <a:ext uri="{FF2B5EF4-FFF2-40B4-BE49-F238E27FC236}">
                  <a16:creationId xmlns:a16="http://schemas.microsoft.com/office/drawing/2014/main" id="{B5326C43-7159-488F-B003-343C26BFF0A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177" y="204"/>
              <a:ext cx="381" cy="201"/>
            </a:xfrm>
            <a:custGeom>
              <a:avLst/>
              <a:gdLst>
                <a:gd name="T0" fmla="*/ 0 w 4953"/>
                <a:gd name="T1" fmla="*/ 0 h 2613"/>
                <a:gd name="T2" fmla="*/ 1940 w 4953"/>
                <a:gd name="T3" fmla="*/ 0 h 2613"/>
                <a:gd name="T4" fmla="*/ 1940 w 4953"/>
                <a:gd name="T5" fmla="*/ 2144 h 2613"/>
                <a:gd name="T6" fmla="*/ 2474 w 4953"/>
                <a:gd name="T7" fmla="*/ 2144 h 2613"/>
                <a:gd name="T8" fmla="*/ 2474 w 4953"/>
                <a:gd name="T9" fmla="*/ 0 h 2613"/>
                <a:gd name="T10" fmla="*/ 4953 w 4953"/>
                <a:gd name="T11" fmla="*/ 0 h 2613"/>
                <a:gd name="T12" fmla="*/ 4953 w 4953"/>
                <a:gd name="T13" fmla="*/ 2613 h 2613"/>
                <a:gd name="T14" fmla="*/ 4485 w 4953"/>
                <a:gd name="T15" fmla="*/ 2613 h 2613"/>
                <a:gd name="T16" fmla="*/ 4485 w 4953"/>
                <a:gd name="T17" fmla="*/ 469 h 2613"/>
                <a:gd name="T18" fmla="*/ 3947 w 4953"/>
                <a:gd name="T19" fmla="*/ 469 h 2613"/>
                <a:gd name="T20" fmla="*/ 3947 w 4953"/>
                <a:gd name="T21" fmla="*/ 2613 h 2613"/>
                <a:gd name="T22" fmla="*/ 3479 w 4953"/>
                <a:gd name="T23" fmla="*/ 2613 h 2613"/>
                <a:gd name="T24" fmla="*/ 3479 w 4953"/>
                <a:gd name="T25" fmla="*/ 469 h 2613"/>
                <a:gd name="T26" fmla="*/ 2942 w 4953"/>
                <a:gd name="T27" fmla="*/ 469 h 2613"/>
                <a:gd name="T28" fmla="*/ 2942 w 4953"/>
                <a:gd name="T29" fmla="*/ 2613 h 2613"/>
                <a:gd name="T30" fmla="*/ 1471 w 4953"/>
                <a:gd name="T31" fmla="*/ 2613 h 2613"/>
                <a:gd name="T32" fmla="*/ 1471 w 4953"/>
                <a:gd name="T33" fmla="*/ 469 h 2613"/>
                <a:gd name="T34" fmla="*/ 936 w 4953"/>
                <a:gd name="T35" fmla="*/ 469 h 2613"/>
                <a:gd name="T36" fmla="*/ 936 w 4953"/>
                <a:gd name="T37" fmla="*/ 2613 h 2613"/>
                <a:gd name="T38" fmla="*/ 468 w 4953"/>
                <a:gd name="T39" fmla="*/ 2613 h 2613"/>
                <a:gd name="T40" fmla="*/ 468 w 4953"/>
                <a:gd name="T41" fmla="*/ 469 h 2613"/>
                <a:gd name="T42" fmla="*/ 0 w 4953"/>
                <a:gd name="T43" fmla="*/ 469 h 2613"/>
                <a:gd name="T44" fmla="*/ 0 w 4953"/>
                <a:gd name="T45" fmla="*/ 0 h 26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4953" h="2613">
                  <a:moveTo>
                    <a:pt x="0" y="0"/>
                  </a:moveTo>
                  <a:lnTo>
                    <a:pt x="1940" y="0"/>
                  </a:lnTo>
                  <a:lnTo>
                    <a:pt x="1940" y="2144"/>
                  </a:lnTo>
                  <a:lnTo>
                    <a:pt x="2474" y="2144"/>
                  </a:lnTo>
                  <a:lnTo>
                    <a:pt x="2474" y="0"/>
                  </a:lnTo>
                  <a:lnTo>
                    <a:pt x="4953" y="0"/>
                  </a:lnTo>
                  <a:lnTo>
                    <a:pt x="4953" y="2613"/>
                  </a:lnTo>
                  <a:lnTo>
                    <a:pt x="4485" y="2613"/>
                  </a:lnTo>
                  <a:lnTo>
                    <a:pt x="4485" y="469"/>
                  </a:lnTo>
                  <a:lnTo>
                    <a:pt x="3947" y="469"/>
                  </a:lnTo>
                  <a:lnTo>
                    <a:pt x="3947" y="2613"/>
                  </a:lnTo>
                  <a:lnTo>
                    <a:pt x="3479" y="2613"/>
                  </a:lnTo>
                  <a:lnTo>
                    <a:pt x="3479" y="469"/>
                  </a:lnTo>
                  <a:lnTo>
                    <a:pt x="2942" y="469"/>
                  </a:lnTo>
                  <a:lnTo>
                    <a:pt x="2942" y="2613"/>
                  </a:lnTo>
                  <a:lnTo>
                    <a:pt x="1471" y="2613"/>
                  </a:lnTo>
                  <a:lnTo>
                    <a:pt x="1471" y="469"/>
                  </a:lnTo>
                  <a:lnTo>
                    <a:pt x="936" y="469"/>
                  </a:lnTo>
                  <a:lnTo>
                    <a:pt x="936" y="2613"/>
                  </a:lnTo>
                  <a:lnTo>
                    <a:pt x="468" y="2613"/>
                  </a:lnTo>
                  <a:lnTo>
                    <a:pt x="468" y="469"/>
                  </a:lnTo>
                  <a:lnTo>
                    <a:pt x="0" y="46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65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75" r:id="rId1"/>
    <p:sldLayoutId id="2147483713" r:id="rId2"/>
    <p:sldLayoutId id="2147483714" r:id="rId3"/>
    <p:sldLayoutId id="2147483715" r:id="rId4"/>
    <p:sldLayoutId id="2147483716" r:id="rId5"/>
  </p:sldLayoutIdLst>
  <mc:AlternateContent xmlns:mc="http://schemas.openxmlformats.org/markup-compatibility/2006" xmlns:p14="http://schemas.microsoft.com/office/powerpoint/2010/main">
    <mc:Choice Requires="p14">
      <p:transition spd="slow" p14:dur="2000" advClick="0" advTm="20000"/>
    </mc:Choice>
    <mc:Fallback xmlns="">
      <p:transition spd="slow" advClick="0" advTm="20000"/>
    </mc:Fallback>
  </mc:AlternateContent>
  <p:hf hdr="0" dt="0"/>
  <p:txStyles>
    <p:titleStyle>
      <a:lvl1pPr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defRPr sz="2200" b="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algn="l" rtl="0" eaLnBrk="0" fontAlgn="base" hangingPunct="0">
        <a:lnSpc>
          <a:spcPct val="100000"/>
        </a:lnSpc>
        <a:spcBef>
          <a:spcPct val="0"/>
        </a:spcBef>
        <a:spcAft>
          <a:spcPct val="0"/>
        </a:spcAft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176213" indent="-176213" algn="l" rtl="0" eaLnBrk="0" fontAlgn="base" hangingPunct="0">
        <a:lnSpc>
          <a:spcPct val="100000"/>
        </a:lnSpc>
        <a:spcBef>
          <a:spcPct val="0"/>
        </a:spcBef>
        <a:spcAft>
          <a:spcPct val="0"/>
        </a:spcAft>
        <a:buFont typeface="Arial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60363" indent="-184150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8163" indent="-177800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6213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53C6E8E4-7612-44D7-95DA-256B9BE8770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35481081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2" imgW="592" imgH="591" progId="TCLayout.ActiveDocument.1">
                  <p:embed/>
                </p:oleObj>
              </mc:Choice>
              <mc:Fallback>
                <p:oleObj name="think-cell Slide" r:id="rId12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53C6E8E4-7612-44D7-95DA-256B9BE8770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liennummernplatzhalter 4"/>
          <p:cNvSpPr>
            <a:spLocks noGrp="1"/>
          </p:cNvSpPr>
          <p:nvPr>
            <p:ph type="sldNum" sz="quarter" idx="4"/>
          </p:nvPr>
        </p:nvSpPr>
        <p:spPr>
          <a:xfrm>
            <a:off x="6774934" y="4854985"/>
            <a:ext cx="2052074" cy="27384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1100">
                <a:solidFill>
                  <a:schemeClr val="tx1"/>
                </a:solidFill>
              </a:defRPr>
            </a:lvl1pPr>
          </a:lstStyle>
          <a:p>
            <a:fld id="{CE58CB1E-F828-4F11-99E0-327109AF9DA4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6" name="Fußzeilenplatzhalter 3"/>
          <p:cNvSpPr>
            <a:spLocks noGrp="1"/>
          </p:cNvSpPr>
          <p:nvPr>
            <p:ph type="ftr" sz="quarter" idx="3"/>
          </p:nvPr>
        </p:nvSpPr>
        <p:spPr>
          <a:xfrm>
            <a:off x="311162" y="4854985"/>
            <a:ext cx="6464280" cy="27384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1100">
                <a:solidFill>
                  <a:schemeClr val="tx1"/>
                </a:solidFill>
              </a:defRPr>
            </a:lvl1pPr>
          </a:lstStyle>
          <a:p>
            <a:r>
              <a:rPr lang="pl-PL"/>
              <a:t>Pecha Kucha by Group 4</a:t>
            </a:r>
            <a:endParaRPr lang="en-US"/>
          </a:p>
        </p:txBody>
      </p:sp>
      <p:grpSp>
        <p:nvGrpSpPr>
          <p:cNvPr id="2" name="Group 4">
            <a:extLst>
              <a:ext uri="{FF2B5EF4-FFF2-40B4-BE49-F238E27FC236}">
                <a16:creationId xmlns:a16="http://schemas.microsoft.com/office/drawing/2014/main" id="{776177CA-BC2D-4BD9-B4D9-4A6D15383F98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7977668" y="323850"/>
            <a:ext cx="604837" cy="319088"/>
            <a:chOff x="5177" y="204"/>
            <a:chExt cx="381" cy="201"/>
          </a:xfrm>
        </p:grpSpPr>
        <p:sp>
          <p:nvSpPr>
            <p:cNvPr id="4" name="AutoShape 3">
              <a:extLst>
                <a:ext uri="{FF2B5EF4-FFF2-40B4-BE49-F238E27FC236}">
                  <a16:creationId xmlns:a16="http://schemas.microsoft.com/office/drawing/2014/main" id="{9C8D5BA2-685A-4357-9CD4-C0DA2A2EDB1D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auto">
            <a:xfrm>
              <a:off x="5177" y="204"/>
              <a:ext cx="381" cy="20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7" name="Freeform 5">
              <a:extLst>
                <a:ext uri="{FF2B5EF4-FFF2-40B4-BE49-F238E27FC236}">
                  <a16:creationId xmlns:a16="http://schemas.microsoft.com/office/drawing/2014/main" id="{10AAF334-35CA-488F-A06A-A270FC9254F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177" y="204"/>
              <a:ext cx="381" cy="201"/>
            </a:xfrm>
            <a:custGeom>
              <a:avLst/>
              <a:gdLst>
                <a:gd name="T0" fmla="*/ 0 w 4953"/>
                <a:gd name="T1" fmla="*/ 0 h 2613"/>
                <a:gd name="T2" fmla="*/ 1940 w 4953"/>
                <a:gd name="T3" fmla="*/ 0 h 2613"/>
                <a:gd name="T4" fmla="*/ 1940 w 4953"/>
                <a:gd name="T5" fmla="*/ 2144 h 2613"/>
                <a:gd name="T6" fmla="*/ 2474 w 4953"/>
                <a:gd name="T7" fmla="*/ 2144 h 2613"/>
                <a:gd name="T8" fmla="*/ 2474 w 4953"/>
                <a:gd name="T9" fmla="*/ 0 h 2613"/>
                <a:gd name="T10" fmla="*/ 4953 w 4953"/>
                <a:gd name="T11" fmla="*/ 0 h 2613"/>
                <a:gd name="T12" fmla="*/ 4953 w 4953"/>
                <a:gd name="T13" fmla="*/ 2613 h 2613"/>
                <a:gd name="T14" fmla="*/ 4485 w 4953"/>
                <a:gd name="T15" fmla="*/ 2613 h 2613"/>
                <a:gd name="T16" fmla="*/ 4485 w 4953"/>
                <a:gd name="T17" fmla="*/ 469 h 2613"/>
                <a:gd name="T18" fmla="*/ 3947 w 4953"/>
                <a:gd name="T19" fmla="*/ 469 h 2613"/>
                <a:gd name="T20" fmla="*/ 3947 w 4953"/>
                <a:gd name="T21" fmla="*/ 2613 h 2613"/>
                <a:gd name="T22" fmla="*/ 3479 w 4953"/>
                <a:gd name="T23" fmla="*/ 2613 h 2613"/>
                <a:gd name="T24" fmla="*/ 3479 w 4953"/>
                <a:gd name="T25" fmla="*/ 469 h 2613"/>
                <a:gd name="T26" fmla="*/ 2942 w 4953"/>
                <a:gd name="T27" fmla="*/ 469 h 2613"/>
                <a:gd name="T28" fmla="*/ 2942 w 4953"/>
                <a:gd name="T29" fmla="*/ 2613 h 2613"/>
                <a:gd name="T30" fmla="*/ 1471 w 4953"/>
                <a:gd name="T31" fmla="*/ 2613 h 2613"/>
                <a:gd name="T32" fmla="*/ 1471 w 4953"/>
                <a:gd name="T33" fmla="*/ 469 h 2613"/>
                <a:gd name="T34" fmla="*/ 936 w 4953"/>
                <a:gd name="T35" fmla="*/ 469 h 2613"/>
                <a:gd name="T36" fmla="*/ 936 w 4953"/>
                <a:gd name="T37" fmla="*/ 2613 h 2613"/>
                <a:gd name="T38" fmla="*/ 468 w 4953"/>
                <a:gd name="T39" fmla="*/ 2613 h 2613"/>
                <a:gd name="T40" fmla="*/ 468 w 4953"/>
                <a:gd name="T41" fmla="*/ 469 h 2613"/>
                <a:gd name="T42" fmla="*/ 0 w 4953"/>
                <a:gd name="T43" fmla="*/ 469 h 2613"/>
                <a:gd name="T44" fmla="*/ 0 w 4953"/>
                <a:gd name="T45" fmla="*/ 0 h 26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4953" h="2613">
                  <a:moveTo>
                    <a:pt x="0" y="0"/>
                  </a:moveTo>
                  <a:lnTo>
                    <a:pt x="1940" y="0"/>
                  </a:lnTo>
                  <a:lnTo>
                    <a:pt x="1940" y="2144"/>
                  </a:lnTo>
                  <a:lnTo>
                    <a:pt x="2474" y="2144"/>
                  </a:lnTo>
                  <a:lnTo>
                    <a:pt x="2474" y="0"/>
                  </a:lnTo>
                  <a:lnTo>
                    <a:pt x="4953" y="0"/>
                  </a:lnTo>
                  <a:lnTo>
                    <a:pt x="4953" y="2613"/>
                  </a:lnTo>
                  <a:lnTo>
                    <a:pt x="4485" y="2613"/>
                  </a:lnTo>
                  <a:lnTo>
                    <a:pt x="4485" y="469"/>
                  </a:lnTo>
                  <a:lnTo>
                    <a:pt x="3947" y="469"/>
                  </a:lnTo>
                  <a:lnTo>
                    <a:pt x="3947" y="2613"/>
                  </a:lnTo>
                  <a:lnTo>
                    <a:pt x="3479" y="2613"/>
                  </a:lnTo>
                  <a:lnTo>
                    <a:pt x="3479" y="469"/>
                  </a:lnTo>
                  <a:lnTo>
                    <a:pt x="2942" y="469"/>
                  </a:lnTo>
                  <a:lnTo>
                    <a:pt x="2942" y="2613"/>
                  </a:lnTo>
                  <a:lnTo>
                    <a:pt x="1471" y="2613"/>
                  </a:lnTo>
                  <a:lnTo>
                    <a:pt x="1471" y="469"/>
                  </a:lnTo>
                  <a:lnTo>
                    <a:pt x="936" y="469"/>
                  </a:lnTo>
                  <a:lnTo>
                    <a:pt x="936" y="2613"/>
                  </a:lnTo>
                  <a:lnTo>
                    <a:pt x="468" y="2613"/>
                  </a:lnTo>
                  <a:lnTo>
                    <a:pt x="468" y="469"/>
                  </a:lnTo>
                  <a:lnTo>
                    <a:pt x="0" y="46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65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54" r:id="rId2"/>
    <p:sldLayoutId id="2147483704" r:id="rId3"/>
    <p:sldLayoutId id="2147483657" r:id="rId4"/>
    <p:sldLayoutId id="2147483711" r:id="rId5"/>
    <p:sldLayoutId id="2147483703" r:id="rId6"/>
    <p:sldLayoutId id="2147483653" r:id="rId7"/>
    <p:sldLayoutId id="2147483656" r:id="rId8"/>
    <p:sldLayoutId id="2147483712" r:id="rId9"/>
  </p:sldLayoutIdLst>
  <mc:AlternateContent xmlns:mc="http://schemas.openxmlformats.org/markup-compatibility/2006" xmlns:p14="http://schemas.microsoft.com/office/powerpoint/2010/main">
    <mc:Choice Requires="p14">
      <p:transition spd="slow" p14:dur="2000" advClick="0" advTm="20000"/>
    </mc:Choice>
    <mc:Fallback xmlns="">
      <p:transition spd="slow" advClick="0" advTm="20000"/>
    </mc:Fallback>
  </mc:AlternateContent>
  <p:hf hdr="0" dt="0"/>
  <p:txStyles>
    <p:titleStyle>
      <a:lvl1pPr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defRPr sz="2500" b="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algn="l" rtl="0" eaLnBrk="0" fontAlgn="base" hangingPunct="0">
        <a:lnSpc>
          <a:spcPct val="100000"/>
        </a:lnSpc>
        <a:spcBef>
          <a:spcPct val="0"/>
        </a:spcBef>
        <a:spcAft>
          <a:spcPct val="0"/>
        </a:spcAft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176213" indent="-176213" algn="l" rtl="0" eaLnBrk="0" fontAlgn="base" hangingPunct="0">
        <a:lnSpc>
          <a:spcPct val="100000"/>
        </a:lnSpc>
        <a:spcBef>
          <a:spcPct val="0"/>
        </a:spcBef>
        <a:spcAft>
          <a:spcPct val="0"/>
        </a:spcAft>
        <a:buFont typeface="Arial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60363" indent="-184150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8163" indent="-177800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6213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D3E73EDA-7CBA-4F7F-A0D5-9EE5DF35EA7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830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D3E73EDA-7CBA-4F7F-A0D5-9EE5DF35EA7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/>
          <p:cNvSpPr/>
          <p:nvPr/>
        </p:nvSpPr>
        <p:spPr bwMode="hidden">
          <a:xfrm>
            <a:off x="0" y="0"/>
            <a:ext cx="9144000" cy="51435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4000"/>
              </a:lnSpc>
            </a:pPr>
            <a:endParaRPr lang="de-DE"/>
          </a:p>
        </p:txBody>
      </p:sp>
      <p:pic>
        <p:nvPicPr>
          <p:cNvPr id="4" name="Bild 3" descr="20150416 tum logo blau png final.png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 bwMode="black">
          <a:xfrm>
            <a:off x="8218800" y="324000"/>
            <a:ext cx="599513" cy="320288"/>
          </a:xfrm>
          <a:prstGeom prst="rect">
            <a:avLst/>
          </a:prstGeom>
        </p:spPr>
      </p:pic>
      <p:sp>
        <p:nvSpPr>
          <p:cNvPr id="7" name="Foliennummernplatzhalter 4"/>
          <p:cNvSpPr>
            <a:spLocks noGrp="1"/>
          </p:cNvSpPr>
          <p:nvPr>
            <p:ph type="sldNum" sz="quarter" idx="4"/>
          </p:nvPr>
        </p:nvSpPr>
        <p:spPr>
          <a:xfrm>
            <a:off x="6774934" y="4854985"/>
            <a:ext cx="2052000" cy="27384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1100">
                <a:solidFill>
                  <a:schemeClr val="bg1"/>
                </a:solidFill>
              </a:defRPr>
            </a:lvl1pPr>
          </a:lstStyle>
          <a:p>
            <a:fld id="{CE58CB1E-F828-4F11-99E0-327109AF9DA4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8" name="Fußzeilenplatzhalter 3"/>
          <p:cNvSpPr>
            <a:spLocks noGrp="1"/>
          </p:cNvSpPr>
          <p:nvPr>
            <p:ph type="ftr" sz="quarter" idx="3"/>
          </p:nvPr>
        </p:nvSpPr>
        <p:spPr>
          <a:xfrm>
            <a:off x="311162" y="4854985"/>
            <a:ext cx="6464280" cy="27384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1100">
                <a:solidFill>
                  <a:schemeClr val="bg1"/>
                </a:solidFill>
              </a:defRPr>
            </a:lvl1pPr>
          </a:lstStyle>
          <a:p>
            <a:r>
              <a:rPr lang="pl-PL"/>
              <a:t>Pecha Kucha by Group 4</a:t>
            </a:r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85" r:id="rId1"/>
  </p:sldLayoutIdLst>
  <mc:AlternateContent xmlns:mc="http://schemas.openxmlformats.org/markup-compatibility/2006" xmlns:p14="http://schemas.microsoft.com/office/powerpoint/2010/main">
    <mc:Choice Requires="p14">
      <p:transition spd="slow" p14:dur="2000" advClick="0" advTm="20000"/>
    </mc:Choice>
    <mc:Fallback xmlns="">
      <p:transition spd="slow" advClick="0" advTm="20000"/>
    </mc:Fallback>
  </mc:AlternateContent>
  <p:hf hdr="0" dt="0"/>
  <p:txStyles>
    <p:titleStyle>
      <a:lvl1pPr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defRPr sz="2200" b="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algn="l" rtl="0" eaLnBrk="0" fontAlgn="base" hangingPunct="0">
        <a:lnSpc>
          <a:spcPct val="100000"/>
        </a:lnSpc>
        <a:spcBef>
          <a:spcPct val="0"/>
        </a:spcBef>
        <a:spcAft>
          <a:spcPct val="0"/>
        </a:spcAft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176213" indent="-176213" algn="l" rtl="0" eaLnBrk="0" fontAlgn="base" hangingPunct="0">
        <a:lnSpc>
          <a:spcPct val="100000"/>
        </a:lnSpc>
        <a:spcBef>
          <a:spcPct val="0"/>
        </a:spcBef>
        <a:spcAft>
          <a:spcPct val="0"/>
        </a:spcAft>
        <a:buFont typeface="Arial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60363" indent="-184150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8163" indent="-177800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6213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C1B74693-ED1D-4308-B6D6-5C29DA7B4BD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4388879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C1B74693-ED1D-4308-B6D6-5C29DA7B4BD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/>
          <p:cNvSpPr/>
          <p:nvPr/>
        </p:nvSpPr>
        <p:spPr bwMode="hidden">
          <a:xfrm>
            <a:off x="0" y="0"/>
            <a:ext cx="9144000" cy="51435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4000"/>
              </a:lnSpc>
            </a:pPr>
            <a:endParaRPr lang="de-DE">
              <a:solidFill>
                <a:schemeClr val="bg1"/>
              </a:solidFill>
            </a:endParaRPr>
          </a:p>
        </p:txBody>
      </p:sp>
      <p:pic>
        <p:nvPicPr>
          <p:cNvPr id="4" name="Bild 3" descr="20150416 tum logo blau png final.png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 bwMode="black">
          <a:xfrm>
            <a:off x="8218800" y="324000"/>
            <a:ext cx="599513" cy="320288"/>
          </a:xfrm>
          <a:prstGeom prst="rect">
            <a:avLst/>
          </a:prstGeom>
        </p:spPr>
      </p:pic>
      <p:sp>
        <p:nvSpPr>
          <p:cNvPr id="9" name="Foliennummernplatzhalter 4"/>
          <p:cNvSpPr>
            <a:spLocks noGrp="1"/>
          </p:cNvSpPr>
          <p:nvPr>
            <p:ph type="sldNum" sz="quarter" idx="4"/>
          </p:nvPr>
        </p:nvSpPr>
        <p:spPr>
          <a:xfrm>
            <a:off x="6774934" y="4854985"/>
            <a:ext cx="2052000" cy="27384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1100">
                <a:solidFill>
                  <a:schemeClr val="bg1"/>
                </a:solidFill>
              </a:defRPr>
            </a:lvl1pPr>
          </a:lstStyle>
          <a:p>
            <a:fld id="{CE58CB1E-F828-4F11-99E0-327109AF9DA4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0" name="Fußzeilenplatzhalter 3"/>
          <p:cNvSpPr>
            <a:spLocks noGrp="1"/>
          </p:cNvSpPr>
          <p:nvPr>
            <p:ph type="ftr" sz="quarter" idx="3"/>
          </p:nvPr>
        </p:nvSpPr>
        <p:spPr>
          <a:xfrm>
            <a:off x="311162" y="4854985"/>
            <a:ext cx="6464280" cy="27384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1100">
                <a:solidFill>
                  <a:schemeClr val="bg1"/>
                </a:solidFill>
              </a:defRPr>
            </a:lvl1pPr>
          </a:lstStyle>
          <a:p>
            <a:r>
              <a:rPr lang="pl-PL"/>
              <a:t>Pecha Kucha by Group 4</a:t>
            </a:r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98" r:id="rId1"/>
  </p:sldLayoutIdLst>
  <mc:AlternateContent xmlns:mc="http://schemas.openxmlformats.org/markup-compatibility/2006" xmlns:p14="http://schemas.microsoft.com/office/powerpoint/2010/main">
    <mc:Choice Requires="p14">
      <p:transition spd="slow" p14:dur="2000" advClick="0" advTm="20000"/>
    </mc:Choice>
    <mc:Fallback xmlns="">
      <p:transition spd="slow" advClick="0" advTm="20000"/>
    </mc:Fallback>
  </mc:AlternateContent>
  <p:hf hdr="0" dt="0"/>
  <p:txStyles>
    <p:titleStyle>
      <a:lvl1pPr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defRPr sz="2200" b="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algn="l" rtl="0" eaLnBrk="0" fontAlgn="base" hangingPunct="0">
        <a:lnSpc>
          <a:spcPct val="100000"/>
        </a:lnSpc>
        <a:spcBef>
          <a:spcPct val="0"/>
        </a:spcBef>
        <a:spcAft>
          <a:spcPct val="0"/>
        </a:spcAft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176213" indent="-176213" algn="l" rtl="0" eaLnBrk="0" fontAlgn="base" hangingPunct="0">
        <a:lnSpc>
          <a:spcPct val="100000"/>
        </a:lnSpc>
        <a:spcBef>
          <a:spcPct val="0"/>
        </a:spcBef>
        <a:spcAft>
          <a:spcPct val="0"/>
        </a:spcAft>
        <a:buFont typeface="Arial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60363" indent="-184150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8163" indent="-177800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6213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688778D7-668D-4A1E-8551-33378BF853E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28684978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688778D7-668D-4A1E-8551-33378BF853E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Fußzeilenplatzhalter 3"/>
          <p:cNvSpPr>
            <a:spLocks noGrp="1"/>
          </p:cNvSpPr>
          <p:nvPr>
            <p:ph type="ftr" sz="quarter" idx="3"/>
          </p:nvPr>
        </p:nvSpPr>
        <p:spPr>
          <a:xfrm>
            <a:off x="311162" y="4854985"/>
            <a:ext cx="7829538" cy="28851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1100">
                <a:solidFill>
                  <a:schemeClr val="tx1"/>
                </a:solidFill>
              </a:defRPr>
            </a:lvl1pPr>
          </a:lstStyle>
          <a:p>
            <a:r>
              <a:rPr lang="pl-PL"/>
              <a:t>Pecha Kucha by Group 4</a:t>
            </a:r>
            <a:endParaRPr lang="en-US"/>
          </a:p>
        </p:txBody>
      </p:sp>
      <p:sp>
        <p:nvSpPr>
          <p:cNvPr id="11" name="Foliennummernplatzhalter 4"/>
          <p:cNvSpPr>
            <a:spLocks noGrp="1"/>
          </p:cNvSpPr>
          <p:nvPr>
            <p:ph type="sldNum" sz="quarter" idx="4"/>
          </p:nvPr>
        </p:nvSpPr>
        <p:spPr>
          <a:xfrm>
            <a:off x="6774934" y="4854985"/>
            <a:ext cx="2052000" cy="27384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1100">
                <a:solidFill>
                  <a:schemeClr val="tx1"/>
                </a:solidFill>
              </a:defRPr>
            </a:lvl1pPr>
          </a:lstStyle>
          <a:p>
            <a:fld id="{CE58CB1E-F828-4F11-99E0-327109AF9DA4}" type="slidenum">
              <a:rPr lang="de-DE" smtClean="0"/>
              <a:pPr/>
              <a:t>‹Nr.›</a:t>
            </a:fld>
            <a:endParaRPr lang="de-DE"/>
          </a:p>
        </p:txBody>
      </p:sp>
      <p:grpSp>
        <p:nvGrpSpPr>
          <p:cNvPr id="2" name="Group 4">
            <a:extLst>
              <a:ext uri="{FF2B5EF4-FFF2-40B4-BE49-F238E27FC236}">
                <a16:creationId xmlns:a16="http://schemas.microsoft.com/office/drawing/2014/main" id="{0DA675F1-802B-41C3-8E3B-0BC107DD15DC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7763390" y="323850"/>
            <a:ext cx="604837" cy="319088"/>
            <a:chOff x="5177" y="204"/>
            <a:chExt cx="381" cy="201"/>
          </a:xfrm>
        </p:grpSpPr>
        <p:sp>
          <p:nvSpPr>
            <p:cNvPr id="3" name="AutoShape 3">
              <a:extLst>
                <a:ext uri="{FF2B5EF4-FFF2-40B4-BE49-F238E27FC236}">
                  <a16:creationId xmlns:a16="http://schemas.microsoft.com/office/drawing/2014/main" id="{1278AFA4-DDC6-42D4-A3F1-255C64185FE0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auto">
            <a:xfrm>
              <a:off x="5177" y="204"/>
              <a:ext cx="381" cy="20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" name="Freeform 5">
              <a:extLst>
                <a:ext uri="{FF2B5EF4-FFF2-40B4-BE49-F238E27FC236}">
                  <a16:creationId xmlns:a16="http://schemas.microsoft.com/office/drawing/2014/main" id="{BC130FD9-BFBD-4E3E-B211-7A63652DB2C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177" y="204"/>
              <a:ext cx="381" cy="201"/>
            </a:xfrm>
            <a:custGeom>
              <a:avLst/>
              <a:gdLst>
                <a:gd name="T0" fmla="*/ 0 w 4953"/>
                <a:gd name="T1" fmla="*/ 0 h 2613"/>
                <a:gd name="T2" fmla="*/ 1940 w 4953"/>
                <a:gd name="T3" fmla="*/ 0 h 2613"/>
                <a:gd name="T4" fmla="*/ 1940 w 4953"/>
                <a:gd name="T5" fmla="*/ 2144 h 2613"/>
                <a:gd name="T6" fmla="*/ 2474 w 4953"/>
                <a:gd name="T7" fmla="*/ 2144 h 2613"/>
                <a:gd name="T8" fmla="*/ 2474 w 4953"/>
                <a:gd name="T9" fmla="*/ 0 h 2613"/>
                <a:gd name="T10" fmla="*/ 4953 w 4953"/>
                <a:gd name="T11" fmla="*/ 0 h 2613"/>
                <a:gd name="T12" fmla="*/ 4953 w 4953"/>
                <a:gd name="T13" fmla="*/ 2613 h 2613"/>
                <a:gd name="T14" fmla="*/ 4485 w 4953"/>
                <a:gd name="T15" fmla="*/ 2613 h 2613"/>
                <a:gd name="T16" fmla="*/ 4485 w 4953"/>
                <a:gd name="T17" fmla="*/ 469 h 2613"/>
                <a:gd name="T18" fmla="*/ 3947 w 4953"/>
                <a:gd name="T19" fmla="*/ 469 h 2613"/>
                <a:gd name="T20" fmla="*/ 3947 w 4953"/>
                <a:gd name="T21" fmla="*/ 2613 h 2613"/>
                <a:gd name="T22" fmla="*/ 3479 w 4953"/>
                <a:gd name="T23" fmla="*/ 2613 h 2613"/>
                <a:gd name="T24" fmla="*/ 3479 w 4953"/>
                <a:gd name="T25" fmla="*/ 469 h 2613"/>
                <a:gd name="T26" fmla="*/ 2942 w 4953"/>
                <a:gd name="T27" fmla="*/ 469 h 2613"/>
                <a:gd name="T28" fmla="*/ 2942 w 4953"/>
                <a:gd name="T29" fmla="*/ 2613 h 2613"/>
                <a:gd name="T30" fmla="*/ 1471 w 4953"/>
                <a:gd name="T31" fmla="*/ 2613 h 2613"/>
                <a:gd name="T32" fmla="*/ 1471 w 4953"/>
                <a:gd name="T33" fmla="*/ 469 h 2613"/>
                <a:gd name="T34" fmla="*/ 936 w 4953"/>
                <a:gd name="T35" fmla="*/ 469 h 2613"/>
                <a:gd name="T36" fmla="*/ 936 w 4953"/>
                <a:gd name="T37" fmla="*/ 2613 h 2613"/>
                <a:gd name="T38" fmla="*/ 468 w 4953"/>
                <a:gd name="T39" fmla="*/ 2613 h 2613"/>
                <a:gd name="T40" fmla="*/ 468 w 4953"/>
                <a:gd name="T41" fmla="*/ 469 h 2613"/>
                <a:gd name="T42" fmla="*/ 0 w 4953"/>
                <a:gd name="T43" fmla="*/ 469 h 2613"/>
                <a:gd name="T44" fmla="*/ 0 w 4953"/>
                <a:gd name="T45" fmla="*/ 0 h 26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4953" h="2613">
                  <a:moveTo>
                    <a:pt x="0" y="0"/>
                  </a:moveTo>
                  <a:lnTo>
                    <a:pt x="1940" y="0"/>
                  </a:lnTo>
                  <a:lnTo>
                    <a:pt x="1940" y="2144"/>
                  </a:lnTo>
                  <a:lnTo>
                    <a:pt x="2474" y="2144"/>
                  </a:lnTo>
                  <a:lnTo>
                    <a:pt x="2474" y="0"/>
                  </a:lnTo>
                  <a:lnTo>
                    <a:pt x="4953" y="0"/>
                  </a:lnTo>
                  <a:lnTo>
                    <a:pt x="4953" y="2613"/>
                  </a:lnTo>
                  <a:lnTo>
                    <a:pt x="4485" y="2613"/>
                  </a:lnTo>
                  <a:lnTo>
                    <a:pt x="4485" y="469"/>
                  </a:lnTo>
                  <a:lnTo>
                    <a:pt x="3947" y="469"/>
                  </a:lnTo>
                  <a:lnTo>
                    <a:pt x="3947" y="2613"/>
                  </a:lnTo>
                  <a:lnTo>
                    <a:pt x="3479" y="2613"/>
                  </a:lnTo>
                  <a:lnTo>
                    <a:pt x="3479" y="469"/>
                  </a:lnTo>
                  <a:lnTo>
                    <a:pt x="2942" y="469"/>
                  </a:lnTo>
                  <a:lnTo>
                    <a:pt x="2942" y="2613"/>
                  </a:lnTo>
                  <a:lnTo>
                    <a:pt x="1471" y="2613"/>
                  </a:lnTo>
                  <a:lnTo>
                    <a:pt x="1471" y="469"/>
                  </a:lnTo>
                  <a:lnTo>
                    <a:pt x="936" y="469"/>
                  </a:lnTo>
                  <a:lnTo>
                    <a:pt x="936" y="2613"/>
                  </a:lnTo>
                  <a:lnTo>
                    <a:pt x="468" y="2613"/>
                  </a:lnTo>
                  <a:lnTo>
                    <a:pt x="468" y="469"/>
                  </a:lnTo>
                  <a:lnTo>
                    <a:pt x="0" y="46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65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24" r:id="rId1"/>
    <p:sldLayoutId id="2147483725" r:id="rId2"/>
    <p:sldLayoutId id="2147483726" r:id="rId3"/>
    <p:sldLayoutId id="2147483727" r:id="rId4"/>
    <p:sldLayoutId id="2147483728" r:id="rId5"/>
    <p:sldLayoutId id="2147483729" r:id="rId6"/>
  </p:sldLayoutIdLst>
  <mc:AlternateContent xmlns:mc="http://schemas.openxmlformats.org/markup-compatibility/2006" xmlns:p14="http://schemas.microsoft.com/office/powerpoint/2010/main">
    <mc:Choice Requires="p14">
      <p:transition spd="slow" p14:dur="2000" advClick="0" advTm="20000"/>
    </mc:Choice>
    <mc:Fallback xmlns="">
      <p:transition spd="slow" advClick="0" advTm="20000"/>
    </mc:Fallback>
  </mc:AlternateContent>
  <p:hf hdr="0" dt="0"/>
  <p:txStyles>
    <p:titleStyle>
      <a:lvl1pPr algn="l" rtl="0" eaLnBrk="1" fontAlgn="base" hangingPunct="1">
        <a:lnSpc>
          <a:spcPct val="125000"/>
        </a:lnSpc>
        <a:spcBef>
          <a:spcPct val="0"/>
        </a:spcBef>
        <a:spcAft>
          <a:spcPct val="0"/>
        </a:spcAft>
        <a:defRPr sz="2200" b="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algn="l" rtl="0" eaLnBrk="1" fontAlgn="base" hangingPunct="1">
        <a:lnSpc>
          <a:spcPct val="100000"/>
        </a:lnSpc>
        <a:spcBef>
          <a:spcPct val="0"/>
        </a:spcBef>
        <a:spcAft>
          <a:spcPct val="0"/>
        </a:spcAft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176213" indent="-176213" algn="l" rtl="0" eaLnBrk="1" fontAlgn="base" hangingPunct="1">
        <a:lnSpc>
          <a:spcPct val="100000"/>
        </a:lnSpc>
        <a:spcBef>
          <a:spcPct val="0"/>
        </a:spcBef>
        <a:spcAft>
          <a:spcPct val="0"/>
        </a:spcAft>
        <a:buFont typeface="Arial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60363" indent="-184150" algn="l" rtl="0" eaLnBrk="1" fontAlgn="base" hangingPunct="1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8163" indent="-177800" algn="l" rtl="0" eaLnBrk="1" fontAlgn="base" hangingPunct="1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6213" algn="l" rtl="0" eaLnBrk="1" fontAlgn="base" hangingPunct="1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13" Type="http://schemas.openxmlformats.org/officeDocument/2006/relationships/image" Target="../media/image13.png"/><Relationship Id="rId3" Type="http://schemas.openxmlformats.org/officeDocument/2006/relationships/notesSlide" Target="../notesSlides/notesSlide1.xml"/><Relationship Id="rId7" Type="http://schemas.openxmlformats.org/officeDocument/2006/relationships/image" Target="../media/image7.png"/><Relationship Id="rId12" Type="http://schemas.openxmlformats.org/officeDocument/2006/relationships/image" Target="../media/image12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9.xml"/><Relationship Id="rId6" Type="http://schemas.openxmlformats.org/officeDocument/2006/relationships/image" Target="../media/image6.png"/><Relationship Id="rId11" Type="http://schemas.openxmlformats.org/officeDocument/2006/relationships/image" Target="../media/image11.png"/><Relationship Id="rId5" Type="http://schemas.openxmlformats.org/officeDocument/2006/relationships/image" Target="../media/image1.emf"/><Relationship Id="rId15" Type="http://schemas.openxmlformats.org/officeDocument/2006/relationships/image" Target="../media/image15.png"/><Relationship Id="rId10" Type="http://schemas.openxmlformats.org/officeDocument/2006/relationships/image" Target="../media/image10.png"/><Relationship Id="rId4" Type="http://schemas.openxmlformats.org/officeDocument/2006/relationships/oleObject" Target="../embeddings/oleObject8.bin"/><Relationship Id="rId9" Type="http://schemas.openxmlformats.org/officeDocument/2006/relationships/image" Target="../media/image9.png"/><Relationship Id="rId14" Type="http://schemas.openxmlformats.org/officeDocument/2006/relationships/image" Target="../media/image14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.xml"/><Relationship Id="rId7" Type="http://schemas.openxmlformats.org/officeDocument/2006/relationships/image" Target="../media/image33.pn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8.xml"/><Relationship Id="rId6" Type="http://schemas.openxmlformats.org/officeDocument/2006/relationships/image" Target="../media/image16.gi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.bin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9.xml"/><Relationship Id="rId6" Type="http://schemas.openxmlformats.org/officeDocument/2006/relationships/image" Target="../media/image16.gi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.bin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20.xml"/><Relationship Id="rId5" Type="http://schemas.openxmlformats.org/officeDocument/2006/relationships/image" Target="../media/image16.gif"/><Relationship Id="rId4" Type="http://schemas.openxmlformats.org/officeDocument/2006/relationships/image" Target="../media/image1.emf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svg"/><Relationship Id="rId3" Type="http://schemas.openxmlformats.org/officeDocument/2006/relationships/notesSlide" Target="../notesSlides/notesSlide12.xml"/><Relationship Id="rId7" Type="http://schemas.openxmlformats.org/officeDocument/2006/relationships/image" Target="../media/image23.pn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21.xml"/><Relationship Id="rId6" Type="http://schemas.openxmlformats.org/officeDocument/2006/relationships/image" Target="../media/image16.gif"/><Relationship Id="rId5" Type="http://schemas.openxmlformats.org/officeDocument/2006/relationships/image" Target="../media/image1.emf"/><Relationship Id="rId10" Type="http://schemas.openxmlformats.org/officeDocument/2006/relationships/image" Target="../media/image35.svg"/><Relationship Id="rId4" Type="http://schemas.openxmlformats.org/officeDocument/2006/relationships/oleObject" Target="../embeddings/oleObject20.bin"/><Relationship Id="rId9" Type="http://schemas.openxmlformats.org/officeDocument/2006/relationships/image" Target="../media/image34.pn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1.bin"/><Relationship Id="rId13" Type="http://schemas.openxmlformats.org/officeDocument/2006/relationships/image" Target="../media/image39.png"/><Relationship Id="rId3" Type="http://schemas.openxmlformats.org/officeDocument/2006/relationships/tags" Target="../tags/tag24.xml"/><Relationship Id="rId7" Type="http://schemas.openxmlformats.org/officeDocument/2006/relationships/notesSlide" Target="../notesSlides/notesSlide13.xml"/><Relationship Id="rId12" Type="http://schemas.openxmlformats.org/officeDocument/2006/relationships/image" Target="../media/image38.png"/><Relationship Id="rId2" Type="http://schemas.openxmlformats.org/officeDocument/2006/relationships/tags" Target="../tags/tag23.xml"/><Relationship Id="rId1" Type="http://schemas.openxmlformats.org/officeDocument/2006/relationships/tags" Target="../tags/tag22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37.png"/><Relationship Id="rId5" Type="http://schemas.openxmlformats.org/officeDocument/2006/relationships/tags" Target="../tags/tag26.xml"/><Relationship Id="rId15" Type="http://schemas.openxmlformats.org/officeDocument/2006/relationships/image" Target="../media/image16.gif"/><Relationship Id="rId10" Type="http://schemas.openxmlformats.org/officeDocument/2006/relationships/image" Target="../media/image36.png"/><Relationship Id="rId4" Type="http://schemas.openxmlformats.org/officeDocument/2006/relationships/tags" Target="../tags/tag25.xml"/><Relationship Id="rId9" Type="http://schemas.openxmlformats.org/officeDocument/2006/relationships/image" Target="../media/image1.emf"/><Relationship Id="rId14" Type="http://schemas.microsoft.com/office/2007/relationships/hdphoto" Target="../media/hdphoto2.wdp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14.xml"/><Relationship Id="rId3" Type="http://schemas.openxmlformats.org/officeDocument/2006/relationships/tags" Target="../tags/tag29.xml"/><Relationship Id="rId7" Type="http://schemas.openxmlformats.org/officeDocument/2006/relationships/slideLayout" Target="../slideLayouts/slideLayout4.xml"/><Relationship Id="rId2" Type="http://schemas.openxmlformats.org/officeDocument/2006/relationships/tags" Target="../tags/tag28.xml"/><Relationship Id="rId1" Type="http://schemas.openxmlformats.org/officeDocument/2006/relationships/tags" Target="../tags/tag27.xml"/><Relationship Id="rId6" Type="http://schemas.openxmlformats.org/officeDocument/2006/relationships/tags" Target="../tags/tag32.xml"/><Relationship Id="rId11" Type="http://schemas.openxmlformats.org/officeDocument/2006/relationships/image" Target="../media/image16.gif"/><Relationship Id="rId5" Type="http://schemas.openxmlformats.org/officeDocument/2006/relationships/tags" Target="../tags/tag31.xml"/><Relationship Id="rId10" Type="http://schemas.openxmlformats.org/officeDocument/2006/relationships/image" Target="../media/image1.emf"/><Relationship Id="rId4" Type="http://schemas.openxmlformats.org/officeDocument/2006/relationships/tags" Target="../tags/tag30.xml"/><Relationship Id="rId9" Type="http://schemas.openxmlformats.org/officeDocument/2006/relationships/oleObject" Target="../embeddings/oleObject22.bin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5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3.xml"/><Relationship Id="rId6" Type="http://schemas.openxmlformats.org/officeDocument/2006/relationships/image" Target="../media/image16.gif"/><Relationship Id="rId5" Type="http://schemas.openxmlformats.org/officeDocument/2006/relationships/image" Target="../media/image1.emf"/><Relationship Id="rId4" Type="http://schemas.openxmlformats.org/officeDocument/2006/relationships/oleObject" Target="../embeddings/oleObject23.bin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6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34.xml"/><Relationship Id="rId6" Type="http://schemas.openxmlformats.org/officeDocument/2006/relationships/image" Target="../media/image16.gif"/><Relationship Id="rId5" Type="http://schemas.openxmlformats.org/officeDocument/2006/relationships/image" Target="../media/image1.emf"/><Relationship Id="rId4" Type="http://schemas.openxmlformats.org/officeDocument/2006/relationships/oleObject" Target="../embeddings/oleObject24.bin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7.xml"/><Relationship Id="rId7" Type="http://schemas.openxmlformats.org/officeDocument/2006/relationships/image" Target="../media/image19.pn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35.xml"/><Relationship Id="rId6" Type="http://schemas.openxmlformats.org/officeDocument/2006/relationships/image" Target="../media/image16.gif"/><Relationship Id="rId5" Type="http://schemas.openxmlformats.org/officeDocument/2006/relationships/image" Target="../media/image1.emf"/><Relationship Id="rId4" Type="http://schemas.openxmlformats.org/officeDocument/2006/relationships/oleObject" Target="../embeddings/oleObject25.bin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3" Type="http://schemas.openxmlformats.org/officeDocument/2006/relationships/notesSlide" Target="../notesSlides/notesSlide18.xml"/><Relationship Id="rId7" Type="http://schemas.openxmlformats.org/officeDocument/2006/relationships/image" Target="../media/image37.pn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36.xml"/><Relationship Id="rId6" Type="http://schemas.openxmlformats.org/officeDocument/2006/relationships/image" Target="../media/image16.gif"/><Relationship Id="rId5" Type="http://schemas.openxmlformats.org/officeDocument/2006/relationships/image" Target="../media/image1.emf"/><Relationship Id="rId4" Type="http://schemas.openxmlformats.org/officeDocument/2006/relationships/oleObject" Target="../embeddings/oleObject26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0.xml"/><Relationship Id="rId6" Type="http://schemas.openxmlformats.org/officeDocument/2006/relationships/image" Target="../media/image16.gif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gif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openxmlformats.org/officeDocument/2006/relationships/notesSlide" Target="../notesSlides/notesSlide3.xml"/><Relationship Id="rId7" Type="http://schemas.openxmlformats.org/officeDocument/2006/relationships/image" Target="../media/image17.pn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1.xml"/><Relationship Id="rId6" Type="http://schemas.openxmlformats.org/officeDocument/2006/relationships/image" Target="../media/image16.gi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Relationship Id="rId9" Type="http://schemas.openxmlformats.org/officeDocument/2006/relationships/image" Target="../media/image19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2.xml"/><Relationship Id="rId6" Type="http://schemas.openxmlformats.org/officeDocument/2006/relationships/image" Target="../media/image16.gi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3" Type="http://schemas.openxmlformats.org/officeDocument/2006/relationships/notesSlide" Target="../notesSlides/notesSlide5.xml"/><Relationship Id="rId7" Type="http://schemas.openxmlformats.org/officeDocument/2006/relationships/image" Target="../media/image17.pn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3.xml"/><Relationship Id="rId6" Type="http://schemas.openxmlformats.org/officeDocument/2006/relationships/image" Target="../media/image16.gi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svg"/><Relationship Id="rId3" Type="http://schemas.openxmlformats.org/officeDocument/2006/relationships/notesSlide" Target="../notesSlides/notesSlide6.xml"/><Relationship Id="rId7" Type="http://schemas.openxmlformats.org/officeDocument/2006/relationships/image" Target="../media/image21.png"/><Relationship Id="rId12" Type="http://schemas.openxmlformats.org/officeDocument/2006/relationships/image" Target="../media/image26.sv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4.xml"/><Relationship Id="rId6" Type="http://schemas.openxmlformats.org/officeDocument/2006/relationships/image" Target="../media/image16.gif"/><Relationship Id="rId11" Type="http://schemas.openxmlformats.org/officeDocument/2006/relationships/image" Target="../media/image25.png"/><Relationship Id="rId5" Type="http://schemas.openxmlformats.org/officeDocument/2006/relationships/image" Target="../media/image1.emf"/><Relationship Id="rId10" Type="http://schemas.openxmlformats.org/officeDocument/2006/relationships/image" Target="../media/image24.svg"/><Relationship Id="rId4" Type="http://schemas.openxmlformats.org/officeDocument/2006/relationships/oleObject" Target="../embeddings/oleObject13.bin"/><Relationship Id="rId9" Type="http://schemas.openxmlformats.org/officeDocument/2006/relationships/image" Target="../media/image23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png"/><Relationship Id="rId3" Type="http://schemas.openxmlformats.org/officeDocument/2006/relationships/notesSlide" Target="../notesSlides/notesSlide7.xml"/><Relationship Id="rId7" Type="http://schemas.openxmlformats.org/officeDocument/2006/relationships/image" Target="../media/image27.png"/><Relationship Id="rId2" Type="http://schemas.openxmlformats.org/officeDocument/2006/relationships/slideLayout" Target="../slideLayouts/slideLayout26.xml"/><Relationship Id="rId1" Type="http://schemas.openxmlformats.org/officeDocument/2006/relationships/tags" Target="../tags/tag15.xml"/><Relationship Id="rId6" Type="http://schemas.openxmlformats.org/officeDocument/2006/relationships/image" Target="../media/image16.gi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.png"/><Relationship Id="rId3" Type="http://schemas.openxmlformats.org/officeDocument/2006/relationships/notesSlide" Target="../notesSlides/notesSlide8.xml"/><Relationship Id="rId7" Type="http://schemas.openxmlformats.org/officeDocument/2006/relationships/image" Target="../media/image29.jpe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6.xml"/><Relationship Id="rId6" Type="http://schemas.openxmlformats.org/officeDocument/2006/relationships/image" Target="../media/image16.gi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Relationship Id="rId9" Type="http://schemas.microsoft.com/office/2007/relationships/hdphoto" Target="../media/hdphoto1.wdp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2.jpeg"/><Relationship Id="rId3" Type="http://schemas.openxmlformats.org/officeDocument/2006/relationships/notesSlide" Target="../notesSlides/notesSlide9.xml"/><Relationship Id="rId7" Type="http://schemas.openxmlformats.org/officeDocument/2006/relationships/image" Target="../media/image31.pn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7.xml"/><Relationship Id="rId6" Type="http://schemas.openxmlformats.org/officeDocument/2006/relationships/image" Target="../media/image16.gi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0758313-EA02-4F3B-B4C0-E41387B7ABE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833566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0758313-EA02-4F3B-B4C0-E41387B7ABE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el 4"/>
          <p:cNvSpPr>
            <a:spLocks noGrp="1"/>
          </p:cNvSpPr>
          <p:nvPr>
            <p:ph type="title"/>
          </p:nvPr>
        </p:nvSpPr>
        <p:spPr>
          <a:xfrm>
            <a:off x="319088" y="286190"/>
            <a:ext cx="8508999" cy="380810"/>
          </a:xfrm>
        </p:spPr>
        <p:txBody>
          <a:bodyPr vert="horz"/>
          <a:lstStyle/>
          <a:p>
            <a:r>
              <a:rPr lang="en-US" dirty="0"/>
              <a:t>Pecha Kucha 2 – From idea to production</a:t>
            </a:r>
            <a:endParaRPr lang="en-US" noProof="0" dirty="0"/>
          </a:p>
        </p:txBody>
      </p:sp>
      <p:sp>
        <p:nvSpPr>
          <p:cNvPr id="3" name="Inhaltsplatzhalter 2"/>
          <p:cNvSpPr>
            <a:spLocks noGrp="1"/>
          </p:cNvSpPr>
          <p:nvPr>
            <p:ph idx="10"/>
          </p:nvPr>
        </p:nvSpPr>
        <p:spPr>
          <a:xfrm>
            <a:off x="319088" y="1274954"/>
            <a:ext cx="8508999" cy="955594"/>
          </a:xfrm>
        </p:spPr>
        <p:txBody>
          <a:bodyPr/>
          <a:lstStyle/>
          <a:p>
            <a:r>
              <a:rPr lang="en-US" noProof="0" dirty="0"/>
              <a:t>Group 4</a:t>
            </a:r>
          </a:p>
          <a:p>
            <a:r>
              <a:rPr lang="en-US" dirty="0"/>
              <a:t>Amadou, </a:t>
            </a:r>
            <a:r>
              <a:rPr lang="en-US" dirty="0" err="1"/>
              <a:t>Anouar</a:t>
            </a:r>
            <a:r>
              <a:rPr lang="en-US"/>
              <a:t>, Dennis, Gregor, </a:t>
            </a:r>
            <a:r>
              <a:rPr lang="en-US" err="1"/>
              <a:t>Linyan</a:t>
            </a:r>
            <a:r>
              <a:rPr lang="en-US"/>
              <a:t>, Magdalena, Melina, Nils, Thu, </a:t>
            </a:r>
            <a:r>
              <a:rPr lang="en-US" err="1"/>
              <a:t>Xiaogang</a:t>
            </a:r>
            <a:endParaRPr lang="en-US" noProof="0"/>
          </a:p>
        </p:txBody>
      </p:sp>
      <p:pic>
        <p:nvPicPr>
          <p:cNvPr id="3076" name="Picture 4">
            <a:extLst>
              <a:ext uri="{FF2B5EF4-FFF2-40B4-BE49-F238E27FC236}">
                <a16:creationId xmlns:a16="http://schemas.microsoft.com/office/drawing/2014/main" id="{13ECE376-5DCA-442E-B296-53F7493A668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69074" y="2944765"/>
            <a:ext cx="979694" cy="9796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77" name="Picture 5">
            <a:extLst>
              <a:ext uri="{FF2B5EF4-FFF2-40B4-BE49-F238E27FC236}">
                <a16:creationId xmlns:a16="http://schemas.microsoft.com/office/drawing/2014/main" id="{D6ECE8A6-78DB-4DDC-B17E-6C091F7C6A0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26370" y="2944764"/>
            <a:ext cx="979694" cy="9796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2" name="Group 1">
            <a:extLst>
              <a:ext uri="{FF2B5EF4-FFF2-40B4-BE49-F238E27FC236}">
                <a16:creationId xmlns:a16="http://schemas.microsoft.com/office/drawing/2014/main" id="{BEB13BAD-74ED-479B-851D-36B8E887BE9F}"/>
              </a:ext>
            </a:extLst>
          </p:cNvPr>
          <p:cNvGrpSpPr/>
          <p:nvPr/>
        </p:nvGrpSpPr>
        <p:grpSpPr>
          <a:xfrm>
            <a:off x="331234" y="2396300"/>
            <a:ext cx="979694" cy="2150835"/>
            <a:chOff x="211966" y="2826992"/>
            <a:chExt cx="979694" cy="2150835"/>
          </a:xfrm>
        </p:grpSpPr>
        <p:pic>
          <p:nvPicPr>
            <p:cNvPr id="3074" name="Picture 2">
              <a:extLst>
                <a:ext uri="{FF2B5EF4-FFF2-40B4-BE49-F238E27FC236}">
                  <a16:creationId xmlns:a16="http://schemas.microsoft.com/office/drawing/2014/main" id="{DBF11185-794B-438D-BA31-6606B7511C7F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11966" y="2826992"/>
              <a:ext cx="979694" cy="97969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079" name="Picture 7">
              <a:extLst>
                <a:ext uri="{FF2B5EF4-FFF2-40B4-BE49-F238E27FC236}">
                  <a16:creationId xmlns:a16="http://schemas.microsoft.com/office/drawing/2014/main" id="{A14145EB-8C95-4D7C-8683-23FFF891C007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11966" y="3991135"/>
              <a:ext cx="979694" cy="98669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3082" name="Picture 10">
            <a:extLst>
              <a:ext uri="{FF2B5EF4-FFF2-40B4-BE49-F238E27FC236}">
                <a16:creationId xmlns:a16="http://schemas.microsoft.com/office/drawing/2014/main" id="{DE993577-C696-4C3A-B5C6-0BC8B804398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21506" y="2944764"/>
            <a:ext cx="979694" cy="9796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83" name="Picture 11">
            <a:extLst>
              <a:ext uri="{FF2B5EF4-FFF2-40B4-BE49-F238E27FC236}">
                <a16:creationId xmlns:a16="http://schemas.microsoft.com/office/drawing/2014/main" id="{FB93DBB5-C771-405B-A32A-BAE4BE2C7DF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78802" y="2941266"/>
            <a:ext cx="979694" cy="9866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6" name="Group 5">
            <a:extLst>
              <a:ext uri="{FF2B5EF4-FFF2-40B4-BE49-F238E27FC236}">
                <a16:creationId xmlns:a16="http://schemas.microsoft.com/office/drawing/2014/main" id="{C3DEED03-9D49-4E2E-BAED-A5CB1327D19E}"/>
              </a:ext>
            </a:extLst>
          </p:cNvPr>
          <p:cNvGrpSpPr/>
          <p:nvPr/>
        </p:nvGrpSpPr>
        <p:grpSpPr>
          <a:xfrm>
            <a:off x="4073938" y="2396300"/>
            <a:ext cx="979694" cy="2147337"/>
            <a:chOff x="4023625" y="2826992"/>
            <a:chExt cx="979694" cy="2147337"/>
          </a:xfrm>
        </p:grpSpPr>
        <p:pic>
          <p:nvPicPr>
            <p:cNvPr id="3075" name="Picture 3">
              <a:extLst>
                <a:ext uri="{FF2B5EF4-FFF2-40B4-BE49-F238E27FC236}">
                  <a16:creationId xmlns:a16="http://schemas.microsoft.com/office/drawing/2014/main" id="{3369EEBA-ECC0-4FE2-B6EB-69F117712BC8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023625" y="2826992"/>
              <a:ext cx="979694" cy="97969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5" name="Picture 6">
              <a:extLst>
                <a:ext uri="{FF2B5EF4-FFF2-40B4-BE49-F238E27FC236}">
                  <a16:creationId xmlns:a16="http://schemas.microsoft.com/office/drawing/2014/main" id="{B29CA7C9-F66E-4BE8-92D3-D32F229F0BC2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023625" y="3994633"/>
              <a:ext cx="979694" cy="97969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7" name="Group 6">
            <a:extLst>
              <a:ext uri="{FF2B5EF4-FFF2-40B4-BE49-F238E27FC236}">
                <a16:creationId xmlns:a16="http://schemas.microsoft.com/office/drawing/2014/main" id="{A833B420-9EE0-41BB-9BD0-A8B9EC25FC72}"/>
              </a:ext>
            </a:extLst>
          </p:cNvPr>
          <p:cNvGrpSpPr/>
          <p:nvPr/>
        </p:nvGrpSpPr>
        <p:grpSpPr>
          <a:xfrm>
            <a:off x="7816645" y="2396300"/>
            <a:ext cx="979694" cy="2147338"/>
            <a:chOff x="7697377" y="2826992"/>
            <a:chExt cx="979694" cy="2147338"/>
          </a:xfrm>
        </p:grpSpPr>
        <p:pic>
          <p:nvPicPr>
            <p:cNvPr id="3080" name="Picture 8">
              <a:extLst>
                <a:ext uri="{FF2B5EF4-FFF2-40B4-BE49-F238E27FC236}">
                  <a16:creationId xmlns:a16="http://schemas.microsoft.com/office/drawing/2014/main" id="{7EB2B35A-B425-47A0-B088-20B7FA60963F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697377" y="2826992"/>
              <a:ext cx="979694" cy="97969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6" name="Picture 9">
              <a:extLst>
                <a:ext uri="{FF2B5EF4-FFF2-40B4-BE49-F238E27FC236}">
                  <a16:creationId xmlns:a16="http://schemas.microsoft.com/office/drawing/2014/main" id="{44F06AC6-BB07-44AE-8BCF-F16E3F191EC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697377" y="3994634"/>
              <a:ext cx="979694" cy="97969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7ED68744-4E01-4801-A78D-D1B172F4C29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726255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7ED68744-4E01-4801-A78D-D1B172F4C29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el 2">
            <a:extLst>
              <a:ext uri="{FF2B5EF4-FFF2-40B4-BE49-F238E27FC236}">
                <a16:creationId xmlns:a16="http://schemas.microsoft.com/office/drawing/2014/main" id="{37327073-11DD-47A1-A0A3-AEC7A599651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7501" y="282065"/>
            <a:ext cx="7891317" cy="380810"/>
          </a:xfrm>
        </p:spPr>
        <p:txBody>
          <a:bodyPr vert="horz"/>
          <a:lstStyle/>
          <a:p>
            <a:r>
              <a:rPr lang="de-DE">
                <a:cs typeface="Arial"/>
              </a:rPr>
              <a:t>Detecting data issues</a:t>
            </a:r>
            <a:endParaRPr lang="nb-NO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F623D925-8B03-4C79-B8CE-4001D099571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10</a:t>
            </a:fld>
            <a:endParaRPr lang="de-DE"/>
          </a:p>
        </p:txBody>
      </p:sp>
      <p:pic>
        <p:nvPicPr>
          <p:cNvPr id="8" name="Grafik 2" descr="countdown.gif">
            <a:extLst>
              <a:ext uri="{FF2B5EF4-FFF2-40B4-BE49-F238E27FC236}">
                <a16:creationId xmlns:a16="http://schemas.microsoft.com/office/drawing/2014/main" id="{9F18EF32-707B-47E4-B94B-5CA81854BA99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85113" y="4575685"/>
            <a:ext cx="1258887" cy="571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21" name="Group 20">
            <a:extLst>
              <a:ext uri="{FF2B5EF4-FFF2-40B4-BE49-F238E27FC236}">
                <a16:creationId xmlns:a16="http://schemas.microsoft.com/office/drawing/2014/main" id="{F2008B4A-35A3-4978-BE10-2C2337968913}"/>
              </a:ext>
            </a:extLst>
          </p:cNvPr>
          <p:cNvGrpSpPr>
            <a:grpSpLocks noChangeAspect="1"/>
          </p:cNvGrpSpPr>
          <p:nvPr/>
        </p:nvGrpSpPr>
        <p:grpSpPr>
          <a:xfrm>
            <a:off x="2052673" y="4120865"/>
            <a:ext cx="527966" cy="527966"/>
            <a:chOff x="982662" y="1847850"/>
            <a:chExt cx="269875" cy="269875"/>
          </a:xfrm>
        </p:grpSpPr>
        <p:sp>
          <p:nvSpPr>
            <p:cNvPr id="22" name="Oval 50">
              <a:extLst>
                <a:ext uri="{FF2B5EF4-FFF2-40B4-BE49-F238E27FC236}">
                  <a16:creationId xmlns:a16="http://schemas.microsoft.com/office/drawing/2014/main" id="{BD8C6A99-4A84-4C50-84CC-8AA4B716272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82662" y="1847850"/>
              <a:ext cx="269875" cy="269875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chemeClr val="bg1"/>
                </a:solidFill>
              </a:endParaRPr>
            </a:p>
          </p:txBody>
        </p:sp>
        <p:sp>
          <p:nvSpPr>
            <p:cNvPr id="23" name="Freeform 51">
              <a:extLst>
                <a:ext uri="{FF2B5EF4-FFF2-40B4-BE49-F238E27FC236}">
                  <a16:creationId xmlns:a16="http://schemas.microsoft.com/office/drawing/2014/main" id="{873A2D1A-B12E-4C06-A973-E40897EC681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2675" y="1895475"/>
              <a:ext cx="96837" cy="174625"/>
            </a:xfrm>
            <a:custGeom>
              <a:avLst/>
              <a:gdLst>
                <a:gd name="T0" fmla="*/ 6 w 61"/>
                <a:gd name="T1" fmla="*/ 0 h 110"/>
                <a:gd name="T2" fmla="*/ 0 w 61"/>
                <a:gd name="T3" fmla="*/ 7 h 110"/>
                <a:gd name="T4" fmla="*/ 48 w 61"/>
                <a:gd name="T5" fmla="*/ 55 h 110"/>
                <a:gd name="T6" fmla="*/ 0 w 61"/>
                <a:gd name="T7" fmla="*/ 104 h 110"/>
                <a:gd name="T8" fmla="*/ 6 w 61"/>
                <a:gd name="T9" fmla="*/ 110 h 110"/>
                <a:gd name="T10" fmla="*/ 54 w 61"/>
                <a:gd name="T11" fmla="*/ 62 h 110"/>
                <a:gd name="T12" fmla="*/ 61 w 61"/>
                <a:gd name="T13" fmla="*/ 55 h 110"/>
                <a:gd name="T14" fmla="*/ 54 w 61"/>
                <a:gd name="T15" fmla="*/ 49 h 110"/>
                <a:gd name="T16" fmla="*/ 6 w 61"/>
                <a:gd name="T17" fmla="*/ 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1" h="110">
                  <a:moveTo>
                    <a:pt x="6" y="0"/>
                  </a:moveTo>
                  <a:lnTo>
                    <a:pt x="0" y="7"/>
                  </a:lnTo>
                  <a:lnTo>
                    <a:pt x="48" y="55"/>
                  </a:lnTo>
                  <a:lnTo>
                    <a:pt x="0" y="104"/>
                  </a:lnTo>
                  <a:lnTo>
                    <a:pt x="6" y="110"/>
                  </a:lnTo>
                  <a:lnTo>
                    <a:pt x="54" y="62"/>
                  </a:lnTo>
                  <a:lnTo>
                    <a:pt x="61" y="55"/>
                  </a:lnTo>
                  <a:lnTo>
                    <a:pt x="54" y="49"/>
                  </a:lnTo>
                  <a:lnTo>
                    <a:pt x="6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chemeClr val="bg1"/>
                </a:solidFill>
              </a:endParaRPr>
            </a:p>
          </p:txBody>
        </p:sp>
      </p:grpSp>
      <p:sp>
        <p:nvSpPr>
          <p:cNvPr id="24" name="TekstSylinder 14">
            <a:extLst>
              <a:ext uri="{FF2B5EF4-FFF2-40B4-BE49-F238E27FC236}">
                <a16:creationId xmlns:a16="http://schemas.microsoft.com/office/drawing/2014/main" id="{FF13D5CB-945C-491A-BFDC-EFE18D8C44F8}"/>
              </a:ext>
            </a:extLst>
          </p:cNvPr>
          <p:cNvSpPr txBox="1"/>
          <p:nvPr/>
        </p:nvSpPr>
        <p:spPr>
          <a:xfrm>
            <a:off x="2633436" y="4224066"/>
            <a:ext cx="3916993" cy="321563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>
              <a:lnSpc>
                <a:spcPct val="113999"/>
              </a:lnSpc>
            </a:pPr>
            <a:r>
              <a:rPr lang="nb-NO" sz="2000">
                <a:latin typeface="Arial"/>
                <a:cs typeface="Arial"/>
              </a:rPr>
              <a:t>Data can make or break a model</a:t>
            </a:r>
            <a:endParaRPr lang="nb-NO" sz="2000"/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id="{2057C503-7744-4EB3-A235-B6C3EBAE0708}"/>
              </a:ext>
            </a:extLst>
          </p:cNvPr>
          <p:cNvGrpSpPr/>
          <p:nvPr/>
        </p:nvGrpSpPr>
        <p:grpSpPr>
          <a:xfrm>
            <a:off x="5779863" y="1382949"/>
            <a:ext cx="3137298" cy="2514381"/>
            <a:chOff x="5208681" y="1238254"/>
            <a:chExt cx="2801378" cy="2340156"/>
          </a:xfrm>
        </p:grpSpPr>
        <p:pic>
          <p:nvPicPr>
            <p:cNvPr id="6" name="Grafik 6" descr="Ein Bild, das Text, Elektronik enthält.&#10;&#10;Beschreibung automatisch generiert.">
              <a:extLst>
                <a:ext uri="{FF2B5EF4-FFF2-40B4-BE49-F238E27FC236}">
                  <a16:creationId xmlns:a16="http://schemas.microsoft.com/office/drawing/2014/main" id="{6B54A19B-7AF9-6E5B-13C8-BB679CDC2835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5208682" y="1238254"/>
              <a:ext cx="2801377" cy="2340156"/>
            </a:xfrm>
            <a:prstGeom prst="rect">
              <a:avLst/>
            </a:prstGeom>
          </p:spPr>
        </p:pic>
        <p:sp>
          <p:nvSpPr>
            <p:cNvPr id="27" name="Speech Bubble: Rectangle 26">
              <a:extLst>
                <a:ext uri="{FF2B5EF4-FFF2-40B4-BE49-F238E27FC236}">
                  <a16:creationId xmlns:a16="http://schemas.microsoft.com/office/drawing/2014/main" id="{41604AFD-D1AD-4015-8A3C-5311B3AC4FC7}"/>
                </a:ext>
              </a:extLst>
            </p:cNvPr>
            <p:cNvSpPr/>
            <p:nvPr/>
          </p:nvSpPr>
          <p:spPr>
            <a:xfrm>
              <a:off x="5208681" y="1238254"/>
              <a:ext cx="2801377" cy="2340156"/>
            </a:xfrm>
            <a:prstGeom prst="wedgeRectCallout">
              <a:avLst>
                <a:gd name="adj1" fmla="val -102707"/>
                <a:gd name="adj2" fmla="val -46932"/>
              </a:avLst>
            </a:prstGeom>
            <a:noFill/>
            <a:ln/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14000"/>
                </a:lnSpc>
              </a:pPr>
              <a:endParaRPr lang="en-US"/>
            </a:p>
          </p:txBody>
        </p:sp>
      </p:grpSp>
      <p:grpSp>
        <p:nvGrpSpPr>
          <p:cNvPr id="44" name="Group 43">
            <a:extLst>
              <a:ext uri="{FF2B5EF4-FFF2-40B4-BE49-F238E27FC236}">
                <a16:creationId xmlns:a16="http://schemas.microsoft.com/office/drawing/2014/main" id="{2EE3C2FE-3996-4FFA-9438-1F9F15CD1FA2}"/>
              </a:ext>
            </a:extLst>
          </p:cNvPr>
          <p:cNvGrpSpPr/>
          <p:nvPr/>
        </p:nvGrpSpPr>
        <p:grpSpPr>
          <a:xfrm>
            <a:off x="192111" y="1019758"/>
            <a:ext cx="2998269" cy="836167"/>
            <a:chOff x="192111" y="1019758"/>
            <a:chExt cx="2998269" cy="836167"/>
          </a:xfrm>
        </p:grpSpPr>
        <p:sp>
          <p:nvSpPr>
            <p:cNvPr id="17" name="TekstSylinder 16">
              <a:extLst>
                <a:ext uri="{FF2B5EF4-FFF2-40B4-BE49-F238E27FC236}">
                  <a16:creationId xmlns:a16="http://schemas.microsoft.com/office/drawing/2014/main" id="{70E503C6-BA5B-3456-3C5A-9A71C4B4AD3F}"/>
                </a:ext>
              </a:extLst>
            </p:cNvPr>
            <p:cNvSpPr txBox="1"/>
            <p:nvPr/>
          </p:nvSpPr>
          <p:spPr>
            <a:xfrm>
              <a:off x="1029085" y="1309217"/>
              <a:ext cx="2161295" cy="257250"/>
            </a:xfrm>
            <a:prstGeom prst="rect">
              <a:avLst/>
            </a:prstGeom>
            <a:noFill/>
          </p:spPr>
          <p:txBody>
            <a:bodyPr rot="0" spcFirstLastPara="0" vertOverflow="overflow" horzOverflow="overflow" vert="horz" wrap="square" lIns="0" tIns="0" rIns="0" bIns="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/>
            <a:p>
              <a:pPr>
                <a:lnSpc>
                  <a:spcPct val="113999"/>
                </a:lnSpc>
              </a:pPr>
              <a:r>
                <a:rPr lang="en-GB" sz="1600">
                  <a:latin typeface="Arial"/>
                  <a:cs typeface="Arial"/>
                </a:rPr>
                <a:t>Unbalanced</a:t>
              </a:r>
              <a:r>
                <a:rPr lang="nb-NO" sz="1600">
                  <a:latin typeface="Arial"/>
                  <a:cs typeface="Arial"/>
                </a:rPr>
                <a:t> </a:t>
              </a:r>
              <a:r>
                <a:rPr lang="nb-NO" sz="1600" err="1">
                  <a:latin typeface="Arial"/>
                  <a:cs typeface="Arial"/>
                </a:rPr>
                <a:t>dataset</a:t>
              </a:r>
              <a:endParaRPr lang="nb-NO" err="1"/>
            </a:p>
          </p:txBody>
        </p:sp>
        <p:grpSp>
          <p:nvGrpSpPr>
            <p:cNvPr id="29" name="Group 28">
              <a:extLst>
                <a:ext uri="{FF2B5EF4-FFF2-40B4-BE49-F238E27FC236}">
                  <a16:creationId xmlns:a16="http://schemas.microsoft.com/office/drawing/2014/main" id="{AABE05BA-2A92-4D98-BA6A-1467DD6A2F51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192111" y="1019758"/>
              <a:ext cx="836974" cy="836167"/>
              <a:chOff x="2632075" y="2606675"/>
              <a:chExt cx="1646238" cy="1644650"/>
            </a:xfrm>
          </p:grpSpPr>
          <p:sp>
            <p:nvSpPr>
              <p:cNvPr id="30" name="AutoShape 3">
                <a:extLst>
                  <a:ext uri="{FF2B5EF4-FFF2-40B4-BE49-F238E27FC236}">
                    <a16:creationId xmlns:a16="http://schemas.microsoft.com/office/drawing/2014/main" id="{64BF46B4-56E9-47EB-9062-DBBD98197C3D}"/>
                  </a:ext>
                </a:extLst>
              </p:cNvPr>
              <p:cNvSpPr>
                <a:spLocks noChangeAspect="1" noChangeArrowheads="1" noTextEdit="1"/>
              </p:cNvSpPr>
              <p:nvPr/>
            </p:nvSpPr>
            <p:spPr bwMode="auto">
              <a:xfrm>
                <a:off x="2632075" y="2606675"/>
                <a:ext cx="1646238" cy="164465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grpSp>
            <p:nvGrpSpPr>
              <p:cNvPr id="31" name="Group 30">
                <a:extLst>
                  <a:ext uri="{FF2B5EF4-FFF2-40B4-BE49-F238E27FC236}">
                    <a16:creationId xmlns:a16="http://schemas.microsoft.com/office/drawing/2014/main" id="{F60E891C-58A0-48C0-80D9-774C07C60480}"/>
                  </a:ext>
                </a:extLst>
              </p:cNvPr>
              <p:cNvGrpSpPr/>
              <p:nvPr/>
            </p:nvGrpSpPr>
            <p:grpSpPr>
              <a:xfrm>
                <a:off x="2773650" y="2884488"/>
                <a:ext cx="1363088" cy="1133475"/>
                <a:chOff x="2773650" y="2884488"/>
                <a:chExt cx="1363088" cy="1133475"/>
              </a:xfrm>
            </p:grpSpPr>
            <p:sp>
              <p:nvSpPr>
                <p:cNvPr id="32" name="Freeform 13">
                  <a:extLst>
                    <a:ext uri="{FF2B5EF4-FFF2-40B4-BE49-F238E27FC236}">
                      <a16:creationId xmlns:a16="http://schemas.microsoft.com/office/drawing/2014/main" id="{FD16F379-1A42-49E3-B2D3-4901A055DEE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773650" y="2884488"/>
                  <a:ext cx="1363088" cy="984250"/>
                </a:xfrm>
                <a:custGeom>
                  <a:avLst/>
                  <a:gdLst>
                    <a:gd name="connsiteX0" fmla="*/ 208906 w 1363088"/>
                    <a:gd name="connsiteY0" fmla="*/ 261937 h 984250"/>
                    <a:gd name="connsiteX1" fmla="*/ 70532 w 1363088"/>
                    <a:gd name="connsiteY1" fmla="*/ 658583 h 984250"/>
                    <a:gd name="connsiteX2" fmla="*/ 36295 w 1363088"/>
                    <a:gd name="connsiteY2" fmla="*/ 756317 h 984250"/>
                    <a:gd name="connsiteX3" fmla="*/ 32728 w 1363088"/>
                    <a:gd name="connsiteY3" fmla="*/ 804115 h 984250"/>
                    <a:gd name="connsiteX4" fmla="*/ 208906 w 1363088"/>
                    <a:gd name="connsiteY4" fmla="*/ 952500 h 984250"/>
                    <a:gd name="connsiteX5" fmla="*/ 385797 w 1363088"/>
                    <a:gd name="connsiteY5" fmla="*/ 804115 h 984250"/>
                    <a:gd name="connsiteX6" fmla="*/ 381517 w 1363088"/>
                    <a:gd name="connsiteY6" fmla="*/ 756317 h 984250"/>
                    <a:gd name="connsiteX7" fmla="*/ 347994 w 1363088"/>
                    <a:gd name="connsiteY7" fmla="*/ 658583 h 984250"/>
                    <a:gd name="connsiteX8" fmla="*/ 572406 w 1363088"/>
                    <a:gd name="connsiteY8" fmla="*/ 93662 h 984250"/>
                    <a:gd name="connsiteX9" fmla="*/ 570978 w 1363088"/>
                    <a:gd name="connsiteY9" fmla="*/ 114373 h 984250"/>
                    <a:gd name="connsiteX10" fmla="*/ 570978 w 1363088"/>
                    <a:gd name="connsiteY10" fmla="*/ 126515 h 984250"/>
                    <a:gd name="connsiteX11" fmla="*/ 425264 w 1363088"/>
                    <a:gd name="connsiteY11" fmla="*/ 168651 h 984250"/>
                    <a:gd name="connsiteX12" fmla="*/ 575978 w 1363088"/>
                    <a:gd name="connsiteY12" fmla="*/ 147940 h 984250"/>
                    <a:gd name="connsiteX13" fmla="*/ 590263 w 1363088"/>
                    <a:gd name="connsiteY13" fmla="*/ 177222 h 984250"/>
                    <a:gd name="connsiteX14" fmla="*/ 230980 w 1363088"/>
                    <a:gd name="connsiteY14" fmla="*/ 226500 h 984250"/>
                    <a:gd name="connsiteX15" fmla="*/ 378122 w 1363088"/>
                    <a:gd name="connsiteY15" fmla="*/ 647869 h 984250"/>
                    <a:gd name="connsiteX16" fmla="*/ 412407 w 1363088"/>
                    <a:gd name="connsiteY16" fmla="*/ 746427 h 984250"/>
                    <a:gd name="connsiteX17" fmla="*/ 417407 w 1363088"/>
                    <a:gd name="connsiteY17" fmla="*/ 809275 h 984250"/>
                    <a:gd name="connsiteX18" fmla="*/ 209552 w 1363088"/>
                    <a:gd name="connsiteY18" fmla="*/ 984250 h 984250"/>
                    <a:gd name="connsiteX19" fmla="*/ 1697 w 1363088"/>
                    <a:gd name="connsiteY19" fmla="*/ 809275 h 984250"/>
                    <a:gd name="connsiteX20" fmla="*/ 7411 w 1363088"/>
                    <a:gd name="connsiteY20" fmla="*/ 746427 h 984250"/>
                    <a:gd name="connsiteX21" fmla="*/ 40982 w 1363088"/>
                    <a:gd name="connsiteY21" fmla="*/ 647869 h 984250"/>
                    <a:gd name="connsiteX22" fmla="*/ 195266 w 1363088"/>
                    <a:gd name="connsiteY22" fmla="*/ 208646 h 984250"/>
                    <a:gd name="connsiteX23" fmla="*/ 195266 w 1363088"/>
                    <a:gd name="connsiteY23" fmla="*/ 207217 h 984250"/>
                    <a:gd name="connsiteX24" fmla="*/ 195981 w 1363088"/>
                    <a:gd name="connsiteY24" fmla="*/ 205789 h 984250"/>
                    <a:gd name="connsiteX25" fmla="*/ 196695 w 1363088"/>
                    <a:gd name="connsiteY25" fmla="*/ 205075 h 984250"/>
                    <a:gd name="connsiteX26" fmla="*/ 197409 w 1363088"/>
                    <a:gd name="connsiteY26" fmla="*/ 203647 h 984250"/>
                    <a:gd name="connsiteX27" fmla="*/ 198123 w 1363088"/>
                    <a:gd name="connsiteY27" fmla="*/ 202932 h 984250"/>
                    <a:gd name="connsiteX28" fmla="*/ 199552 w 1363088"/>
                    <a:gd name="connsiteY28" fmla="*/ 201504 h 984250"/>
                    <a:gd name="connsiteX29" fmla="*/ 200266 w 1363088"/>
                    <a:gd name="connsiteY29" fmla="*/ 200790 h 984250"/>
                    <a:gd name="connsiteX30" fmla="*/ 202409 w 1363088"/>
                    <a:gd name="connsiteY30" fmla="*/ 200076 h 984250"/>
                    <a:gd name="connsiteX31" fmla="*/ 202409 w 1363088"/>
                    <a:gd name="connsiteY31" fmla="*/ 199361 h 984250"/>
                    <a:gd name="connsiteX32" fmla="*/ 205266 w 1363088"/>
                    <a:gd name="connsiteY32" fmla="*/ 198647 h 984250"/>
                    <a:gd name="connsiteX33" fmla="*/ 572406 w 1363088"/>
                    <a:gd name="connsiteY33" fmla="*/ 93662 h 984250"/>
                    <a:gd name="connsiteX34" fmla="*/ 1154182 w 1363088"/>
                    <a:gd name="connsiteY34" fmla="*/ 63500 h 984250"/>
                    <a:gd name="connsiteX35" fmla="*/ 1015095 w 1363088"/>
                    <a:gd name="connsiteY35" fmla="*/ 460146 h 984250"/>
                    <a:gd name="connsiteX36" fmla="*/ 981571 w 1363088"/>
                    <a:gd name="connsiteY36" fmla="*/ 557880 h 984250"/>
                    <a:gd name="connsiteX37" fmla="*/ 977291 w 1363088"/>
                    <a:gd name="connsiteY37" fmla="*/ 605678 h 984250"/>
                    <a:gd name="connsiteX38" fmla="*/ 1154182 w 1363088"/>
                    <a:gd name="connsiteY38" fmla="*/ 754063 h 984250"/>
                    <a:gd name="connsiteX39" fmla="*/ 1330360 w 1363088"/>
                    <a:gd name="connsiteY39" fmla="*/ 605678 h 984250"/>
                    <a:gd name="connsiteX40" fmla="*/ 1326794 w 1363088"/>
                    <a:gd name="connsiteY40" fmla="*/ 557880 h 984250"/>
                    <a:gd name="connsiteX41" fmla="*/ 1292557 w 1363088"/>
                    <a:gd name="connsiteY41" fmla="*/ 460146 h 984250"/>
                    <a:gd name="connsiteX42" fmla="*/ 1154182 w 1363088"/>
                    <a:gd name="connsiteY42" fmla="*/ 63500 h 984250"/>
                    <a:gd name="connsiteX43" fmla="*/ 1151393 w 1363088"/>
                    <a:gd name="connsiteY43" fmla="*/ 0 h 984250"/>
                    <a:gd name="connsiteX44" fmla="*/ 1152108 w 1363088"/>
                    <a:gd name="connsiteY44" fmla="*/ 0 h 984250"/>
                    <a:gd name="connsiteX45" fmla="*/ 1153536 w 1363088"/>
                    <a:gd name="connsiteY45" fmla="*/ 0 h 984250"/>
                    <a:gd name="connsiteX46" fmla="*/ 1154965 w 1363088"/>
                    <a:gd name="connsiteY46" fmla="*/ 0 h 984250"/>
                    <a:gd name="connsiteX47" fmla="*/ 1156393 w 1363088"/>
                    <a:gd name="connsiteY47" fmla="*/ 714 h 984250"/>
                    <a:gd name="connsiteX48" fmla="*/ 1157822 w 1363088"/>
                    <a:gd name="connsiteY48" fmla="*/ 714 h 984250"/>
                    <a:gd name="connsiteX49" fmla="*/ 1159251 w 1363088"/>
                    <a:gd name="connsiteY49" fmla="*/ 1428 h 984250"/>
                    <a:gd name="connsiteX50" fmla="*/ 1159965 w 1363088"/>
                    <a:gd name="connsiteY50" fmla="*/ 1428 h 984250"/>
                    <a:gd name="connsiteX51" fmla="*/ 1162108 w 1363088"/>
                    <a:gd name="connsiteY51" fmla="*/ 2855 h 984250"/>
                    <a:gd name="connsiteX52" fmla="*/ 1162822 w 1363088"/>
                    <a:gd name="connsiteY52" fmla="*/ 2855 h 984250"/>
                    <a:gd name="connsiteX53" fmla="*/ 1164251 w 1363088"/>
                    <a:gd name="connsiteY53" fmla="*/ 4996 h 984250"/>
                    <a:gd name="connsiteX54" fmla="*/ 1164965 w 1363088"/>
                    <a:gd name="connsiteY54" fmla="*/ 5710 h 984250"/>
                    <a:gd name="connsiteX55" fmla="*/ 1166393 w 1363088"/>
                    <a:gd name="connsiteY55" fmla="*/ 7137 h 984250"/>
                    <a:gd name="connsiteX56" fmla="*/ 1166393 w 1363088"/>
                    <a:gd name="connsiteY56" fmla="*/ 7851 h 984250"/>
                    <a:gd name="connsiteX57" fmla="*/ 1167822 w 1363088"/>
                    <a:gd name="connsiteY57" fmla="*/ 9279 h 984250"/>
                    <a:gd name="connsiteX58" fmla="*/ 1167822 w 1363088"/>
                    <a:gd name="connsiteY58" fmla="*/ 9992 h 984250"/>
                    <a:gd name="connsiteX59" fmla="*/ 1167822 w 1363088"/>
                    <a:gd name="connsiteY59" fmla="*/ 10706 h 984250"/>
                    <a:gd name="connsiteX60" fmla="*/ 1322106 w 1363088"/>
                    <a:gd name="connsiteY60" fmla="*/ 450362 h 984250"/>
                    <a:gd name="connsiteX61" fmla="*/ 1355678 w 1363088"/>
                    <a:gd name="connsiteY61" fmla="*/ 548142 h 984250"/>
                    <a:gd name="connsiteX62" fmla="*/ 1361392 w 1363088"/>
                    <a:gd name="connsiteY62" fmla="*/ 610950 h 984250"/>
                    <a:gd name="connsiteX63" fmla="*/ 1153536 w 1363088"/>
                    <a:gd name="connsiteY63" fmla="*/ 785813 h 984250"/>
                    <a:gd name="connsiteX64" fmla="*/ 945681 w 1363088"/>
                    <a:gd name="connsiteY64" fmla="*/ 610950 h 984250"/>
                    <a:gd name="connsiteX65" fmla="*/ 950681 w 1363088"/>
                    <a:gd name="connsiteY65" fmla="*/ 548142 h 984250"/>
                    <a:gd name="connsiteX66" fmla="*/ 984966 w 1363088"/>
                    <a:gd name="connsiteY66" fmla="*/ 450362 h 984250"/>
                    <a:gd name="connsiteX67" fmla="*/ 1128537 w 1363088"/>
                    <a:gd name="connsiteY67" fmla="*/ 39255 h 984250"/>
                    <a:gd name="connsiteX68" fmla="*/ 790682 w 1363088"/>
                    <a:gd name="connsiteY68" fmla="*/ 136322 h 984250"/>
                    <a:gd name="connsiteX69" fmla="*/ 792111 w 1363088"/>
                    <a:gd name="connsiteY69" fmla="*/ 109200 h 984250"/>
                    <a:gd name="connsiteX70" fmla="*/ 792111 w 1363088"/>
                    <a:gd name="connsiteY70" fmla="*/ 102777 h 984250"/>
                    <a:gd name="connsiteX71" fmla="*/ 937824 w 1363088"/>
                    <a:gd name="connsiteY71" fmla="*/ 61381 h 984250"/>
                    <a:gd name="connsiteX72" fmla="*/ 787111 w 1363088"/>
                    <a:gd name="connsiteY72" fmla="*/ 81365 h 984250"/>
                    <a:gd name="connsiteX73" fmla="*/ 772825 w 1363088"/>
                    <a:gd name="connsiteY73" fmla="*/ 52102 h 984250"/>
                    <a:gd name="connsiteX74" fmla="*/ 1151393 w 1363088"/>
                    <a:gd name="connsiteY74" fmla="*/ 0 h 9842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</a:cxnLst>
                  <a:rect l="l" t="t" r="r" b="b"/>
                  <a:pathLst>
                    <a:path w="1363088" h="984250">
                      <a:moveTo>
                        <a:pt x="208906" y="261937"/>
                      </a:moveTo>
                      <a:cubicBezTo>
                        <a:pt x="208906" y="261937"/>
                        <a:pt x="208906" y="261937"/>
                        <a:pt x="70532" y="658583"/>
                      </a:cubicBezTo>
                      <a:cubicBezTo>
                        <a:pt x="70532" y="658583"/>
                        <a:pt x="70532" y="658583"/>
                        <a:pt x="36295" y="756317"/>
                      </a:cubicBezTo>
                      <a:cubicBezTo>
                        <a:pt x="31302" y="772012"/>
                        <a:pt x="29875" y="788420"/>
                        <a:pt x="32728" y="804115"/>
                      </a:cubicBezTo>
                      <a:cubicBezTo>
                        <a:pt x="46994" y="889722"/>
                        <a:pt x="121174" y="952500"/>
                        <a:pt x="208906" y="952500"/>
                      </a:cubicBezTo>
                      <a:cubicBezTo>
                        <a:pt x="296638" y="952500"/>
                        <a:pt x="370818" y="889722"/>
                        <a:pt x="385797" y="804115"/>
                      </a:cubicBezTo>
                      <a:cubicBezTo>
                        <a:pt x="388650" y="788420"/>
                        <a:pt x="387224" y="772012"/>
                        <a:pt x="381517" y="756317"/>
                      </a:cubicBezTo>
                      <a:cubicBezTo>
                        <a:pt x="381517" y="756317"/>
                        <a:pt x="381517" y="756317"/>
                        <a:pt x="347994" y="658583"/>
                      </a:cubicBezTo>
                      <a:close/>
                      <a:moveTo>
                        <a:pt x="572406" y="93662"/>
                      </a:moveTo>
                      <a:cubicBezTo>
                        <a:pt x="571692" y="100090"/>
                        <a:pt x="570978" y="107232"/>
                        <a:pt x="570978" y="114373"/>
                      </a:cubicBezTo>
                      <a:cubicBezTo>
                        <a:pt x="570978" y="118659"/>
                        <a:pt x="570978" y="122230"/>
                        <a:pt x="570978" y="126515"/>
                      </a:cubicBezTo>
                      <a:cubicBezTo>
                        <a:pt x="570978" y="126515"/>
                        <a:pt x="570978" y="126515"/>
                        <a:pt x="425264" y="168651"/>
                      </a:cubicBezTo>
                      <a:cubicBezTo>
                        <a:pt x="425264" y="168651"/>
                        <a:pt x="425264" y="168651"/>
                        <a:pt x="575978" y="147940"/>
                      </a:cubicBezTo>
                      <a:cubicBezTo>
                        <a:pt x="578835" y="158653"/>
                        <a:pt x="583835" y="168651"/>
                        <a:pt x="590263" y="177222"/>
                      </a:cubicBezTo>
                      <a:cubicBezTo>
                        <a:pt x="590263" y="177222"/>
                        <a:pt x="590263" y="177222"/>
                        <a:pt x="230980" y="226500"/>
                      </a:cubicBezTo>
                      <a:cubicBezTo>
                        <a:pt x="230980" y="226500"/>
                        <a:pt x="230980" y="226500"/>
                        <a:pt x="378122" y="647869"/>
                      </a:cubicBezTo>
                      <a:cubicBezTo>
                        <a:pt x="378122" y="647869"/>
                        <a:pt x="378122" y="647869"/>
                        <a:pt x="412407" y="746427"/>
                      </a:cubicBezTo>
                      <a:cubicBezTo>
                        <a:pt x="419550" y="766424"/>
                        <a:pt x="420979" y="788564"/>
                        <a:pt x="417407" y="809275"/>
                      </a:cubicBezTo>
                      <a:cubicBezTo>
                        <a:pt x="400265" y="910689"/>
                        <a:pt x="313123" y="984250"/>
                        <a:pt x="209552" y="984250"/>
                      </a:cubicBezTo>
                      <a:cubicBezTo>
                        <a:pt x="106696" y="984250"/>
                        <a:pt x="19554" y="910689"/>
                        <a:pt x="1697" y="809275"/>
                      </a:cubicBezTo>
                      <a:cubicBezTo>
                        <a:pt x="-1875" y="788564"/>
                        <a:pt x="268" y="766424"/>
                        <a:pt x="7411" y="746427"/>
                      </a:cubicBezTo>
                      <a:cubicBezTo>
                        <a:pt x="7411" y="746427"/>
                        <a:pt x="7411" y="746427"/>
                        <a:pt x="40982" y="647869"/>
                      </a:cubicBezTo>
                      <a:cubicBezTo>
                        <a:pt x="40982" y="647869"/>
                        <a:pt x="40982" y="647869"/>
                        <a:pt x="195266" y="208646"/>
                      </a:cubicBezTo>
                      <a:cubicBezTo>
                        <a:pt x="195266" y="207932"/>
                        <a:pt x="195266" y="207932"/>
                        <a:pt x="195266" y="207217"/>
                      </a:cubicBezTo>
                      <a:cubicBezTo>
                        <a:pt x="195266" y="207217"/>
                        <a:pt x="195981" y="206503"/>
                        <a:pt x="195981" y="205789"/>
                      </a:cubicBezTo>
                      <a:cubicBezTo>
                        <a:pt x="195981" y="205789"/>
                        <a:pt x="196695" y="205075"/>
                        <a:pt x="196695" y="205075"/>
                      </a:cubicBezTo>
                      <a:cubicBezTo>
                        <a:pt x="196695" y="204361"/>
                        <a:pt x="197409" y="204361"/>
                        <a:pt x="197409" y="203647"/>
                      </a:cubicBezTo>
                      <a:cubicBezTo>
                        <a:pt x="198123" y="203647"/>
                        <a:pt x="198123" y="202932"/>
                        <a:pt x="198123" y="202932"/>
                      </a:cubicBezTo>
                      <a:cubicBezTo>
                        <a:pt x="198838" y="202218"/>
                        <a:pt x="198838" y="202218"/>
                        <a:pt x="199552" y="201504"/>
                      </a:cubicBezTo>
                      <a:cubicBezTo>
                        <a:pt x="199552" y="201504"/>
                        <a:pt x="200266" y="201504"/>
                        <a:pt x="200266" y="200790"/>
                      </a:cubicBezTo>
                      <a:cubicBezTo>
                        <a:pt x="200981" y="200790"/>
                        <a:pt x="201695" y="200076"/>
                        <a:pt x="202409" y="200076"/>
                      </a:cubicBezTo>
                      <a:cubicBezTo>
                        <a:pt x="202409" y="200076"/>
                        <a:pt x="202409" y="199361"/>
                        <a:pt x="202409" y="199361"/>
                      </a:cubicBezTo>
                      <a:cubicBezTo>
                        <a:pt x="203123" y="199361"/>
                        <a:pt x="204552" y="198647"/>
                        <a:pt x="205266" y="198647"/>
                      </a:cubicBezTo>
                      <a:cubicBezTo>
                        <a:pt x="205266" y="198647"/>
                        <a:pt x="205266" y="198647"/>
                        <a:pt x="572406" y="93662"/>
                      </a:cubicBezTo>
                      <a:close/>
                      <a:moveTo>
                        <a:pt x="1154182" y="63500"/>
                      </a:moveTo>
                      <a:cubicBezTo>
                        <a:pt x="1154182" y="63500"/>
                        <a:pt x="1154182" y="63500"/>
                        <a:pt x="1015095" y="460146"/>
                      </a:cubicBezTo>
                      <a:cubicBezTo>
                        <a:pt x="1015095" y="460146"/>
                        <a:pt x="1015095" y="460146"/>
                        <a:pt x="981571" y="557880"/>
                      </a:cubicBezTo>
                      <a:cubicBezTo>
                        <a:pt x="975865" y="573575"/>
                        <a:pt x="974438" y="589983"/>
                        <a:pt x="977291" y="605678"/>
                      </a:cubicBezTo>
                      <a:cubicBezTo>
                        <a:pt x="992270" y="691998"/>
                        <a:pt x="1066450" y="754063"/>
                        <a:pt x="1154182" y="754063"/>
                      </a:cubicBezTo>
                      <a:cubicBezTo>
                        <a:pt x="1241915" y="754063"/>
                        <a:pt x="1316095" y="691998"/>
                        <a:pt x="1330360" y="605678"/>
                      </a:cubicBezTo>
                      <a:cubicBezTo>
                        <a:pt x="1333213" y="589983"/>
                        <a:pt x="1331787" y="573575"/>
                        <a:pt x="1326794" y="557880"/>
                      </a:cubicBezTo>
                      <a:cubicBezTo>
                        <a:pt x="1326794" y="557880"/>
                        <a:pt x="1326794" y="557880"/>
                        <a:pt x="1292557" y="460146"/>
                      </a:cubicBezTo>
                      <a:cubicBezTo>
                        <a:pt x="1292557" y="460146"/>
                        <a:pt x="1292557" y="460146"/>
                        <a:pt x="1154182" y="63500"/>
                      </a:cubicBezTo>
                      <a:close/>
                      <a:moveTo>
                        <a:pt x="1151393" y="0"/>
                      </a:moveTo>
                      <a:cubicBezTo>
                        <a:pt x="1151393" y="0"/>
                        <a:pt x="1151393" y="0"/>
                        <a:pt x="1152108" y="0"/>
                      </a:cubicBezTo>
                      <a:cubicBezTo>
                        <a:pt x="1152108" y="0"/>
                        <a:pt x="1152822" y="0"/>
                        <a:pt x="1153536" y="0"/>
                      </a:cubicBezTo>
                      <a:cubicBezTo>
                        <a:pt x="1154251" y="0"/>
                        <a:pt x="1154251" y="0"/>
                        <a:pt x="1154965" y="0"/>
                      </a:cubicBezTo>
                      <a:cubicBezTo>
                        <a:pt x="1155679" y="0"/>
                        <a:pt x="1155679" y="714"/>
                        <a:pt x="1156393" y="714"/>
                      </a:cubicBezTo>
                      <a:cubicBezTo>
                        <a:pt x="1157108" y="714"/>
                        <a:pt x="1157108" y="714"/>
                        <a:pt x="1157822" y="714"/>
                      </a:cubicBezTo>
                      <a:cubicBezTo>
                        <a:pt x="1157822" y="714"/>
                        <a:pt x="1158536" y="1428"/>
                        <a:pt x="1159251" y="1428"/>
                      </a:cubicBezTo>
                      <a:cubicBezTo>
                        <a:pt x="1159251" y="1428"/>
                        <a:pt x="1159965" y="1428"/>
                        <a:pt x="1159965" y="1428"/>
                      </a:cubicBezTo>
                      <a:cubicBezTo>
                        <a:pt x="1160679" y="2141"/>
                        <a:pt x="1161393" y="2141"/>
                        <a:pt x="1162108" y="2855"/>
                      </a:cubicBezTo>
                      <a:cubicBezTo>
                        <a:pt x="1162108" y="2855"/>
                        <a:pt x="1162108" y="2855"/>
                        <a:pt x="1162822" y="2855"/>
                      </a:cubicBezTo>
                      <a:cubicBezTo>
                        <a:pt x="1163536" y="3569"/>
                        <a:pt x="1163536" y="4282"/>
                        <a:pt x="1164251" y="4996"/>
                      </a:cubicBezTo>
                      <a:cubicBezTo>
                        <a:pt x="1164965" y="4996"/>
                        <a:pt x="1164965" y="4996"/>
                        <a:pt x="1164965" y="5710"/>
                      </a:cubicBezTo>
                      <a:cubicBezTo>
                        <a:pt x="1165679" y="5710"/>
                        <a:pt x="1165679" y="6424"/>
                        <a:pt x="1166393" y="7137"/>
                      </a:cubicBezTo>
                      <a:cubicBezTo>
                        <a:pt x="1166393" y="7137"/>
                        <a:pt x="1166393" y="7137"/>
                        <a:pt x="1166393" y="7851"/>
                      </a:cubicBezTo>
                      <a:cubicBezTo>
                        <a:pt x="1167108" y="7851"/>
                        <a:pt x="1167108" y="8565"/>
                        <a:pt x="1167822" y="9279"/>
                      </a:cubicBezTo>
                      <a:cubicBezTo>
                        <a:pt x="1167822" y="9279"/>
                        <a:pt x="1167822" y="9992"/>
                        <a:pt x="1167822" y="9992"/>
                      </a:cubicBezTo>
                      <a:cubicBezTo>
                        <a:pt x="1167822" y="9992"/>
                        <a:pt x="1167822" y="10706"/>
                        <a:pt x="1167822" y="10706"/>
                      </a:cubicBezTo>
                      <a:cubicBezTo>
                        <a:pt x="1167822" y="10706"/>
                        <a:pt x="1167822" y="10706"/>
                        <a:pt x="1322106" y="450362"/>
                      </a:cubicBezTo>
                      <a:lnTo>
                        <a:pt x="1355678" y="548142"/>
                      </a:lnTo>
                      <a:cubicBezTo>
                        <a:pt x="1362820" y="568840"/>
                        <a:pt x="1364963" y="590252"/>
                        <a:pt x="1361392" y="610950"/>
                      </a:cubicBezTo>
                      <a:cubicBezTo>
                        <a:pt x="1343535" y="712299"/>
                        <a:pt x="1256393" y="785813"/>
                        <a:pt x="1153536" y="785813"/>
                      </a:cubicBezTo>
                      <a:cubicBezTo>
                        <a:pt x="1049966" y="785813"/>
                        <a:pt x="962824" y="712299"/>
                        <a:pt x="945681" y="610950"/>
                      </a:cubicBezTo>
                      <a:cubicBezTo>
                        <a:pt x="942109" y="590252"/>
                        <a:pt x="943538" y="568840"/>
                        <a:pt x="950681" y="548142"/>
                      </a:cubicBezTo>
                      <a:cubicBezTo>
                        <a:pt x="950681" y="548142"/>
                        <a:pt x="950681" y="548142"/>
                        <a:pt x="984966" y="450362"/>
                      </a:cubicBezTo>
                      <a:cubicBezTo>
                        <a:pt x="984966" y="450362"/>
                        <a:pt x="984966" y="450362"/>
                        <a:pt x="1128537" y="39255"/>
                      </a:cubicBezTo>
                      <a:cubicBezTo>
                        <a:pt x="1128537" y="39255"/>
                        <a:pt x="1128537" y="39255"/>
                        <a:pt x="790682" y="136322"/>
                      </a:cubicBezTo>
                      <a:cubicBezTo>
                        <a:pt x="792111" y="127043"/>
                        <a:pt x="792825" y="118479"/>
                        <a:pt x="792111" y="109200"/>
                      </a:cubicBezTo>
                      <a:cubicBezTo>
                        <a:pt x="792111" y="107059"/>
                        <a:pt x="792111" y="104918"/>
                        <a:pt x="792111" y="102777"/>
                      </a:cubicBezTo>
                      <a:cubicBezTo>
                        <a:pt x="792111" y="102777"/>
                        <a:pt x="792111" y="102777"/>
                        <a:pt x="937824" y="61381"/>
                      </a:cubicBezTo>
                      <a:cubicBezTo>
                        <a:pt x="937824" y="61381"/>
                        <a:pt x="937824" y="61381"/>
                        <a:pt x="787111" y="81365"/>
                      </a:cubicBezTo>
                      <a:cubicBezTo>
                        <a:pt x="784254" y="71373"/>
                        <a:pt x="779254" y="61381"/>
                        <a:pt x="772825" y="52102"/>
                      </a:cubicBezTo>
                      <a:cubicBezTo>
                        <a:pt x="772825" y="52102"/>
                        <a:pt x="772825" y="52102"/>
                        <a:pt x="1151393" y="0"/>
                      </a:cubicBezTo>
                      <a:close/>
                    </a:path>
                  </a:pathLst>
                </a:custGeom>
                <a:solidFill>
                  <a:schemeClr val="accent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en-US"/>
                </a:p>
              </p:txBody>
            </p:sp>
            <p:sp>
              <p:nvSpPr>
                <p:cNvPr id="33" name="Freeform 14">
                  <a:extLst>
                    <a:ext uri="{FF2B5EF4-FFF2-40B4-BE49-F238E27FC236}">
                      <a16:creationId xmlns:a16="http://schemas.microsoft.com/office/drawing/2014/main" id="{051CA803-3B62-4881-A1DF-615E024E521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835275" y="2919413"/>
                  <a:ext cx="1239838" cy="1098550"/>
                </a:xfrm>
                <a:custGeom>
                  <a:avLst/>
                  <a:gdLst>
                    <a:gd name="connsiteX0" fmla="*/ 0 w 1239838"/>
                    <a:gd name="connsiteY0" fmla="*/ 744537 h 1098550"/>
                    <a:gd name="connsiteX1" fmla="*/ 295275 w 1239838"/>
                    <a:gd name="connsiteY1" fmla="*/ 744537 h 1098550"/>
                    <a:gd name="connsiteX2" fmla="*/ 147637 w 1239838"/>
                    <a:gd name="connsiteY2" fmla="*/ 885825 h 1098550"/>
                    <a:gd name="connsiteX3" fmla="*/ 0 w 1239838"/>
                    <a:gd name="connsiteY3" fmla="*/ 744537 h 1098550"/>
                    <a:gd name="connsiteX4" fmla="*/ 944563 w 1239838"/>
                    <a:gd name="connsiteY4" fmla="*/ 544512 h 1098550"/>
                    <a:gd name="connsiteX5" fmla="*/ 1239838 w 1239838"/>
                    <a:gd name="connsiteY5" fmla="*/ 544512 h 1098550"/>
                    <a:gd name="connsiteX6" fmla="*/ 1092201 w 1239838"/>
                    <a:gd name="connsiteY6" fmla="*/ 687387 h 1098550"/>
                    <a:gd name="connsiteX7" fmla="*/ 944563 w 1239838"/>
                    <a:gd name="connsiteY7" fmla="*/ 544512 h 1098550"/>
                    <a:gd name="connsiteX8" fmla="*/ 619562 w 1239838"/>
                    <a:gd name="connsiteY8" fmla="*/ 0 h 1098550"/>
                    <a:gd name="connsiteX9" fmla="*/ 624567 w 1239838"/>
                    <a:gd name="connsiteY9" fmla="*/ 0 h 1098550"/>
                    <a:gd name="connsiteX10" fmla="*/ 673900 w 1239838"/>
                    <a:gd name="connsiteY10" fmla="*/ 21428 h 1098550"/>
                    <a:gd name="connsiteX11" fmla="*/ 693920 w 1239838"/>
                    <a:gd name="connsiteY11" fmla="*/ 49999 h 1098550"/>
                    <a:gd name="connsiteX12" fmla="*/ 698925 w 1239838"/>
                    <a:gd name="connsiteY12" fmla="*/ 74999 h 1098550"/>
                    <a:gd name="connsiteX13" fmla="*/ 698925 w 1239838"/>
                    <a:gd name="connsiteY13" fmla="*/ 76427 h 1098550"/>
                    <a:gd name="connsiteX14" fmla="*/ 692490 w 1239838"/>
                    <a:gd name="connsiteY14" fmla="*/ 110712 h 1098550"/>
                    <a:gd name="connsiteX15" fmla="*/ 660316 w 1239838"/>
                    <a:gd name="connsiteY15" fmla="*/ 147854 h 1098550"/>
                    <a:gd name="connsiteX16" fmla="*/ 660316 w 1239838"/>
                    <a:gd name="connsiteY16" fmla="*/ 987838 h 1098550"/>
                    <a:gd name="connsiteX17" fmla="*/ 672470 w 1239838"/>
                    <a:gd name="connsiteY17" fmla="*/ 1002838 h 1098550"/>
                    <a:gd name="connsiteX18" fmla="*/ 929864 w 1239838"/>
                    <a:gd name="connsiteY18" fmla="*/ 1067837 h 1098550"/>
                    <a:gd name="connsiteX19" fmla="*/ 926289 w 1239838"/>
                    <a:gd name="connsiteY19" fmla="*/ 1098550 h 1098550"/>
                    <a:gd name="connsiteX20" fmla="*/ 313550 w 1239838"/>
                    <a:gd name="connsiteY20" fmla="*/ 1098550 h 1098550"/>
                    <a:gd name="connsiteX21" fmla="*/ 309975 w 1239838"/>
                    <a:gd name="connsiteY21" fmla="*/ 1067837 h 1098550"/>
                    <a:gd name="connsiteX22" fmla="*/ 570943 w 1239838"/>
                    <a:gd name="connsiteY22" fmla="*/ 1002838 h 1098550"/>
                    <a:gd name="connsiteX23" fmla="*/ 583098 w 1239838"/>
                    <a:gd name="connsiteY23" fmla="*/ 987838 h 1098550"/>
                    <a:gd name="connsiteX24" fmla="*/ 583098 w 1239838"/>
                    <a:gd name="connsiteY24" fmla="*/ 149997 h 1098550"/>
                    <a:gd name="connsiteX25" fmla="*/ 565223 w 1239838"/>
                    <a:gd name="connsiteY25" fmla="*/ 137140 h 1098550"/>
                    <a:gd name="connsiteX26" fmla="*/ 545204 w 1239838"/>
                    <a:gd name="connsiteY26" fmla="*/ 108569 h 1098550"/>
                    <a:gd name="connsiteX27" fmla="*/ 540199 w 1239838"/>
                    <a:gd name="connsiteY27" fmla="*/ 82856 h 1098550"/>
                    <a:gd name="connsiteX28" fmla="*/ 540199 w 1239838"/>
                    <a:gd name="connsiteY28" fmla="*/ 79284 h 1098550"/>
                    <a:gd name="connsiteX29" fmla="*/ 545919 w 1239838"/>
                    <a:gd name="connsiteY29" fmla="*/ 47856 h 1098550"/>
                    <a:gd name="connsiteX30" fmla="*/ 619562 w 1239838"/>
                    <a:gd name="connsiteY30" fmla="*/ 0 h 10985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</a:cxnLst>
                  <a:rect l="l" t="t" r="r" b="b"/>
                  <a:pathLst>
                    <a:path w="1239838" h="1098550">
                      <a:moveTo>
                        <a:pt x="0" y="744537"/>
                      </a:moveTo>
                      <a:cubicBezTo>
                        <a:pt x="0" y="744537"/>
                        <a:pt x="0" y="744537"/>
                        <a:pt x="295275" y="744537"/>
                      </a:cubicBezTo>
                      <a:cubicBezTo>
                        <a:pt x="293135" y="822246"/>
                        <a:pt x="226805" y="885825"/>
                        <a:pt x="147637" y="885825"/>
                      </a:cubicBezTo>
                      <a:cubicBezTo>
                        <a:pt x="69183" y="885825"/>
                        <a:pt x="2853" y="822246"/>
                        <a:pt x="0" y="744537"/>
                      </a:cubicBezTo>
                      <a:close/>
                      <a:moveTo>
                        <a:pt x="944563" y="544512"/>
                      </a:moveTo>
                      <a:cubicBezTo>
                        <a:pt x="944563" y="544512"/>
                        <a:pt x="944563" y="544512"/>
                        <a:pt x="1239838" y="544512"/>
                      </a:cubicBezTo>
                      <a:cubicBezTo>
                        <a:pt x="1236985" y="623093"/>
                        <a:pt x="1170655" y="687387"/>
                        <a:pt x="1092201" y="687387"/>
                      </a:cubicBezTo>
                      <a:cubicBezTo>
                        <a:pt x="1013033" y="687387"/>
                        <a:pt x="946703" y="623093"/>
                        <a:pt x="944563" y="544512"/>
                      </a:cubicBezTo>
                      <a:close/>
                      <a:moveTo>
                        <a:pt x="619562" y="0"/>
                      </a:moveTo>
                      <a:cubicBezTo>
                        <a:pt x="620992" y="0"/>
                        <a:pt x="623137" y="0"/>
                        <a:pt x="624567" y="0"/>
                      </a:cubicBezTo>
                      <a:cubicBezTo>
                        <a:pt x="643871" y="1429"/>
                        <a:pt x="661031" y="9286"/>
                        <a:pt x="673900" y="21428"/>
                      </a:cubicBezTo>
                      <a:cubicBezTo>
                        <a:pt x="682480" y="29285"/>
                        <a:pt x="689630" y="39285"/>
                        <a:pt x="693920" y="49999"/>
                      </a:cubicBezTo>
                      <a:cubicBezTo>
                        <a:pt x="696780" y="57856"/>
                        <a:pt x="698925" y="66427"/>
                        <a:pt x="698925" y="74999"/>
                      </a:cubicBezTo>
                      <a:cubicBezTo>
                        <a:pt x="698925" y="75713"/>
                        <a:pt x="698925" y="75713"/>
                        <a:pt x="698925" y="76427"/>
                      </a:cubicBezTo>
                      <a:cubicBezTo>
                        <a:pt x="699640" y="88570"/>
                        <a:pt x="697495" y="99998"/>
                        <a:pt x="692490" y="110712"/>
                      </a:cubicBezTo>
                      <a:cubicBezTo>
                        <a:pt x="686055" y="126426"/>
                        <a:pt x="674615" y="139283"/>
                        <a:pt x="660316" y="147854"/>
                      </a:cubicBezTo>
                      <a:cubicBezTo>
                        <a:pt x="660316" y="147854"/>
                        <a:pt x="660316" y="147854"/>
                        <a:pt x="660316" y="987838"/>
                      </a:cubicBezTo>
                      <a:cubicBezTo>
                        <a:pt x="660316" y="994981"/>
                        <a:pt x="665320" y="1001409"/>
                        <a:pt x="672470" y="1002838"/>
                      </a:cubicBezTo>
                      <a:cubicBezTo>
                        <a:pt x="672470" y="1002838"/>
                        <a:pt x="672470" y="1002838"/>
                        <a:pt x="929864" y="1067837"/>
                      </a:cubicBezTo>
                      <a:cubicBezTo>
                        <a:pt x="947738" y="1072122"/>
                        <a:pt x="944878" y="1098550"/>
                        <a:pt x="926289" y="1098550"/>
                      </a:cubicBezTo>
                      <a:cubicBezTo>
                        <a:pt x="926289" y="1098550"/>
                        <a:pt x="926289" y="1098550"/>
                        <a:pt x="313550" y="1098550"/>
                      </a:cubicBezTo>
                      <a:cubicBezTo>
                        <a:pt x="294960" y="1098550"/>
                        <a:pt x="292100" y="1072122"/>
                        <a:pt x="309975" y="1067837"/>
                      </a:cubicBezTo>
                      <a:cubicBezTo>
                        <a:pt x="309975" y="1067837"/>
                        <a:pt x="309975" y="1067837"/>
                        <a:pt x="570943" y="1002838"/>
                      </a:cubicBezTo>
                      <a:cubicBezTo>
                        <a:pt x="578093" y="1001409"/>
                        <a:pt x="583098" y="994981"/>
                        <a:pt x="583098" y="987838"/>
                      </a:cubicBezTo>
                      <a:cubicBezTo>
                        <a:pt x="583098" y="987838"/>
                        <a:pt x="583098" y="987838"/>
                        <a:pt x="583098" y="149997"/>
                      </a:cubicBezTo>
                      <a:cubicBezTo>
                        <a:pt x="576663" y="147140"/>
                        <a:pt x="570228" y="142140"/>
                        <a:pt x="565223" y="137140"/>
                      </a:cubicBezTo>
                      <a:cubicBezTo>
                        <a:pt x="556643" y="129283"/>
                        <a:pt x="549493" y="119284"/>
                        <a:pt x="545204" y="108569"/>
                      </a:cubicBezTo>
                      <a:cubicBezTo>
                        <a:pt x="542344" y="100712"/>
                        <a:pt x="540199" y="91427"/>
                        <a:pt x="540199" y="82856"/>
                      </a:cubicBezTo>
                      <a:cubicBezTo>
                        <a:pt x="540199" y="81427"/>
                        <a:pt x="540199" y="80713"/>
                        <a:pt x="540199" y="79284"/>
                      </a:cubicBezTo>
                      <a:cubicBezTo>
                        <a:pt x="540199" y="68570"/>
                        <a:pt x="542344" y="57856"/>
                        <a:pt x="545919" y="47856"/>
                      </a:cubicBezTo>
                      <a:cubicBezTo>
                        <a:pt x="558073" y="20000"/>
                        <a:pt x="586673" y="0"/>
                        <a:pt x="619562" y="0"/>
                      </a:cubicBezTo>
                      <a:close/>
                    </a:path>
                  </a:pathLst>
                </a:custGeom>
                <a:solidFill>
                  <a:schemeClr val="tx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en-US"/>
                </a:p>
              </p:txBody>
            </p:sp>
          </p:grpSp>
        </p:grpSp>
      </p:grpSp>
      <p:grpSp>
        <p:nvGrpSpPr>
          <p:cNvPr id="42" name="Group 41">
            <a:extLst>
              <a:ext uri="{FF2B5EF4-FFF2-40B4-BE49-F238E27FC236}">
                <a16:creationId xmlns:a16="http://schemas.microsoft.com/office/drawing/2014/main" id="{E86D5827-D9FA-43BE-B57D-7CD440C3C092}"/>
              </a:ext>
            </a:extLst>
          </p:cNvPr>
          <p:cNvGrpSpPr/>
          <p:nvPr/>
        </p:nvGrpSpPr>
        <p:grpSpPr>
          <a:xfrm>
            <a:off x="192902" y="2077643"/>
            <a:ext cx="4856679" cy="836167"/>
            <a:chOff x="192902" y="2430272"/>
            <a:chExt cx="4856679" cy="836167"/>
          </a:xfrm>
        </p:grpSpPr>
        <p:sp>
          <p:nvSpPr>
            <p:cNvPr id="16" name="TekstSylinder 15">
              <a:extLst>
                <a:ext uri="{FF2B5EF4-FFF2-40B4-BE49-F238E27FC236}">
                  <a16:creationId xmlns:a16="http://schemas.microsoft.com/office/drawing/2014/main" id="{43D85223-994B-8B32-F6C6-0958F0546FCC}"/>
                </a:ext>
              </a:extLst>
            </p:cNvPr>
            <p:cNvSpPr txBox="1"/>
            <p:nvPr/>
          </p:nvSpPr>
          <p:spPr>
            <a:xfrm>
              <a:off x="1029085" y="2719731"/>
              <a:ext cx="4020496" cy="257250"/>
            </a:xfrm>
            <a:prstGeom prst="rect">
              <a:avLst/>
            </a:prstGeom>
            <a:noFill/>
          </p:spPr>
          <p:txBody>
            <a:bodyPr rot="0" spcFirstLastPara="0" vertOverflow="overflow" horzOverflow="overflow" vert="horz" wrap="square" lIns="0" tIns="0" rIns="0" bIns="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/>
            <a:p>
              <a:pPr>
                <a:lnSpc>
                  <a:spcPct val="113999"/>
                </a:lnSpc>
              </a:pPr>
              <a:r>
                <a:rPr lang="en-GB" sz="1600">
                  <a:latin typeface="Arial"/>
                  <a:cs typeface="Arial"/>
                </a:rPr>
                <a:t>Scalability for active learning</a:t>
              </a:r>
              <a:endParaRPr lang="en-GB"/>
            </a:p>
          </p:txBody>
        </p:sp>
        <p:grpSp>
          <p:nvGrpSpPr>
            <p:cNvPr id="34" name="bcgIcons_Scalable">
              <a:extLst>
                <a:ext uri="{FF2B5EF4-FFF2-40B4-BE49-F238E27FC236}">
                  <a16:creationId xmlns:a16="http://schemas.microsoft.com/office/drawing/2014/main" id="{3AE38BB4-383F-44F6-B3D9-664A6549A9B7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192902" y="2430272"/>
              <a:ext cx="835392" cy="836167"/>
              <a:chOff x="1682" y="0"/>
              <a:chExt cx="4316" cy="4320"/>
            </a:xfrm>
          </p:grpSpPr>
          <p:sp>
            <p:nvSpPr>
              <p:cNvPr id="35" name="AutoShape 18">
                <a:extLst>
                  <a:ext uri="{FF2B5EF4-FFF2-40B4-BE49-F238E27FC236}">
                    <a16:creationId xmlns:a16="http://schemas.microsoft.com/office/drawing/2014/main" id="{8EB58AFF-C06B-4CC6-9510-E27D795B5F08}"/>
                  </a:ext>
                </a:extLst>
              </p:cNvPr>
              <p:cNvSpPr>
                <a:spLocks noChangeAspect="1" noChangeArrowheads="1" noTextEdit="1"/>
              </p:cNvSpPr>
              <p:nvPr/>
            </p:nvSpPr>
            <p:spPr bwMode="auto">
              <a:xfrm>
                <a:off x="1682" y="0"/>
                <a:ext cx="4316" cy="432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6" name="Freeform 20">
                <a:extLst>
                  <a:ext uri="{FF2B5EF4-FFF2-40B4-BE49-F238E27FC236}">
                    <a16:creationId xmlns:a16="http://schemas.microsoft.com/office/drawing/2014/main" id="{50B314E9-4BDB-408A-9F4D-8B85AD16816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171" y="493"/>
                <a:ext cx="3316" cy="3338"/>
              </a:xfrm>
              <a:custGeom>
                <a:avLst/>
                <a:gdLst>
                  <a:gd name="T0" fmla="*/ 1770 w 1770"/>
                  <a:gd name="T1" fmla="*/ 22 h 1780"/>
                  <a:gd name="T2" fmla="*/ 1770 w 1770"/>
                  <a:gd name="T3" fmla="*/ 1474 h 1780"/>
                  <a:gd name="T4" fmla="*/ 1748 w 1770"/>
                  <a:gd name="T5" fmla="*/ 1496 h 1780"/>
                  <a:gd name="T6" fmla="*/ 740 w 1770"/>
                  <a:gd name="T7" fmla="*/ 1496 h 1780"/>
                  <a:gd name="T8" fmla="*/ 740 w 1770"/>
                  <a:gd name="T9" fmla="*/ 1452 h 1780"/>
                  <a:gd name="T10" fmla="*/ 1726 w 1770"/>
                  <a:gd name="T11" fmla="*/ 1452 h 1780"/>
                  <a:gd name="T12" fmla="*/ 1726 w 1770"/>
                  <a:gd name="T13" fmla="*/ 44 h 1780"/>
                  <a:gd name="T14" fmla="*/ 317 w 1770"/>
                  <a:gd name="T15" fmla="*/ 44 h 1780"/>
                  <a:gd name="T16" fmla="*/ 317 w 1770"/>
                  <a:gd name="T17" fmla="*/ 1039 h 1780"/>
                  <a:gd name="T18" fmla="*/ 273 w 1770"/>
                  <a:gd name="T19" fmla="*/ 1039 h 1780"/>
                  <a:gd name="T20" fmla="*/ 273 w 1770"/>
                  <a:gd name="T21" fmla="*/ 22 h 1780"/>
                  <a:gd name="T22" fmla="*/ 295 w 1770"/>
                  <a:gd name="T23" fmla="*/ 0 h 1780"/>
                  <a:gd name="T24" fmla="*/ 1748 w 1770"/>
                  <a:gd name="T25" fmla="*/ 0 h 1780"/>
                  <a:gd name="T26" fmla="*/ 1770 w 1770"/>
                  <a:gd name="T27" fmla="*/ 22 h 1780"/>
                  <a:gd name="T28" fmla="*/ 1393 w 1770"/>
                  <a:gd name="T29" fmla="*/ 409 h 1780"/>
                  <a:gd name="T30" fmla="*/ 1393 w 1770"/>
                  <a:gd name="T31" fmla="*/ 823 h 1780"/>
                  <a:gd name="T32" fmla="*/ 1371 w 1770"/>
                  <a:gd name="T33" fmla="*/ 845 h 1780"/>
                  <a:gd name="T34" fmla="*/ 1349 w 1770"/>
                  <a:gd name="T35" fmla="*/ 823 h 1780"/>
                  <a:gd name="T36" fmla="*/ 1349 w 1770"/>
                  <a:gd name="T37" fmla="*/ 462 h 1780"/>
                  <a:gd name="T38" fmla="*/ 696 w 1770"/>
                  <a:gd name="T39" fmla="*/ 1114 h 1780"/>
                  <a:gd name="T40" fmla="*/ 696 w 1770"/>
                  <a:gd name="T41" fmla="*/ 1758 h 1780"/>
                  <a:gd name="T42" fmla="*/ 674 w 1770"/>
                  <a:gd name="T43" fmla="*/ 1780 h 1780"/>
                  <a:gd name="T44" fmla="*/ 22 w 1770"/>
                  <a:gd name="T45" fmla="*/ 1780 h 1780"/>
                  <a:gd name="T46" fmla="*/ 0 w 1770"/>
                  <a:gd name="T47" fmla="*/ 1758 h 1780"/>
                  <a:gd name="T48" fmla="*/ 0 w 1770"/>
                  <a:gd name="T49" fmla="*/ 1105 h 1780"/>
                  <a:gd name="T50" fmla="*/ 22 w 1770"/>
                  <a:gd name="T51" fmla="*/ 1083 h 1780"/>
                  <a:gd name="T52" fmla="*/ 665 w 1770"/>
                  <a:gd name="T53" fmla="*/ 1083 h 1780"/>
                  <a:gd name="T54" fmla="*/ 1317 w 1770"/>
                  <a:gd name="T55" fmla="*/ 431 h 1780"/>
                  <a:gd name="T56" fmla="*/ 956 w 1770"/>
                  <a:gd name="T57" fmla="*/ 431 h 1780"/>
                  <a:gd name="T58" fmla="*/ 934 w 1770"/>
                  <a:gd name="T59" fmla="*/ 409 h 1780"/>
                  <a:gd name="T60" fmla="*/ 956 w 1770"/>
                  <a:gd name="T61" fmla="*/ 387 h 1780"/>
                  <a:gd name="T62" fmla="*/ 1371 w 1770"/>
                  <a:gd name="T63" fmla="*/ 387 h 1780"/>
                  <a:gd name="T64" fmla="*/ 1375 w 1770"/>
                  <a:gd name="T65" fmla="*/ 387 h 1780"/>
                  <a:gd name="T66" fmla="*/ 1375 w 1770"/>
                  <a:gd name="T67" fmla="*/ 387 h 1780"/>
                  <a:gd name="T68" fmla="*/ 1379 w 1770"/>
                  <a:gd name="T69" fmla="*/ 388 h 1780"/>
                  <a:gd name="T70" fmla="*/ 1379 w 1770"/>
                  <a:gd name="T71" fmla="*/ 388 h 1780"/>
                  <a:gd name="T72" fmla="*/ 1383 w 1770"/>
                  <a:gd name="T73" fmla="*/ 390 h 1780"/>
                  <a:gd name="T74" fmla="*/ 1383 w 1770"/>
                  <a:gd name="T75" fmla="*/ 390 h 1780"/>
                  <a:gd name="T76" fmla="*/ 1389 w 1770"/>
                  <a:gd name="T77" fmla="*/ 396 h 1780"/>
                  <a:gd name="T78" fmla="*/ 1389 w 1770"/>
                  <a:gd name="T79" fmla="*/ 397 h 1780"/>
                  <a:gd name="T80" fmla="*/ 1391 w 1770"/>
                  <a:gd name="T81" fmla="*/ 400 h 1780"/>
                  <a:gd name="T82" fmla="*/ 1391 w 1770"/>
                  <a:gd name="T83" fmla="*/ 401 h 1780"/>
                  <a:gd name="T84" fmla="*/ 1392 w 1770"/>
                  <a:gd name="T85" fmla="*/ 404 h 1780"/>
                  <a:gd name="T86" fmla="*/ 1392 w 1770"/>
                  <a:gd name="T87" fmla="*/ 405 h 1780"/>
                  <a:gd name="T88" fmla="*/ 1393 w 1770"/>
                  <a:gd name="T89" fmla="*/ 409 h 1780"/>
                  <a:gd name="T90" fmla="*/ 652 w 1770"/>
                  <a:gd name="T91" fmla="*/ 1127 h 1780"/>
                  <a:gd name="T92" fmla="*/ 44 w 1770"/>
                  <a:gd name="T93" fmla="*/ 1127 h 1780"/>
                  <a:gd name="T94" fmla="*/ 44 w 1770"/>
                  <a:gd name="T95" fmla="*/ 1736 h 1780"/>
                  <a:gd name="T96" fmla="*/ 652 w 1770"/>
                  <a:gd name="T97" fmla="*/ 1736 h 1780"/>
                  <a:gd name="T98" fmla="*/ 652 w 1770"/>
                  <a:gd name="T99" fmla="*/ 1127 h 17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1770" h="1780">
                    <a:moveTo>
                      <a:pt x="1770" y="22"/>
                    </a:moveTo>
                    <a:cubicBezTo>
                      <a:pt x="1770" y="1474"/>
                      <a:pt x="1770" y="1474"/>
                      <a:pt x="1770" y="1474"/>
                    </a:cubicBezTo>
                    <a:cubicBezTo>
                      <a:pt x="1770" y="1486"/>
                      <a:pt x="1760" y="1496"/>
                      <a:pt x="1748" y="1496"/>
                    </a:cubicBezTo>
                    <a:cubicBezTo>
                      <a:pt x="740" y="1496"/>
                      <a:pt x="740" y="1496"/>
                      <a:pt x="740" y="1496"/>
                    </a:cubicBezTo>
                    <a:cubicBezTo>
                      <a:pt x="740" y="1452"/>
                      <a:pt x="740" y="1452"/>
                      <a:pt x="740" y="1452"/>
                    </a:cubicBezTo>
                    <a:cubicBezTo>
                      <a:pt x="1726" y="1452"/>
                      <a:pt x="1726" y="1452"/>
                      <a:pt x="1726" y="1452"/>
                    </a:cubicBezTo>
                    <a:cubicBezTo>
                      <a:pt x="1726" y="44"/>
                      <a:pt x="1726" y="44"/>
                      <a:pt x="1726" y="44"/>
                    </a:cubicBezTo>
                    <a:cubicBezTo>
                      <a:pt x="317" y="44"/>
                      <a:pt x="317" y="44"/>
                      <a:pt x="317" y="44"/>
                    </a:cubicBezTo>
                    <a:cubicBezTo>
                      <a:pt x="317" y="1039"/>
                      <a:pt x="317" y="1039"/>
                      <a:pt x="317" y="1039"/>
                    </a:cubicBezTo>
                    <a:cubicBezTo>
                      <a:pt x="273" y="1039"/>
                      <a:pt x="273" y="1039"/>
                      <a:pt x="273" y="1039"/>
                    </a:cubicBezTo>
                    <a:cubicBezTo>
                      <a:pt x="273" y="22"/>
                      <a:pt x="273" y="22"/>
                      <a:pt x="273" y="22"/>
                    </a:cubicBezTo>
                    <a:cubicBezTo>
                      <a:pt x="273" y="9"/>
                      <a:pt x="283" y="0"/>
                      <a:pt x="295" y="0"/>
                    </a:cubicBezTo>
                    <a:cubicBezTo>
                      <a:pt x="1748" y="0"/>
                      <a:pt x="1748" y="0"/>
                      <a:pt x="1748" y="0"/>
                    </a:cubicBezTo>
                    <a:cubicBezTo>
                      <a:pt x="1760" y="0"/>
                      <a:pt x="1770" y="9"/>
                      <a:pt x="1770" y="22"/>
                    </a:cubicBezTo>
                    <a:close/>
                    <a:moveTo>
                      <a:pt x="1393" y="409"/>
                    </a:moveTo>
                    <a:cubicBezTo>
                      <a:pt x="1393" y="823"/>
                      <a:pt x="1393" y="823"/>
                      <a:pt x="1393" y="823"/>
                    </a:cubicBezTo>
                    <a:cubicBezTo>
                      <a:pt x="1393" y="835"/>
                      <a:pt x="1383" y="845"/>
                      <a:pt x="1371" y="845"/>
                    </a:cubicBezTo>
                    <a:cubicBezTo>
                      <a:pt x="1358" y="845"/>
                      <a:pt x="1349" y="835"/>
                      <a:pt x="1349" y="823"/>
                    </a:cubicBezTo>
                    <a:cubicBezTo>
                      <a:pt x="1349" y="462"/>
                      <a:pt x="1349" y="462"/>
                      <a:pt x="1349" y="462"/>
                    </a:cubicBezTo>
                    <a:cubicBezTo>
                      <a:pt x="696" y="1114"/>
                      <a:pt x="696" y="1114"/>
                      <a:pt x="696" y="1114"/>
                    </a:cubicBezTo>
                    <a:cubicBezTo>
                      <a:pt x="696" y="1758"/>
                      <a:pt x="696" y="1758"/>
                      <a:pt x="696" y="1758"/>
                    </a:cubicBezTo>
                    <a:cubicBezTo>
                      <a:pt x="696" y="1770"/>
                      <a:pt x="686" y="1780"/>
                      <a:pt x="674" y="1780"/>
                    </a:cubicBezTo>
                    <a:cubicBezTo>
                      <a:pt x="22" y="1780"/>
                      <a:pt x="22" y="1780"/>
                      <a:pt x="22" y="1780"/>
                    </a:cubicBezTo>
                    <a:cubicBezTo>
                      <a:pt x="9" y="1780"/>
                      <a:pt x="0" y="1770"/>
                      <a:pt x="0" y="1758"/>
                    </a:cubicBezTo>
                    <a:cubicBezTo>
                      <a:pt x="0" y="1105"/>
                      <a:pt x="0" y="1105"/>
                      <a:pt x="0" y="1105"/>
                    </a:cubicBezTo>
                    <a:cubicBezTo>
                      <a:pt x="0" y="1093"/>
                      <a:pt x="9" y="1083"/>
                      <a:pt x="22" y="1083"/>
                    </a:cubicBezTo>
                    <a:cubicBezTo>
                      <a:pt x="665" y="1083"/>
                      <a:pt x="665" y="1083"/>
                      <a:pt x="665" y="1083"/>
                    </a:cubicBezTo>
                    <a:cubicBezTo>
                      <a:pt x="1317" y="431"/>
                      <a:pt x="1317" y="431"/>
                      <a:pt x="1317" y="431"/>
                    </a:cubicBezTo>
                    <a:cubicBezTo>
                      <a:pt x="956" y="431"/>
                      <a:pt x="956" y="431"/>
                      <a:pt x="956" y="431"/>
                    </a:cubicBezTo>
                    <a:cubicBezTo>
                      <a:pt x="944" y="431"/>
                      <a:pt x="934" y="421"/>
                      <a:pt x="934" y="409"/>
                    </a:cubicBezTo>
                    <a:cubicBezTo>
                      <a:pt x="934" y="396"/>
                      <a:pt x="944" y="387"/>
                      <a:pt x="956" y="387"/>
                    </a:cubicBezTo>
                    <a:cubicBezTo>
                      <a:pt x="1371" y="387"/>
                      <a:pt x="1371" y="387"/>
                      <a:pt x="1371" y="387"/>
                    </a:cubicBezTo>
                    <a:cubicBezTo>
                      <a:pt x="1372" y="387"/>
                      <a:pt x="1373" y="387"/>
                      <a:pt x="1375" y="387"/>
                    </a:cubicBezTo>
                    <a:cubicBezTo>
                      <a:pt x="1375" y="387"/>
                      <a:pt x="1375" y="387"/>
                      <a:pt x="1375" y="387"/>
                    </a:cubicBezTo>
                    <a:cubicBezTo>
                      <a:pt x="1376" y="387"/>
                      <a:pt x="1377" y="388"/>
                      <a:pt x="1379" y="388"/>
                    </a:cubicBezTo>
                    <a:cubicBezTo>
                      <a:pt x="1379" y="388"/>
                      <a:pt x="1379" y="388"/>
                      <a:pt x="1379" y="388"/>
                    </a:cubicBezTo>
                    <a:cubicBezTo>
                      <a:pt x="1380" y="389"/>
                      <a:pt x="1381" y="389"/>
                      <a:pt x="1383" y="390"/>
                    </a:cubicBezTo>
                    <a:cubicBezTo>
                      <a:pt x="1383" y="390"/>
                      <a:pt x="1383" y="390"/>
                      <a:pt x="1383" y="390"/>
                    </a:cubicBezTo>
                    <a:cubicBezTo>
                      <a:pt x="1385" y="392"/>
                      <a:pt x="1387" y="394"/>
                      <a:pt x="1389" y="396"/>
                    </a:cubicBezTo>
                    <a:cubicBezTo>
                      <a:pt x="1389" y="396"/>
                      <a:pt x="1389" y="397"/>
                      <a:pt x="1389" y="397"/>
                    </a:cubicBezTo>
                    <a:cubicBezTo>
                      <a:pt x="1390" y="398"/>
                      <a:pt x="1390" y="399"/>
                      <a:pt x="1391" y="400"/>
                    </a:cubicBezTo>
                    <a:cubicBezTo>
                      <a:pt x="1391" y="400"/>
                      <a:pt x="1391" y="400"/>
                      <a:pt x="1391" y="401"/>
                    </a:cubicBezTo>
                    <a:cubicBezTo>
                      <a:pt x="1392" y="402"/>
                      <a:pt x="1392" y="403"/>
                      <a:pt x="1392" y="404"/>
                    </a:cubicBezTo>
                    <a:cubicBezTo>
                      <a:pt x="1392" y="404"/>
                      <a:pt x="1392" y="404"/>
                      <a:pt x="1392" y="405"/>
                    </a:cubicBezTo>
                    <a:cubicBezTo>
                      <a:pt x="1392" y="406"/>
                      <a:pt x="1393" y="407"/>
                      <a:pt x="1393" y="409"/>
                    </a:cubicBezTo>
                    <a:close/>
                    <a:moveTo>
                      <a:pt x="652" y="1127"/>
                    </a:moveTo>
                    <a:cubicBezTo>
                      <a:pt x="44" y="1127"/>
                      <a:pt x="44" y="1127"/>
                      <a:pt x="44" y="1127"/>
                    </a:cubicBezTo>
                    <a:cubicBezTo>
                      <a:pt x="44" y="1736"/>
                      <a:pt x="44" y="1736"/>
                      <a:pt x="44" y="1736"/>
                    </a:cubicBezTo>
                    <a:cubicBezTo>
                      <a:pt x="652" y="1736"/>
                      <a:pt x="652" y="1736"/>
                      <a:pt x="652" y="1736"/>
                    </a:cubicBezTo>
                    <a:lnTo>
                      <a:pt x="652" y="1127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7" name="Freeform 21">
                <a:extLst>
                  <a:ext uri="{FF2B5EF4-FFF2-40B4-BE49-F238E27FC236}">
                    <a16:creationId xmlns:a16="http://schemas.microsoft.com/office/drawing/2014/main" id="{B3373D17-4B78-424B-B601-7C367B7AD32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336" y="656"/>
                <a:ext cx="2986" cy="3010"/>
              </a:xfrm>
              <a:custGeom>
                <a:avLst/>
                <a:gdLst>
                  <a:gd name="T0" fmla="*/ 284 w 1594"/>
                  <a:gd name="T1" fmla="*/ 0 h 1605"/>
                  <a:gd name="T2" fmla="*/ 1584 w 1594"/>
                  <a:gd name="T3" fmla="*/ 0 h 1605"/>
                  <a:gd name="T4" fmla="*/ 1594 w 1594"/>
                  <a:gd name="T5" fmla="*/ 10 h 1605"/>
                  <a:gd name="T6" fmla="*/ 1594 w 1594"/>
                  <a:gd name="T7" fmla="*/ 1312 h 1605"/>
                  <a:gd name="T8" fmla="*/ 1584 w 1594"/>
                  <a:gd name="T9" fmla="*/ 1322 h 1605"/>
                  <a:gd name="T10" fmla="*/ 652 w 1594"/>
                  <a:gd name="T11" fmla="*/ 1322 h 1605"/>
                  <a:gd name="T12" fmla="*/ 652 w 1594"/>
                  <a:gd name="T13" fmla="*/ 1046 h 1605"/>
                  <a:gd name="T14" fmla="*/ 1217 w 1594"/>
                  <a:gd name="T15" fmla="*/ 481 h 1605"/>
                  <a:gd name="T16" fmla="*/ 1217 w 1594"/>
                  <a:gd name="T17" fmla="*/ 736 h 1605"/>
                  <a:gd name="T18" fmla="*/ 1281 w 1594"/>
                  <a:gd name="T19" fmla="*/ 802 h 1605"/>
                  <a:gd name="T20" fmla="*/ 1349 w 1594"/>
                  <a:gd name="T21" fmla="*/ 734 h 1605"/>
                  <a:gd name="T22" fmla="*/ 1349 w 1594"/>
                  <a:gd name="T23" fmla="*/ 296 h 1605"/>
                  <a:gd name="T24" fmla="*/ 1309 w 1594"/>
                  <a:gd name="T25" fmla="*/ 256 h 1605"/>
                  <a:gd name="T26" fmla="*/ 868 w 1594"/>
                  <a:gd name="T27" fmla="*/ 256 h 1605"/>
                  <a:gd name="T28" fmla="*/ 802 w 1594"/>
                  <a:gd name="T29" fmla="*/ 322 h 1605"/>
                  <a:gd name="T30" fmla="*/ 802 w 1594"/>
                  <a:gd name="T31" fmla="*/ 322 h 1605"/>
                  <a:gd name="T32" fmla="*/ 868 w 1594"/>
                  <a:gd name="T33" fmla="*/ 388 h 1605"/>
                  <a:gd name="T34" fmla="*/ 1123 w 1594"/>
                  <a:gd name="T35" fmla="*/ 388 h 1605"/>
                  <a:gd name="T36" fmla="*/ 559 w 1594"/>
                  <a:gd name="T37" fmla="*/ 952 h 1605"/>
                  <a:gd name="T38" fmla="*/ 274 w 1594"/>
                  <a:gd name="T39" fmla="*/ 952 h 1605"/>
                  <a:gd name="T40" fmla="*/ 274 w 1594"/>
                  <a:gd name="T41" fmla="*/ 10 h 1605"/>
                  <a:gd name="T42" fmla="*/ 284 w 1594"/>
                  <a:gd name="T43" fmla="*/ 0 h 1605"/>
                  <a:gd name="T44" fmla="*/ 510 w 1594"/>
                  <a:gd name="T45" fmla="*/ 1084 h 1605"/>
                  <a:gd name="T46" fmla="*/ 10 w 1594"/>
                  <a:gd name="T47" fmla="*/ 1084 h 1605"/>
                  <a:gd name="T48" fmla="*/ 0 w 1594"/>
                  <a:gd name="T49" fmla="*/ 1094 h 1605"/>
                  <a:gd name="T50" fmla="*/ 0 w 1594"/>
                  <a:gd name="T51" fmla="*/ 1595 h 1605"/>
                  <a:gd name="T52" fmla="*/ 10 w 1594"/>
                  <a:gd name="T53" fmla="*/ 1605 h 1605"/>
                  <a:gd name="T54" fmla="*/ 510 w 1594"/>
                  <a:gd name="T55" fmla="*/ 1605 h 1605"/>
                  <a:gd name="T56" fmla="*/ 520 w 1594"/>
                  <a:gd name="T57" fmla="*/ 1595 h 1605"/>
                  <a:gd name="T58" fmla="*/ 520 w 1594"/>
                  <a:gd name="T59" fmla="*/ 1094 h 1605"/>
                  <a:gd name="T60" fmla="*/ 510 w 1594"/>
                  <a:gd name="T61" fmla="*/ 1084 h 160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1594" h="1605">
                    <a:moveTo>
                      <a:pt x="284" y="0"/>
                    </a:moveTo>
                    <a:cubicBezTo>
                      <a:pt x="1584" y="0"/>
                      <a:pt x="1584" y="0"/>
                      <a:pt x="1584" y="0"/>
                    </a:cubicBezTo>
                    <a:cubicBezTo>
                      <a:pt x="1589" y="0"/>
                      <a:pt x="1594" y="5"/>
                      <a:pt x="1594" y="10"/>
                    </a:cubicBezTo>
                    <a:cubicBezTo>
                      <a:pt x="1594" y="1312"/>
                      <a:pt x="1594" y="1312"/>
                      <a:pt x="1594" y="1312"/>
                    </a:cubicBezTo>
                    <a:cubicBezTo>
                      <a:pt x="1594" y="1317"/>
                      <a:pt x="1589" y="1322"/>
                      <a:pt x="1584" y="1322"/>
                    </a:cubicBezTo>
                    <a:cubicBezTo>
                      <a:pt x="652" y="1322"/>
                      <a:pt x="652" y="1322"/>
                      <a:pt x="652" y="1322"/>
                    </a:cubicBezTo>
                    <a:cubicBezTo>
                      <a:pt x="652" y="1046"/>
                      <a:pt x="652" y="1046"/>
                      <a:pt x="652" y="1046"/>
                    </a:cubicBezTo>
                    <a:cubicBezTo>
                      <a:pt x="1217" y="481"/>
                      <a:pt x="1217" y="481"/>
                      <a:pt x="1217" y="481"/>
                    </a:cubicBezTo>
                    <a:cubicBezTo>
                      <a:pt x="1217" y="736"/>
                      <a:pt x="1217" y="736"/>
                      <a:pt x="1217" y="736"/>
                    </a:cubicBezTo>
                    <a:cubicBezTo>
                      <a:pt x="1217" y="772"/>
                      <a:pt x="1245" y="801"/>
                      <a:pt x="1281" y="802"/>
                    </a:cubicBezTo>
                    <a:cubicBezTo>
                      <a:pt x="1318" y="802"/>
                      <a:pt x="1349" y="771"/>
                      <a:pt x="1349" y="734"/>
                    </a:cubicBezTo>
                    <a:cubicBezTo>
                      <a:pt x="1349" y="296"/>
                      <a:pt x="1349" y="296"/>
                      <a:pt x="1349" y="296"/>
                    </a:cubicBezTo>
                    <a:cubicBezTo>
                      <a:pt x="1349" y="273"/>
                      <a:pt x="1331" y="256"/>
                      <a:pt x="1309" y="256"/>
                    </a:cubicBezTo>
                    <a:cubicBezTo>
                      <a:pt x="868" y="256"/>
                      <a:pt x="868" y="256"/>
                      <a:pt x="868" y="256"/>
                    </a:cubicBezTo>
                    <a:cubicBezTo>
                      <a:pt x="832" y="256"/>
                      <a:pt x="802" y="285"/>
                      <a:pt x="802" y="322"/>
                    </a:cubicBezTo>
                    <a:cubicBezTo>
                      <a:pt x="802" y="322"/>
                      <a:pt x="802" y="322"/>
                      <a:pt x="802" y="322"/>
                    </a:cubicBezTo>
                    <a:cubicBezTo>
                      <a:pt x="802" y="358"/>
                      <a:pt x="832" y="388"/>
                      <a:pt x="868" y="388"/>
                    </a:cubicBezTo>
                    <a:cubicBezTo>
                      <a:pt x="1123" y="388"/>
                      <a:pt x="1123" y="388"/>
                      <a:pt x="1123" y="388"/>
                    </a:cubicBezTo>
                    <a:cubicBezTo>
                      <a:pt x="559" y="952"/>
                      <a:pt x="559" y="952"/>
                      <a:pt x="559" y="952"/>
                    </a:cubicBezTo>
                    <a:cubicBezTo>
                      <a:pt x="274" y="952"/>
                      <a:pt x="274" y="952"/>
                      <a:pt x="274" y="952"/>
                    </a:cubicBezTo>
                    <a:cubicBezTo>
                      <a:pt x="274" y="10"/>
                      <a:pt x="274" y="10"/>
                      <a:pt x="274" y="10"/>
                    </a:cubicBezTo>
                    <a:cubicBezTo>
                      <a:pt x="274" y="5"/>
                      <a:pt x="278" y="0"/>
                      <a:pt x="284" y="0"/>
                    </a:cubicBezTo>
                    <a:close/>
                    <a:moveTo>
                      <a:pt x="510" y="1084"/>
                    </a:moveTo>
                    <a:cubicBezTo>
                      <a:pt x="10" y="1084"/>
                      <a:pt x="10" y="1084"/>
                      <a:pt x="10" y="1084"/>
                    </a:cubicBezTo>
                    <a:cubicBezTo>
                      <a:pt x="4" y="1084"/>
                      <a:pt x="0" y="1089"/>
                      <a:pt x="0" y="1094"/>
                    </a:cubicBezTo>
                    <a:cubicBezTo>
                      <a:pt x="0" y="1595"/>
                      <a:pt x="0" y="1595"/>
                      <a:pt x="0" y="1595"/>
                    </a:cubicBezTo>
                    <a:cubicBezTo>
                      <a:pt x="0" y="1600"/>
                      <a:pt x="4" y="1605"/>
                      <a:pt x="10" y="1605"/>
                    </a:cubicBezTo>
                    <a:cubicBezTo>
                      <a:pt x="510" y="1605"/>
                      <a:pt x="510" y="1605"/>
                      <a:pt x="510" y="1605"/>
                    </a:cubicBezTo>
                    <a:cubicBezTo>
                      <a:pt x="515" y="1605"/>
                      <a:pt x="520" y="1600"/>
                      <a:pt x="520" y="1595"/>
                    </a:cubicBezTo>
                    <a:cubicBezTo>
                      <a:pt x="520" y="1094"/>
                      <a:pt x="520" y="1094"/>
                      <a:pt x="520" y="1094"/>
                    </a:cubicBezTo>
                    <a:cubicBezTo>
                      <a:pt x="520" y="1089"/>
                      <a:pt x="515" y="1084"/>
                      <a:pt x="510" y="1084"/>
                    </a:cubicBez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grpSp>
        <p:nvGrpSpPr>
          <p:cNvPr id="43" name="Group 42">
            <a:extLst>
              <a:ext uri="{FF2B5EF4-FFF2-40B4-BE49-F238E27FC236}">
                <a16:creationId xmlns:a16="http://schemas.microsoft.com/office/drawing/2014/main" id="{8D5CB35B-6256-4771-95BD-9A13A2B8CE35}"/>
              </a:ext>
            </a:extLst>
          </p:cNvPr>
          <p:cNvGrpSpPr/>
          <p:nvPr/>
        </p:nvGrpSpPr>
        <p:grpSpPr>
          <a:xfrm>
            <a:off x="192902" y="3135529"/>
            <a:ext cx="4753176" cy="836167"/>
            <a:chOff x="192902" y="3135529"/>
            <a:chExt cx="4753176" cy="836167"/>
          </a:xfrm>
        </p:grpSpPr>
        <p:sp>
          <p:nvSpPr>
            <p:cNvPr id="15" name="TekstSylinder 14">
              <a:extLst>
                <a:ext uri="{FF2B5EF4-FFF2-40B4-BE49-F238E27FC236}">
                  <a16:creationId xmlns:a16="http://schemas.microsoft.com/office/drawing/2014/main" id="{32E753C9-E10E-E2AB-2E0B-FA4CDDC78C8E}"/>
                </a:ext>
              </a:extLst>
            </p:cNvPr>
            <p:cNvSpPr txBox="1"/>
            <p:nvPr/>
          </p:nvSpPr>
          <p:spPr>
            <a:xfrm>
              <a:off x="1029085" y="3424987"/>
              <a:ext cx="3916993" cy="257250"/>
            </a:xfrm>
            <a:prstGeom prst="rect">
              <a:avLst/>
            </a:prstGeom>
            <a:noFill/>
          </p:spPr>
          <p:txBody>
            <a:bodyPr rot="0" spcFirstLastPara="0" vertOverflow="overflow" horzOverflow="overflow" vert="horz" wrap="square" lIns="0" tIns="0" rIns="0" bIns="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/>
            <a:p>
              <a:pPr>
                <a:lnSpc>
                  <a:spcPct val="113999"/>
                </a:lnSpc>
              </a:pPr>
              <a:r>
                <a:rPr lang="en-US" sz="1600">
                  <a:latin typeface="Arial"/>
                  <a:cs typeface="Arial"/>
                </a:rPr>
                <a:t>Interconnection between model and label</a:t>
              </a:r>
              <a:endParaRPr lang="en-US" sz="1600"/>
            </a:p>
          </p:txBody>
        </p:sp>
        <p:grpSp>
          <p:nvGrpSpPr>
            <p:cNvPr id="38" name="bcgIcons_Link">
              <a:extLst>
                <a:ext uri="{FF2B5EF4-FFF2-40B4-BE49-F238E27FC236}">
                  <a16:creationId xmlns:a16="http://schemas.microsoft.com/office/drawing/2014/main" id="{C156E4BE-8A5B-4CC5-A651-8568591154C8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192902" y="3135529"/>
              <a:ext cx="835393" cy="836167"/>
              <a:chOff x="1682" y="0"/>
              <a:chExt cx="4316" cy="4320"/>
            </a:xfrm>
          </p:grpSpPr>
          <p:sp>
            <p:nvSpPr>
              <p:cNvPr id="39" name="AutoShape 28">
                <a:extLst>
                  <a:ext uri="{FF2B5EF4-FFF2-40B4-BE49-F238E27FC236}">
                    <a16:creationId xmlns:a16="http://schemas.microsoft.com/office/drawing/2014/main" id="{124FE97A-29D1-450F-ADA5-AFF67A59C178}"/>
                  </a:ext>
                </a:extLst>
              </p:cNvPr>
              <p:cNvSpPr>
                <a:spLocks noChangeAspect="1" noChangeArrowheads="1" noTextEdit="1"/>
              </p:cNvSpPr>
              <p:nvPr/>
            </p:nvSpPr>
            <p:spPr bwMode="auto">
              <a:xfrm>
                <a:off x="1682" y="0"/>
                <a:ext cx="4316" cy="432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0" name="Freeform 30">
                <a:extLst>
                  <a:ext uri="{FF2B5EF4-FFF2-40B4-BE49-F238E27FC236}">
                    <a16:creationId xmlns:a16="http://schemas.microsoft.com/office/drawing/2014/main" id="{FCD962F2-7A11-4A90-8DB8-BF7B8E3673D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903" y="1224"/>
                <a:ext cx="1874" cy="1875"/>
              </a:xfrm>
              <a:custGeom>
                <a:avLst/>
                <a:gdLst>
                  <a:gd name="T0" fmla="*/ 142 w 1000"/>
                  <a:gd name="T1" fmla="*/ 929 h 1000"/>
                  <a:gd name="T2" fmla="*/ 71 w 1000"/>
                  <a:gd name="T3" fmla="*/ 1000 h 1000"/>
                  <a:gd name="T4" fmla="*/ 0 w 1000"/>
                  <a:gd name="T5" fmla="*/ 929 h 1000"/>
                  <a:gd name="T6" fmla="*/ 0 w 1000"/>
                  <a:gd name="T7" fmla="*/ 849 h 1000"/>
                  <a:gd name="T8" fmla="*/ 0 w 1000"/>
                  <a:gd name="T9" fmla="*/ 382 h 1000"/>
                  <a:gd name="T10" fmla="*/ 71 w 1000"/>
                  <a:gd name="T11" fmla="*/ 311 h 1000"/>
                  <a:gd name="T12" fmla="*/ 142 w 1000"/>
                  <a:gd name="T13" fmla="*/ 382 h 1000"/>
                  <a:gd name="T14" fmla="*/ 142 w 1000"/>
                  <a:gd name="T15" fmla="*/ 846 h 1000"/>
                  <a:gd name="T16" fmla="*/ 142 w 1000"/>
                  <a:gd name="T17" fmla="*/ 929 h 1000"/>
                  <a:gd name="T18" fmla="*/ 465 w 1000"/>
                  <a:gd name="T19" fmla="*/ 142 h 1000"/>
                  <a:gd name="T20" fmla="*/ 929 w 1000"/>
                  <a:gd name="T21" fmla="*/ 142 h 1000"/>
                  <a:gd name="T22" fmla="*/ 1000 w 1000"/>
                  <a:gd name="T23" fmla="*/ 71 h 1000"/>
                  <a:gd name="T24" fmla="*/ 929 w 1000"/>
                  <a:gd name="T25" fmla="*/ 0 h 1000"/>
                  <a:gd name="T26" fmla="*/ 462 w 1000"/>
                  <a:gd name="T27" fmla="*/ 0 h 1000"/>
                  <a:gd name="T28" fmla="*/ 382 w 1000"/>
                  <a:gd name="T29" fmla="*/ 0 h 1000"/>
                  <a:gd name="T30" fmla="*/ 311 w 1000"/>
                  <a:gd name="T31" fmla="*/ 71 h 1000"/>
                  <a:gd name="T32" fmla="*/ 382 w 1000"/>
                  <a:gd name="T33" fmla="*/ 142 h 1000"/>
                  <a:gd name="T34" fmla="*/ 465 w 1000"/>
                  <a:gd name="T35" fmla="*/ 142 h 10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000" h="1000">
                    <a:moveTo>
                      <a:pt x="142" y="929"/>
                    </a:moveTo>
                    <a:cubicBezTo>
                      <a:pt x="142" y="968"/>
                      <a:pt x="110" y="1000"/>
                      <a:pt x="71" y="1000"/>
                    </a:cubicBezTo>
                    <a:cubicBezTo>
                      <a:pt x="32" y="1000"/>
                      <a:pt x="0" y="968"/>
                      <a:pt x="0" y="929"/>
                    </a:cubicBezTo>
                    <a:cubicBezTo>
                      <a:pt x="0" y="849"/>
                      <a:pt x="0" y="849"/>
                      <a:pt x="0" y="849"/>
                    </a:cubicBezTo>
                    <a:cubicBezTo>
                      <a:pt x="0" y="382"/>
                      <a:pt x="0" y="382"/>
                      <a:pt x="0" y="382"/>
                    </a:cubicBezTo>
                    <a:cubicBezTo>
                      <a:pt x="0" y="343"/>
                      <a:pt x="32" y="311"/>
                      <a:pt x="71" y="311"/>
                    </a:cubicBezTo>
                    <a:cubicBezTo>
                      <a:pt x="110" y="311"/>
                      <a:pt x="142" y="343"/>
                      <a:pt x="142" y="382"/>
                    </a:cubicBezTo>
                    <a:cubicBezTo>
                      <a:pt x="142" y="846"/>
                      <a:pt x="142" y="846"/>
                      <a:pt x="142" y="846"/>
                    </a:cubicBezTo>
                    <a:lnTo>
                      <a:pt x="142" y="929"/>
                    </a:lnTo>
                    <a:close/>
                    <a:moveTo>
                      <a:pt x="465" y="142"/>
                    </a:moveTo>
                    <a:cubicBezTo>
                      <a:pt x="929" y="142"/>
                      <a:pt x="929" y="142"/>
                      <a:pt x="929" y="142"/>
                    </a:cubicBezTo>
                    <a:cubicBezTo>
                      <a:pt x="968" y="142"/>
                      <a:pt x="1000" y="110"/>
                      <a:pt x="1000" y="71"/>
                    </a:cubicBezTo>
                    <a:cubicBezTo>
                      <a:pt x="1000" y="32"/>
                      <a:pt x="968" y="0"/>
                      <a:pt x="929" y="0"/>
                    </a:cubicBezTo>
                    <a:cubicBezTo>
                      <a:pt x="462" y="0"/>
                      <a:pt x="462" y="0"/>
                      <a:pt x="462" y="0"/>
                    </a:cubicBezTo>
                    <a:cubicBezTo>
                      <a:pt x="382" y="0"/>
                      <a:pt x="382" y="0"/>
                      <a:pt x="382" y="0"/>
                    </a:cubicBezTo>
                    <a:cubicBezTo>
                      <a:pt x="343" y="0"/>
                      <a:pt x="311" y="32"/>
                      <a:pt x="311" y="71"/>
                    </a:cubicBezTo>
                    <a:cubicBezTo>
                      <a:pt x="311" y="110"/>
                      <a:pt x="343" y="142"/>
                      <a:pt x="382" y="142"/>
                    </a:cubicBezTo>
                    <a:lnTo>
                      <a:pt x="465" y="142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1" name="Freeform 31">
                <a:extLst>
                  <a:ext uri="{FF2B5EF4-FFF2-40B4-BE49-F238E27FC236}">
                    <a16:creationId xmlns:a16="http://schemas.microsoft.com/office/drawing/2014/main" id="{2529CBD4-E66F-4956-9FDB-BE0D8C19699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263" y="583"/>
                <a:ext cx="3150" cy="3154"/>
              </a:xfrm>
              <a:custGeom>
                <a:avLst/>
                <a:gdLst>
                  <a:gd name="T0" fmla="*/ 497 w 1682"/>
                  <a:gd name="T1" fmla="*/ 1514 h 1682"/>
                  <a:gd name="T2" fmla="*/ 90 w 1682"/>
                  <a:gd name="T3" fmla="*/ 1592 h 1682"/>
                  <a:gd name="T4" fmla="*/ 168 w 1682"/>
                  <a:gd name="T5" fmla="*/ 1185 h 1682"/>
                  <a:gd name="T6" fmla="*/ 298 w 1682"/>
                  <a:gd name="T7" fmla="*/ 1067 h 1682"/>
                  <a:gd name="T8" fmla="*/ 299 w 1682"/>
                  <a:gd name="T9" fmla="*/ 1283 h 1682"/>
                  <a:gd name="T10" fmla="*/ 205 w 1682"/>
                  <a:gd name="T11" fmla="*/ 1377 h 1682"/>
                  <a:gd name="T12" fmla="*/ 305 w 1682"/>
                  <a:gd name="T13" fmla="*/ 1477 h 1682"/>
                  <a:gd name="T14" fmla="*/ 397 w 1682"/>
                  <a:gd name="T15" fmla="*/ 1385 h 1682"/>
                  <a:gd name="T16" fmla="*/ 528 w 1682"/>
                  <a:gd name="T17" fmla="*/ 1271 h 1682"/>
                  <a:gd name="T18" fmla="*/ 577 w 1682"/>
                  <a:gd name="T19" fmla="*/ 1105 h 1682"/>
                  <a:gd name="T20" fmla="*/ 1592 w 1682"/>
                  <a:gd name="T21" fmla="*/ 90 h 1682"/>
                  <a:gd name="T22" fmla="*/ 1185 w 1682"/>
                  <a:gd name="T23" fmla="*/ 168 h 1682"/>
                  <a:gd name="T24" fmla="*/ 1067 w 1682"/>
                  <a:gd name="T25" fmla="*/ 298 h 1682"/>
                  <a:gd name="T26" fmla="*/ 1283 w 1682"/>
                  <a:gd name="T27" fmla="*/ 299 h 1682"/>
                  <a:gd name="T28" fmla="*/ 1377 w 1682"/>
                  <a:gd name="T29" fmla="*/ 205 h 1682"/>
                  <a:gd name="T30" fmla="*/ 1477 w 1682"/>
                  <a:gd name="T31" fmla="*/ 305 h 1682"/>
                  <a:gd name="T32" fmla="*/ 1385 w 1682"/>
                  <a:gd name="T33" fmla="*/ 397 h 1682"/>
                  <a:gd name="T34" fmla="*/ 1271 w 1682"/>
                  <a:gd name="T35" fmla="*/ 528 h 1682"/>
                  <a:gd name="T36" fmla="*/ 1105 w 1682"/>
                  <a:gd name="T37" fmla="*/ 577 h 1682"/>
                  <a:gd name="T38" fmla="*/ 1514 w 1682"/>
                  <a:gd name="T39" fmla="*/ 497 h 1682"/>
                  <a:gd name="T40" fmla="*/ 1592 w 1682"/>
                  <a:gd name="T41" fmla="*/ 90 h 1682"/>
                  <a:gd name="T42" fmla="*/ 413 w 1682"/>
                  <a:gd name="T43" fmla="*/ 609 h 1682"/>
                  <a:gd name="T44" fmla="*/ 483 w 1682"/>
                  <a:gd name="T45" fmla="*/ 548 h 1682"/>
                  <a:gd name="T46" fmla="*/ 248 w 1682"/>
                  <a:gd name="T47" fmla="*/ 541 h 1682"/>
                  <a:gd name="T48" fmla="*/ 298 w 1682"/>
                  <a:gd name="T49" fmla="*/ 928 h 1682"/>
                  <a:gd name="T50" fmla="*/ 591 w 1682"/>
                  <a:gd name="T51" fmla="*/ 652 h 1682"/>
                  <a:gd name="T52" fmla="*/ 528 w 1682"/>
                  <a:gd name="T53" fmla="*/ 724 h 1682"/>
                  <a:gd name="T54" fmla="*/ 596 w 1682"/>
                  <a:gd name="T55" fmla="*/ 890 h 1682"/>
                  <a:gd name="T56" fmla="*/ 591 w 1682"/>
                  <a:gd name="T57" fmla="*/ 652 h 1682"/>
                  <a:gd name="T58" fmla="*/ 724 w 1682"/>
                  <a:gd name="T59" fmla="*/ 298 h 1682"/>
                  <a:gd name="T60" fmla="*/ 894 w 1682"/>
                  <a:gd name="T61" fmla="*/ 244 h 1682"/>
                  <a:gd name="T62" fmla="*/ 442 w 1682"/>
                  <a:gd name="T63" fmla="*/ 346 h 1682"/>
                  <a:gd name="T64" fmla="*/ 610 w 1682"/>
                  <a:gd name="T65" fmla="*/ 421 h 1682"/>
                  <a:gd name="T66" fmla="*/ 724 w 1682"/>
                  <a:gd name="T67" fmla="*/ 528 h 1682"/>
                  <a:gd name="T68" fmla="*/ 656 w 1682"/>
                  <a:gd name="T69" fmla="*/ 587 h 1682"/>
                  <a:gd name="T70" fmla="*/ 894 w 1682"/>
                  <a:gd name="T71" fmla="*/ 592 h 1682"/>
                  <a:gd name="T72" fmla="*/ 724 w 1682"/>
                  <a:gd name="T73" fmla="*/ 528 h 16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1682" h="1682">
                    <a:moveTo>
                      <a:pt x="577" y="1433"/>
                    </a:moveTo>
                    <a:cubicBezTo>
                      <a:pt x="497" y="1514"/>
                      <a:pt x="497" y="1514"/>
                      <a:pt x="497" y="1514"/>
                    </a:cubicBezTo>
                    <a:cubicBezTo>
                      <a:pt x="419" y="1592"/>
                      <a:pt x="419" y="1592"/>
                      <a:pt x="419" y="1592"/>
                    </a:cubicBezTo>
                    <a:cubicBezTo>
                      <a:pt x="328" y="1682"/>
                      <a:pt x="181" y="1682"/>
                      <a:pt x="90" y="1592"/>
                    </a:cubicBezTo>
                    <a:cubicBezTo>
                      <a:pt x="0" y="1501"/>
                      <a:pt x="0" y="1354"/>
                      <a:pt x="90" y="1263"/>
                    </a:cubicBezTo>
                    <a:cubicBezTo>
                      <a:pt x="168" y="1185"/>
                      <a:pt x="168" y="1185"/>
                      <a:pt x="168" y="1185"/>
                    </a:cubicBezTo>
                    <a:cubicBezTo>
                      <a:pt x="249" y="1105"/>
                      <a:pt x="249" y="1105"/>
                      <a:pt x="249" y="1105"/>
                    </a:cubicBezTo>
                    <a:cubicBezTo>
                      <a:pt x="264" y="1090"/>
                      <a:pt x="280" y="1077"/>
                      <a:pt x="298" y="1067"/>
                    </a:cubicBezTo>
                    <a:cubicBezTo>
                      <a:pt x="298" y="1271"/>
                      <a:pt x="298" y="1271"/>
                      <a:pt x="298" y="1271"/>
                    </a:cubicBezTo>
                    <a:cubicBezTo>
                      <a:pt x="298" y="1275"/>
                      <a:pt x="298" y="1279"/>
                      <a:pt x="299" y="1283"/>
                    </a:cubicBezTo>
                    <a:cubicBezTo>
                      <a:pt x="281" y="1300"/>
                      <a:pt x="281" y="1300"/>
                      <a:pt x="281" y="1300"/>
                    </a:cubicBezTo>
                    <a:cubicBezTo>
                      <a:pt x="205" y="1377"/>
                      <a:pt x="205" y="1377"/>
                      <a:pt x="205" y="1377"/>
                    </a:cubicBezTo>
                    <a:cubicBezTo>
                      <a:pt x="177" y="1405"/>
                      <a:pt x="177" y="1450"/>
                      <a:pt x="205" y="1477"/>
                    </a:cubicBezTo>
                    <a:cubicBezTo>
                      <a:pt x="232" y="1505"/>
                      <a:pt x="277" y="1505"/>
                      <a:pt x="305" y="1477"/>
                    </a:cubicBezTo>
                    <a:cubicBezTo>
                      <a:pt x="384" y="1398"/>
                      <a:pt x="384" y="1398"/>
                      <a:pt x="384" y="1398"/>
                    </a:cubicBezTo>
                    <a:cubicBezTo>
                      <a:pt x="397" y="1385"/>
                      <a:pt x="397" y="1385"/>
                      <a:pt x="397" y="1385"/>
                    </a:cubicBezTo>
                    <a:cubicBezTo>
                      <a:pt x="402" y="1385"/>
                      <a:pt x="408" y="1386"/>
                      <a:pt x="413" y="1386"/>
                    </a:cubicBezTo>
                    <a:cubicBezTo>
                      <a:pt x="476" y="1386"/>
                      <a:pt x="528" y="1334"/>
                      <a:pt x="528" y="1271"/>
                    </a:cubicBezTo>
                    <a:cubicBezTo>
                      <a:pt x="528" y="1067"/>
                      <a:pt x="528" y="1067"/>
                      <a:pt x="528" y="1067"/>
                    </a:cubicBezTo>
                    <a:cubicBezTo>
                      <a:pt x="545" y="1077"/>
                      <a:pt x="562" y="1089"/>
                      <a:pt x="577" y="1105"/>
                    </a:cubicBezTo>
                    <a:cubicBezTo>
                      <a:pt x="668" y="1195"/>
                      <a:pt x="668" y="1343"/>
                      <a:pt x="577" y="1433"/>
                    </a:cubicBezTo>
                    <a:close/>
                    <a:moveTo>
                      <a:pt x="1592" y="90"/>
                    </a:moveTo>
                    <a:cubicBezTo>
                      <a:pt x="1501" y="0"/>
                      <a:pt x="1354" y="0"/>
                      <a:pt x="1263" y="90"/>
                    </a:cubicBezTo>
                    <a:cubicBezTo>
                      <a:pt x="1185" y="168"/>
                      <a:pt x="1185" y="168"/>
                      <a:pt x="1185" y="168"/>
                    </a:cubicBezTo>
                    <a:cubicBezTo>
                      <a:pt x="1105" y="249"/>
                      <a:pt x="1105" y="249"/>
                      <a:pt x="1105" y="249"/>
                    </a:cubicBezTo>
                    <a:cubicBezTo>
                      <a:pt x="1090" y="264"/>
                      <a:pt x="1077" y="280"/>
                      <a:pt x="1067" y="298"/>
                    </a:cubicBezTo>
                    <a:cubicBezTo>
                      <a:pt x="1271" y="298"/>
                      <a:pt x="1271" y="298"/>
                      <a:pt x="1271" y="298"/>
                    </a:cubicBezTo>
                    <a:cubicBezTo>
                      <a:pt x="1275" y="298"/>
                      <a:pt x="1279" y="298"/>
                      <a:pt x="1283" y="299"/>
                    </a:cubicBezTo>
                    <a:cubicBezTo>
                      <a:pt x="1300" y="281"/>
                      <a:pt x="1300" y="281"/>
                      <a:pt x="1300" y="281"/>
                    </a:cubicBezTo>
                    <a:cubicBezTo>
                      <a:pt x="1377" y="205"/>
                      <a:pt x="1377" y="205"/>
                      <a:pt x="1377" y="205"/>
                    </a:cubicBezTo>
                    <a:cubicBezTo>
                      <a:pt x="1405" y="177"/>
                      <a:pt x="1450" y="177"/>
                      <a:pt x="1477" y="205"/>
                    </a:cubicBezTo>
                    <a:cubicBezTo>
                      <a:pt x="1505" y="232"/>
                      <a:pt x="1505" y="277"/>
                      <a:pt x="1477" y="305"/>
                    </a:cubicBezTo>
                    <a:cubicBezTo>
                      <a:pt x="1398" y="384"/>
                      <a:pt x="1398" y="384"/>
                      <a:pt x="1398" y="384"/>
                    </a:cubicBezTo>
                    <a:cubicBezTo>
                      <a:pt x="1385" y="397"/>
                      <a:pt x="1385" y="397"/>
                      <a:pt x="1385" y="397"/>
                    </a:cubicBezTo>
                    <a:cubicBezTo>
                      <a:pt x="1385" y="402"/>
                      <a:pt x="1386" y="408"/>
                      <a:pt x="1386" y="413"/>
                    </a:cubicBezTo>
                    <a:cubicBezTo>
                      <a:pt x="1386" y="476"/>
                      <a:pt x="1334" y="528"/>
                      <a:pt x="1271" y="528"/>
                    </a:cubicBezTo>
                    <a:cubicBezTo>
                      <a:pt x="1067" y="528"/>
                      <a:pt x="1067" y="528"/>
                      <a:pt x="1067" y="528"/>
                    </a:cubicBezTo>
                    <a:cubicBezTo>
                      <a:pt x="1077" y="545"/>
                      <a:pt x="1089" y="562"/>
                      <a:pt x="1105" y="577"/>
                    </a:cubicBezTo>
                    <a:cubicBezTo>
                      <a:pt x="1195" y="668"/>
                      <a:pt x="1343" y="668"/>
                      <a:pt x="1433" y="577"/>
                    </a:cubicBezTo>
                    <a:cubicBezTo>
                      <a:pt x="1514" y="497"/>
                      <a:pt x="1514" y="497"/>
                      <a:pt x="1514" y="497"/>
                    </a:cubicBezTo>
                    <a:cubicBezTo>
                      <a:pt x="1592" y="419"/>
                      <a:pt x="1592" y="419"/>
                      <a:pt x="1592" y="419"/>
                    </a:cubicBezTo>
                    <a:cubicBezTo>
                      <a:pt x="1682" y="328"/>
                      <a:pt x="1682" y="181"/>
                      <a:pt x="1592" y="90"/>
                    </a:cubicBezTo>
                    <a:close/>
                    <a:moveTo>
                      <a:pt x="298" y="724"/>
                    </a:moveTo>
                    <a:cubicBezTo>
                      <a:pt x="298" y="661"/>
                      <a:pt x="349" y="609"/>
                      <a:pt x="413" y="609"/>
                    </a:cubicBezTo>
                    <a:cubicBezTo>
                      <a:pt x="416" y="609"/>
                      <a:pt x="419" y="609"/>
                      <a:pt x="421" y="609"/>
                    </a:cubicBezTo>
                    <a:cubicBezTo>
                      <a:pt x="483" y="548"/>
                      <a:pt x="483" y="548"/>
                      <a:pt x="483" y="548"/>
                    </a:cubicBezTo>
                    <a:cubicBezTo>
                      <a:pt x="350" y="438"/>
                      <a:pt x="350" y="438"/>
                      <a:pt x="350" y="438"/>
                    </a:cubicBezTo>
                    <a:cubicBezTo>
                      <a:pt x="248" y="541"/>
                      <a:pt x="248" y="541"/>
                      <a:pt x="248" y="541"/>
                    </a:cubicBezTo>
                    <a:cubicBezTo>
                      <a:pt x="151" y="637"/>
                      <a:pt x="151" y="793"/>
                      <a:pt x="248" y="890"/>
                    </a:cubicBezTo>
                    <a:cubicBezTo>
                      <a:pt x="263" y="905"/>
                      <a:pt x="280" y="918"/>
                      <a:pt x="298" y="928"/>
                    </a:cubicBezTo>
                    <a:lnTo>
                      <a:pt x="298" y="724"/>
                    </a:lnTo>
                    <a:close/>
                    <a:moveTo>
                      <a:pt x="591" y="652"/>
                    </a:moveTo>
                    <a:cubicBezTo>
                      <a:pt x="527" y="716"/>
                      <a:pt x="527" y="716"/>
                      <a:pt x="527" y="716"/>
                    </a:cubicBezTo>
                    <a:cubicBezTo>
                      <a:pt x="528" y="719"/>
                      <a:pt x="528" y="721"/>
                      <a:pt x="528" y="724"/>
                    </a:cubicBezTo>
                    <a:cubicBezTo>
                      <a:pt x="528" y="938"/>
                      <a:pt x="528" y="938"/>
                      <a:pt x="528" y="938"/>
                    </a:cubicBezTo>
                    <a:cubicBezTo>
                      <a:pt x="553" y="926"/>
                      <a:pt x="576" y="910"/>
                      <a:pt x="596" y="890"/>
                    </a:cubicBezTo>
                    <a:cubicBezTo>
                      <a:pt x="699" y="787"/>
                      <a:pt x="699" y="787"/>
                      <a:pt x="699" y="787"/>
                    </a:cubicBezTo>
                    <a:lnTo>
                      <a:pt x="591" y="652"/>
                    </a:lnTo>
                    <a:close/>
                    <a:moveTo>
                      <a:pt x="609" y="413"/>
                    </a:moveTo>
                    <a:cubicBezTo>
                      <a:pt x="609" y="349"/>
                      <a:pt x="661" y="298"/>
                      <a:pt x="724" y="298"/>
                    </a:cubicBezTo>
                    <a:cubicBezTo>
                      <a:pt x="935" y="298"/>
                      <a:pt x="935" y="298"/>
                      <a:pt x="935" y="298"/>
                    </a:cubicBezTo>
                    <a:cubicBezTo>
                      <a:pt x="924" y="278"/>
                      <a:pt x="910" y="260"/>
                      <a:pt x="894" y="244"/>
                    </a:cubicBezTo>
                    <a:cubicBezTo>
                      <a:pt x="797" y="147"/>
                      <a:pt x="641" y="147"/>
                      <a:pt x="545" y="244"/>
                    </a:cubicBezTo>
                    <a:cubicBezTo>
                      <a:pt x="442" y="346"/>
                      <a:pt x="442" y="346"/>
                      <a:pt x="442" y="346"/>
                    </a:cubicBezTo>
                    <a:cubicBezTo>
                      <a:pt x="552" y="479"/>
                      <a:pt x="552" y="479"/>
                      <a:pt x="552" y="479"/>
                    </a:cubicBezTo>
                    <a:cubicBezTo>
                      <a:pt x="610" y="421"/>
                      <a:pt x="610" y="421"/>
                      <a:pt x="610" y="421"/>
                    </a:cubicBezTo>
                    <a:cubicBezTo>
                      <a:pt x="609" y="419"/>
                      <a:pt x="609" y="416"/>
                      <a:pt x="609" y="413"/>
                    </a:cubicBezTo>
                    <a:close/>
                    <a:moveTo>
                      <a:pt x="724" y="528"/>
                    </a:moveTo>
                    <a:cubicBezTo>
                      <a:pt x="721" y="528"/>
                      <a:pt x="719" y="528"/>
                      <a:pt x="716" y="527"/>
                    </a:cubicBezTo>
                    <a:cubicBezTo>
                      <a:pt x="656" y="587"/>
                      <a:pt x="656" y="587"/>
                      <a:pt x="656" y="587"/>
                    </a:cubicBezTo>
                    <a:cubicBezTo>
                      <a:pt x="791" y="695"/>
                      <a:pt x="791" y="695"/>
                      <a:pt x="791" y="695"/>
                    </a:cubicBezTo>
                    <a:cubicBezTo>
                      <a:pt x="894" y="592"/>
                      <a:pt x="894" y="592"/>
                      <a:pt x="894" y="592"/>
                    </a:cubicBezTo>
                    <a:cubicBezTo>
                      <a:pt x="913" y="573"/>
                      <a:pt x="928" y="551"/>
                      <a:pt x="940" y="528"/>
                    </a:cubicBezTo>
                    <a:lnTo>
                      <a:pt x="724" y="528"/>
                    </a:ln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sp>
        <p:nvSpPr>
          <p:cNvPr id="45" name="Fußzeilenplatzhalter 4">
            <a:extLst>
              <a:ext uri="{FF2B5EF4-FFF2-40B4-BE49-F238E27FC236}">
                <a16:creationId xmlns:a16="http://schemas.microsoft.com/office/drawing/2014/main" id="{6819304F-D9F4-331C-9AF2-83109E3C26AE}"/>
              </a:ext>
            </a:extLst>
          </p:cNvPr>
          <p:cNvSpPr txBox="1">
            <a:spLocks/>
          </p:cNvSpPr>
          <p:nvPr/>
        </p:nvSpPr>
        <p:spPr>
          <a:xfrm>
            <a:off x="311162" y="4854985"/>
            <a:ext cx="7829538" cy="28851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1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r>
              <a:rPr lang="en-US" dirty="0">
                <a:latin typeface="Arial"/>
                <a:cs typeface="Arial"/>
              </a:rPr>
              <a:t>◻︎ Outline | ◻︎ Organizational</a:t>
            </a:r>
            <a:r>
              <a:rPr lang="en-US" b="1" dirty="0">
                <a:latin typeface="Arial"/>
                <a:cs typeface="Arial"/>
              </a:rPr>
              <a:t> </a:t>
            </a:r>
            <a:r>
              <a:rPr lang="en-US" dirty="0">
                <a:latin typeface="Arial"/>
                <a:cs typeface="Arial"/>
              </a:rPr>
              <a:t>structure</a:t>
            </a:r>
            <a:r>
              <a:rPr lang="en-US" b="1" dirty="0">
                <a:latin typeface="Arial"/>
                <a:cs typeface="Arial"/>
              </a:rPr>
              <a:t> </a:t>
            </a:r>
            <a:r>
              <a:rPr lang="en-US" dirty="0">
                <a:latin typeface="Arial"/>
                <a:cs typeface="Arial"/>
              </a:rPr>
              <a:t>| ◼︎ </a:t>
            </a:r>
            <a:r>
              <a:rPr lang="en-US" b="1" dirty="0">
                <a:latin typeface="Arial"/>
                <a:cs typeface="Arial"/>
              </a:rPr>
              <a:t>Research</a:t>
            </a:r>
            <a:r>
              <a:rPr lang="en-US" dirty="0">
                <a:latin typeface="Arial"/>
                <a:cs typeface="Arial"/>
              </a:rPr>
              <a:t> </a:t>
            </a:r>
            <a:r>
              <a:rPr lang="en-US" b="1" dirty="0">
                <a:latin typeface="Arial"/>
                <a:cs typeface="Arial"/>
              </a:rPr>
              <a:t>Topics</a:t>
            </a:r>
            <a:r>
              <a:rPr lang="en-US" dirty="0">
                <a:latin typeface="Arial"/>
                <a:cs typeface="Arial"/>
              </a:rPr>
              <a:t> | ◻︎ ML Pipeline  | ◻︎ Next steps</a:t>
            </a:r>
          </a:p>
        </p:txBody>
      </p:sp>
    </p:spTree>
    <p:extLst>
      <p:ext uri="{BB962C8B-B14F-4D97-AF65-F5344CB8AC3E}">
        <p14:creationId xmlns:p14="http://schemas.microsoft.com/office/powerpoint/2010/main" val="23325183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 advTm="20000"/>
    </mc:Choice>
    <mc:Fallback xmlns="">
      <p:transition spd="slow" advClick="0" advTm="20000"/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7ED68744-4E01-4801-A78D-D1B172F4C29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165382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7ED68744-4E01-4801-A78D-D1B172F4C29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el 2">
            <a:extLst>
              <a:ext uri="{FF2B5EF4-FFF2-40B4-BE49-F238E27FC236}">
                <a16:creationId xmlns:a16="http://schemas.microsoft.com/office/drawing/2014/main" id="{37327073-11DD-47A1-A0A3-AEC7A599651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7502" y="282065"/>
            <a:ext cx="7459426" cy="791179"/>
          </a:xfrm>
        </p:spPr>
        <p:txBody>
          <a:bodyPr vert="horz"/>
          <a:lstStyle/>
          <a:p>
            <a:r>
              <a:rPr lang="de-DE" err="1"/>
              <a:t>Reducing</a:t>
            </a:r>
            <a:r>
              <a:rPr lang="de-DE"/>
              <a:t> </a:t>
            </a:r>
            <a:r>
              <a:rPr lang="de-DE" err="1"/>
              <a:t>the</a:t>
            </a:r>
            <a:r>
              <a:rPr lang="de-DE"/>
              <a:t> </a:t>
            </a:r>
            <a:r>
              <a:rPr lang="de-DE" err="1"/>
              <a:t>need</a:t>
            </a:r>
            <a:r>
              <a:rPr lang="de-DE"/>
              <a:t> </a:t>
            </a:r>
            <a:r>
              <a:rPr lang="de-DE" err="1"/>
              <a:t>for</a:t>
            </a:r>
            <a:r>
              <a:rPr lang="de-DE"/>
              <a:t> </a:t>
            </a:r>
            <a:r>
              <a:rPr lang="de-DE" err="1"/>
              <a:t>manual</a:t>
            </a:r>
            <a:r>
              <a:rPr lang="de-DE"/>
              <a:t> </a:t>
            </a:r>
            <a:r>
              <a:rPr lang="de-DE" err="1"/>
              <a:t>labeling</a:t>
            </a:r>
            <a:r>
              <a:rPr lang="de-DE"/>
              <a:t> </a:t>
            </a:r>
            <a:r>
              <a:rPr lang="de-DE" err="1"/>
              <a:t>with</a:t>
            </a:r>
            <a:r>
              <a:rPr lang="de-DE"/>
              <a:t> </a:t>
            </a:r>
            <a:r>
              <a:rPr lang="de-DE" b="1" err="1"/>
              <a:t>active</a:t>
            </a:r>
            <a:r>
              <a:rPr lang="de-DE" b="1"/>
              <a:t> </a:t>
            </a:r>
            <a:r>
              <a:rPr lang="de-DE" b="1" err="1"/>
              <a:t>learning</a:t>
            </a:r>
            <a:endParaRPr lang="de-DE" b="1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F623D925-8B03-4C79-B8CE-4001D099571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11</a:t>
            </a:fld>
            <a:endParaRPr lang="de-DE"/>
          </a:p>
        </p:txBody>
      </p:sp>
      <p:pic>
        <p:nvPicPr>
          <p:cNvPr id="8" name="Grafik 2" descr="countdown.gif">
            <a:extLst>
              <a:ext uri="{FF2B5EF4-FFF2-40B4-BE49-F238E27FC236}">
                <a16:creationId xmlns:a16="http://schemas.microsoft.com/office/drawing/2014/main" id="{9F18EF32-707B-47E4-B94B-5CA81854BA99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85113" y="4575685"/>
            <a:ext cx="1258887" cy="571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2" name="Group 1">
            <a:extLst>
              <a:ext uri="{FF2B5EF4-FFF2-40B4-BE49-F238E27FC236}">
                <a16:creationId xmlns:a16="http://schemas.microsoft.com/office/drawing/2014/main" id="{2F29C1C9-5A5B-4370-B81C-D256F2593FAE}"/>
              </a:ext>
            </a:extLst>
          </p:cNvPr>
          <p:cNvGrpSpPr>
            <a:grpSpLocks/>
          </p:cNvGrpSpPr>
          <p:nvPr/>
        </p:nvGrpSpPr>
        <p:grpSpPr>
          <a:xfrm>
            <a:off x="672910" y="1044246"/>
            <a:ext cx="3675643" cy="2880812"/>
            <a:chOff x="53022" y="538220"/>
            <a:chExt cx="5042035" cy="3951728"/>
          </a:xfrm>
        </p:grpSpPr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C6E32A9F-980E-45CB-91F6-BBFB197A37BF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2740767" y="1916622"/>
              <a:ext cx="1641660" cy="1640077"/>
              <a:chOff x="5273675" y="2606675"/>
              <a:chExt cx="1646238" cy="1644650"/>
            </a:xfrm>
          </p:grpSpPr>
          <p:sp>
            <p:nvSpPr>
              <p:cNvPr id="25" name="AutoShape 3">
                <a:extLst>
                  <a:ext uri="{FF2B5EF4-FFF2-40B4-BE49-F238E27FC236}">
                    <a16:creationId xmlns:a16="http://schemas.microsoft.com/office/drawing/2014/main" id="{DC6A9B62-EA2D-4B8E-A9A5-C210365603FA}"/>
                  </a:ext>
                </a:extLst>
              </p:cNvPr>
              <p:cNvSpPr>
                <a:spLocks noChangeAspect="1" noChangeArrowheads="1" noTextEdit="1"/>
              </p:cNvSpPr>
              <p:nvPr/>
            </p:nvSpPr>
            <p:spPr bwMode="auto">
              <a:xfrm>
                <a:off x="5273675" y="2606675"/>
                <a:ext cx="1646238" cy="164465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53328" tIns="26663" rIns="53328" bIns="26663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grpSp>
            <p:nvGrpSpPr>
              <p:cNvPr id="26" name="Group 25">
                <a:extLst>
                  <a:ext uri="{FF2B5EF4-FFF2-40B4-BE49-F238E27FC236}">
                    <a16:creationId xmlns:a16="http://schemas.microsoft.com/office/drawing/2014/main" id="{A7E62F4B-4964-4C7C-BE8A-16DC6287F8B0}"/>
                  </a:ext>
                </a:extLst>
              </p:cNvPr>
              <p:cNvGrpSpPr/>
              <p:nvPr/>
            </p:nvGrpSpPr>
            <p:grpSpPr>
              <a:xfrm>
                <a:off x="5608638" y="2881313"/>
                <a:ext cx="977900" cy="1093788"/>
                <a:chOff x="5608638" y="2881313"/>
                <a:chExt cx="977900" cy="1093788"/>
              </a:xfrm>
            </p:grpSpPr>
            <p:sp>
              <p:nvSpPr>
                <p:cNvPr id="27" name="Freeform 17">
                  <a:extLst>
                    <a:ext uri="{FF2B5EF4-FFF2-40B4-BE49-F238E27FC236}">
                      <a16:creationId xmlns:a16="http://schemas.microsoft.com/office/drawing/2014/main" id="{494F3A79-68B1-4D4B-8AAD-802144CABCE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608638" y="2881313"/>
                  <a:ext cx="977900" cy="1093788"/>
                </a:xfrm>
                <a:custGeom>
                  <a:avLst/>
                  <a:gdLst>
                    <a:gd name="connsiteX0" fmla="*/ 488514 w 977900"/>
                    <a:gd name="connsiteY0" fmla="*/ 61912 h 1093788"/>
                    <a:gd name="connsiteX1" fmla="*/ 917575 w 977900"/>
                    <a:gd name="connsiteY1" fmla="*/ 219512 h 1093788"/>
                    <a:gd name="connsiteX2" fmla="*/ 488514 w 977900"/>
                    <a:gd name="connsiteY2" fmla="*/ 377825 h 1093788"/>
                    <a:gd name="connsiteX3" fmla="*/ 58737 w 977900"/>
                    <a:gd name="connsiteY3" fmla="*/ 224504 h 1093788"/>
                    <a:gd name="connsiteX4" fmla="*/ 58737 w 977900"/>
                    <a:gd name="connsiteY4" fmla="*/ 215233 h 1093788"/>
                    <a:gd name="connsiteX5" fmla="*/ 488514 w 977900"/>
                    <a:gd name="connsiteY5" fmla="*/ 61912 h 1093788"/>
                    <a:gd name="connsiteX6" fmla="*/ 477508 w 977900"/>
                    <a:gd name="connsiteY6" fmla="*/ 28575 h 1093788"/>
                    <a:gd name="connsiteX7" fmla="*/ 173585 w 977900"/>
                    <a:gd name="connsiteY7" fmla="*/ 78482 h 1093788"/>
                    <a:gd name="connsiteX8" fmla="*/ 172155 w 977900"/>
                    <a:gd name="connsiteY8" fmla="*/ 79195 h 1093788"/>
                    <a:gd name="connsiteX9" fmla="*/ 165719 w 977900"/>
                    <a:gd name="connsiteY9" fmla="*/ 81334 h 1093788"/>
                    <a:gd name="connsiteX10" fmla="*/ 164289 w 977900"/>
                    <a:gd name="connsiteY10" fmla="*/ 82047 h 1093788"/>
                    <a:gd name="connsiteX11" fmla="*/ 157138 w 977900"/>
                    <a:gd name="connsiteY11" fmla="*/ 84899 h 1093788"/>
                    <a:gd name="connsiteX12" fmla="*/ 149271 w 977900"/>
                    <a:gd name="connsiteY12" fmla="*/ 88463 h 1093788"/>
                    <a:gd name="connsiteX13" fmla="*/ 144981 w 977900"/>
                    <a:gd name="connsiteY13" fmla="*/ 89889 h 1093788"/>
                    <a:gd name="connsiteX14" fmla="*/ 142835 w 977900"/>
                    <a:gd name="connsiteY14" fmla="*/ 91315 h 1093788"/>
                    <a:gd name="connsiteX15" fmla="*/ 50586 w 977900"/>
                    <a:gd name="connsiteY15" fmla="*/ 153342 h 1093788"/>
                    <a:gd name="connsiteX16" fmla="*/ 49156 w 977900"/>
                    <a:gd name="connsiteY16" fmla="*/ 154768 h 1093788"/>
                    <a:gd name="connsiteX17" fmla="*/ 47726 w 977900"/>
                    <a:gd name="connsiteY17" fmla="*/ 156907 h 1093788"/>
                    <a:gd name="connsiteX18" fmla="*/ 44150 w 977900"/>
                    <a:gd name="connsiteY18" fmla="*/ 161185 h 1093788"/>
                    <a:gd name="connsiteX19" fmla="*/ 43435 w 977900"/>
                    <a:gd name="connsiteY19" fmla="*/ 161898 h 1093788"/>
                    <a:gd name="connsiteX20" fmla="*/ 41289 w 977900"/>
                    <a:gd name="connsiteY20" fmla="*/ 165463 h 1093788"/>
                    <a:gd name="connsiteX21" fmla="*/ 39859 w 977900"/>
                    <a:gd name="connsiteY21" fmla="*/ 167602 h 1093788"/>
                    <a:gd name="connsiteX22" fmla="*/ 38429 w 977900"/>
                    <a:gd name="connsiteY22" fmla="*/ 169740 h 1093788"/>
                    <a:gd name="connsiteX23" fmla="*/ 36999 w 977900"/>
                    <a:gd name="connsiteY23" fmla="*/ 171879 h 1093788"/>
                    <a:gd name="connsiteX24" fmla="*/ 36284 w 977900"/>
                    <a:gd name="connsiteY24" fmla="*/ 174018 h 1093788"/>
                    <a:gd name="connsiteX25" fmla="*/ 34853 w 977900"/>
                    <a:gd name="connsiteY25" fmla="*/ 176870 h 1093788"/>
                    <a:gd name="connsiteX26" fmla="*/ 34138 w 977900"/>
                    <a:gd name="connsiteY26" fmla="*/ 178296 h 1093788"/>
                    <a:gd name="connsiteX27" fmla="*/ 32708 w 977900"/>
                    <a:gd name="connsiteY27" fmla="*/ 181148 h 1093788"/>
                    <a:gd name="connsiteX28" fmla="*/ 31993 w 977900"/>
                    <a:gd name="connsiteY28" fmla="*/ 182574 h 1093788"/>
                    <a:gd name="connsiteX29" fmla="*/ 31278 w 977900"/>
                    <a:gd name="connsiteY29" fmla="*/ 186138 h 1093788"/>
                    <a:gd name="connsiteX30" fmla="*/ 30563 w 977900"/>
                    <a:gd name="connsiteY30" fmla="*/ 187564 h 1093788"/>
                    <a:gd name="connsiteX31" fmla="*/ 29848 w 977900"/>
                    <a:gd name="connsiteY31" fmla="*/ 190416 h 1093788"/>
                    <a:gd name="connsiteX32" fmla="*/ 29133 w 977900"/>
                    <a:gd name="connsiteY32" fmla="*/ 191842 h 1093788"/>
                    <a:gd name="connsiteX33" fmla="*/ 28417 w 977900"/>
                    <a:gd name="connsiteY33" fmla="*/ 195407 h 1093788"/>
                    <a:gd name="connsiteX34" fmla="*/ 28417 w 977900"/>
                    <a:gd name="connsiteY34" fmla="*/ 196833 h 1093788"/>
                    <a:gd name="connsiteX35" fmla="*/ 27702 w 977900"/>
                    <a:gd name="connsiteY35" fmla="*/ 199685 h 1093788"/>
                    <a:gd name="connsiteX36" fmla="*/ 27702 w 977900"/>
                    <a:gd name="connsiteY36" fmla="*/ 201823 h 1093788"/>
                    <a:gd name="connsiteX37" fmla="*/ 26987 w 977900"/>
                    <a:gd name="connsiteY37" fmla="*/ 203962 h 1093788"/>
                    <a:gd name="connsiteX38" fmla="*/ 26987 w 977900"/>
                    <a:gd name="connsiteY38" fmla="*/ 208953 h 1093788"/>
                    <a:gd name="connsiteX39" fmla="*/ 26987 w 977900"/>
                    <a:gd name="connsiteY39" fmla="*/ 210379 h 1093788"/>
                    <a:gd name="connsiteX40" fmla="*/ 26987 w 977900"/>
                    <a:gd name="connsiteY40" fmla="*/ 211092 h 1093788"/>
                    <a:gd name="connsiteX41" fmla="*/ 26987 w 977900"/>
                    <a:gd name="connsiteY41" fmla="*/ 211805 h 1093788"/>
                    <a:gd name="connsiteX42" fmla="*/ 26987 w 977900"/>
                    <a:gd name="connsiteY42" fmla="*/ 215370 h 1093788"/>
                    <a:gd name="connsiteX43" fmla="*/ 27702 w 977900"/>
                    <a:gd name="connsiteY43" fmla="*/ 217508 h 1093788"/>
                    <a:gd name="connsiteX44" fmla="*/ 27702 w 977900"/>
                    <a:gd name="connsiteY44" fmla="*/ 876280 h 1093788"/>
                    <a:gd name="connsiteX45" fmla="*/ 26987 w 977900"/>
                    <a:gd name="connsiteY45" fmla="*/ 878419 h 1093788"/>
                    <a:gd name="connsiteX46" fmla="*/ 26987 w 977900"/>
                    <a:gd name="connsiteY46" fmla="*/ 881983 h 1093788"/>
                    <a:gd name="connsiteX47" fmla="*/ 26987 w 977900"/>
                    <a:gd name="connsiteY47" fmla="*/ 882696 h 1093788"/>
                    <a:gd name="connsiteX48" fmla="*/ 26987 w 977900"/>
                    <a:gd name="connsiteY48" fmla="*/ 883409 h 1093788"/>
                    <a:gd name="connsiteX49" fmla="*/ 26987 w 977900"/>
                    <a:gd name="connsiteY49" fmla="*/ 884835 h 1093788"/>
                    <a:gd name="connsiteX50" fmla="*/ 26987 w 977900"/>
                    <a:gd name="connsiteY50" fmla="*/ 889826 h 1093788"/>
                    <a:gd name="connsiteX51" fmla="*/ 27702 w 977900"/>
                    <a:gd name="connsiteY51" fmla="*/ 891965 h 1093788"/>
                    <a:gd name="connsiteX52" fmla="*/ 27702 w 977900"/>
                    <a:gd name="connsiteY52" fmla="*/ 894104 h 1093788"/>
                    <a:gd name="connsiteX53" fmla="*/ 28417 w 977900"/>
                    <a:gd name="connsiteY53" fmla="*/ 896956 h 1093788"/>
                    <a:gd name="connsiteX54" fmla="*/ 28417 w 977900"/>
                    <a:gd name="connsiteY54" fmla="*/ 898381 h 1093788"/>
                    <a:gd name="connsiteX55" fmla="*/ 29133 w 977900"/>
                    <a:gd name="connsiteY55" fmla="*/ 901946 h 1093788"/>
                    <a:gd name="connsiteX56" fmla="*/ 29848 w 977900"/>
                    <a:gd name="connsiteY56" fmla="*/ 903372 h 1093788"/>
                    <a:gd name="connsiteX57" fmla="*/ 30563 w 977900"/>
                    <a:gd name="connsiteY57" fmla="*/ 906224 h 1093788"/>
                    <a:gd name="connsiteX58" fmla="*/ 31278 w 977900"/>
                    <a:gd name="connsiteY58" fmla="*/ 907650 h 1093788"/>
                    <a:gd name="connsiteX59" fmla="*/ 31993 w 977900"/>
                    <a:gd name="connsiteY59" fmla="*/ 911215 h 1093788"/>
                    <a:gd name="connsiteX60" fmla="*/ 32708 w 977900"/>
                    <a:gd name="connsiteY60" fmla="*/ 912641 h 1093788"/>
                    <a:gd name="connsiteX61" fmla="*/ 34138 w 977900"/>
                    <a:gd name="connsiteY61" fmla="*/ 915492 h 1093788"/>
                    <a:gd name="connsiteX62" fmla="*/ 34853 w 977900"/>
                    <a:gd name="connsiteY62" fmla="*/ 916918 h 1093788"/>
                    <a:gd name="connsiteX63" fmla="*/ 36284 w 977900"/>
                    <a:gd name="connsiteY63" fmla="*/ 919770 h 1093788"/>
                    <a:gd name="connsiteX64" fmla="*/ 36999 w 977900"/>
                    <a:gd name="connsiteY64" fmla="*/ 921909 h 1093788"/>
                    <a:gd name="connsiteX65" fmla="*/ 38429 w 977900"/>
                    <a:gd name="connsiteY65" fmla="*/ 924048 h 1093788"/>
                    <a:gd name="connsiteX66" fmla="*/ 39859 w 977900"/>
                    <a:gd name="connsiteY66" fmla="*/ 926187 h 1093788"/>
                    <a:gd name="connsiteX67" fmla="*/ 41289 w 977900"/>
                    <a:gd name="connsiteY67" fmla="*/ 928326 h 1093788"/>
                    <a:gd name="connsiteX68" fmla="*/ 43435 w 977900"/>
                    <a:gd name="connsiteY68" fmla="*/ 931890 h 1093788"/>
                    <a:gd name="connsiteX69" fmla="*/ 44150 w 977900"/>
                    <a:gd name="connsiteY69" fmla="*/ 931890 h 1093788"/>
                    <a:gd name="connsiteX70" fmla="*/ 47726 w 977900"/>
                    <a:gd name="connsiteY70" fmla="*/ 936881 h 1093788"/>
                    <a:gd name="connsiteX71" fmla="*/ 49156 w 977900"/>
                    <a:gd name="connsiteY71" fmla="*/ 939020 h 1093788"/>
                    <a:gd name="connsiteX72" fmla="*/ 50586 w 977900"/>
                    <a:gd name="connsiteY72" fmla="*/ 940446 h 1093788"/>
                    <a:gd name="connsiteX73" fmla="*/ 142835 w 977900"/>
                    <a:gd name="connsiteY73" fmla="*/ 1002473 h 1093788"/>
                    <a:gd name="connsiteX74" fmla="*/ 144981 w 977900"/>
                    <a:gd name="connsiteY74" fmla="*/ 1003899 h 1093788"/>
                    <a:gd name="connsiteX75" fmla="*/ 149271 w 977900"/>
                    <a:gd name="connsiteY75" fmla="*/ 1005325 h 1093788"/>
                    <a:gd name="connsiteX76" fmla="*/ 157138 w 977900"/>
                    <a:gd name="connsiteY76" fmla="*/ 1008890 h 1093788"/>
                    <a:gd name="connsiteX77" fmla="*/ 162859 w 977900"/>
                    <a:gd name="connsiteY77" fmla="*/ 1011029 h 1093788"/>
                    <a:gd name="connsiteX78" fmla="*/ 164289 w 977900"/>
                    <a:gd name="connsiteY78" fmla="*/ 1011741 h 1093788"/>
                    <a:gd name="connsiteX79" fmla="*/ 172155 w 977900"/>
                    <a:gd name="connsiteY79" fmla="*/ 1014593 h 1093788"/>
                    <a:gd name="connsiteX80" fmla="*/ 172870 w 977900"/>
                    <a:gd name="connsiteY80" fmla="*/ 1015306 h 1093788"/>
                    <a:gd name="connsiteX81" fmla="*/ 477508 w 977900"/>
                    <a:gd name="connsiteY81" fmla="*/ 1065213 h 1093788"/>
                    <a:gd name="connsiteX82" fmla="*/ 486089 w 977900"/>
                    <a:gd name="connsiteY82" fmla="*/ 1065213 h 1093788"/>
                    <a:gd name="connsiteX83" fmla="*/ 488950 w 977900"/>
                    <a:gd name="connsiteY83" fmla="*/ 1065213 h 1093788"/>
                    <a:gd name="connsiteX84" fmla="*/ 491810 w 977900"/>
                    <a:gd name="connsiteY84" fmla="*/ 1065213 h 1093788"/>
                    <a:gd name="connsiteX85" fmla="*/ 500392 w 977900"/>
                    <a:gd name="connsiteY85" fmla="*/ 1065213 h 1093788"/>
                    <a:gd name="connsiteX86" fmla="*/ 805029 w 977900"/>
                    <a:gd name="connsiteY86" fmla="*/ 1015306 h 1093788"/>
                    <a:gd name="connsiteX87" fmla="*/ 805744 w 977900"/>
                    <a:gd name="connsiteY87" fmla="*/ 1014593 h 1093788"/>
                    <a:gd name="connsiteX88" fmla="*/ 813611 w 977900"/>
                    <a:gd name="connsiteY88" fmla="*/ 1011741 h 1093788"/>
                    <a:gd name="connsiteX89" fmla="*/ 814326 w 977900"/>
                    <a:gd name="connsiteY89" fmla="*/ 1011741 h 1093788"/>
                    <a:gd name="connsiteX90" fmla="*/ 820762 w 977900"/>
                    <a:gd name="connsiteY90" fmla="*/ 1008890 h 1093788"/>
                    <a:gd name="connsiteX91" fmla="*/ 828628 w 977900"/>
                    <a:gd name="connsiteY91" fmla="*/ 1005325 h 1093788"/>
                    <a:gd name="connsiteX92" fmla="*/ 832919 w 977900"/>
                    <a:gd name="connsiteY92" fmla="*/ 1003899 h 1093788"/>
                    <a:gd name="connsiteX93" fmla="*/ 835064 w 977900"/>
                    <a:gd name="connsiteY93" fmla="*/ 1002473 h 1093788"/>
                    <a:gd name="connsiteX94" fmla="*/ 927314 w 977900"/>
                    <a:gd name="connsiteY94" fmla="*/ 940446 h 1093788"/>
                    <a:gd name="connsiteX95" fmla="*/ 928744 w 977900"/>
                    <a:gd name="connsiteY95" fmla="*/ 939020 h 1093788"/>
                    <a:gd name="connsiteX96" fmla="*/ 930174 w 977900"/>
                    <a:gd name="connsiteY96" fmla="*/ 936881 h 1093788"/>
                    <a:gd name="connsiteX97" fmla="*/ 933750 w 977900"/>
                    <a:gd name="connsiteY97" fmla="*/ 931890 h 1093788"/>
                    <a:gd name="connsiteX98" fmla="*/ 934465 w 977900"/>
                    <a:gd name="connsiteY98" fmla="*/ 931890 h 1093788"/>
                    <a:gd name="connsiteX99" fmla="*/ 936610 w 977900"/>
                    <a:gd name="connsiteY99" fmla="*/ 928326 h 1093788"/>
                    <a:gd name="connsiteX100" fmla="*/ 938040 w 977900"/>
                    <a:gd name="connsiteY100" fmla="*/ 926187 h 1093788"/>
                    <a:gd name="connsiteX101" fmla="*/ 939470 w 977900"/>
                    <a:gd name="connsiteY101" fmla="*/ 924048 h 1093788"/>
                    <a:gd name="connsiteX102" fmla="*/ 940901 w 977900"/>
                    <a:gd name="connsiteY102" fmla="*/ 921909 h 1093788"/>
                    <a:gd name="connsiteX103" fmla="*/ 941616 w 977900"/>
                    <a:gd name="connsiteY103" fmla="*/ 919770 h 1093788"/>
                    <a:gd name="connsiteX104" fmla="*/ 943046 w 977900"/>
                    <a:gd name="connsiteY104" fmla="*/ 916918 h 1093788"/>
                    <a:gd name="connsiteX105" fmla="*/ 943761 w 977900"/>
                    <a:gd name="connsiteY105" fmla="*/ 915492 h 1093788"/>
                    <a:gd name="connsiteX106" fmla="*/ 945191 w 977900"/>
                    <a:gd name="connsiteY106" fmla="*/ 912641 h 1093788"/>
                    <a:gd name="connsiteX107" fmla="*/ 945906 w 977900"/>
                    <a:gd name="connsiteY107" fmla="*/ 911215 h 1093788"/>
                    <a:gd name="connsiteX108" fmla="*/ 946622 w 977900"/>
                    <a:gd name="connsiteY108" fmla="*/ 907650 h 1093788"/>
                    <a:gd name="connsiteX109" fmla="*/ 947337 w 977900"/>
                    <a:gd name="connsiteY109" fmla="*/ 906224 h 1093788"/>
                    <a:gd name="connsiteX110" fmla="*/ 948052 w 977900"/>
                    <a:gd name="connsiteY110" fmla="*/ 903372 h 1093788"/>
                    <a:gd name="connsiteX111" fmla="*/ 948767 w 977900"/>
                    <a:gd name="connsiteY111" fmla="*/ 901946 h 1093788"/>
                    <a:gd name="connsiteX112" fmla="*/ 949482 w 977900"/>
                    <a:gd name="connsiteY112" fmla="*/ 898381 h 1093788"/>
                    <a:gd name="connsiteX113" fmla="*/ 949482 w 977900"/>
                    <a:gd name="connsiteY113" fmla="*/ 896956 h 1093788"/>
                    <a:gd name="connsiteX114" fmla="*/ 950197 w 977900"/>
                    <a:gd name="connsiteY114" fmla="*/ 894104 h 1093788"/>
                    <a:gd name="connsiteX115" fmla="*/ 950197 w 977900"/>
                    <a:gd name="connsiteY115" fmla="*/ 891965 h 1093788"/>
                    <a:gd name="connsiteX116" fmla="*/ 950912 w 977900"/>
                    <a:gd name="connsiteY116" fmla="*/ 889826 h 1093788"/>
                    <a:gd name="connsiteX117" fmla="*/ 950912 w 977900"/>
                    <a:gd name="connsiteY117" fmla="*/ 884835 h 1093788"/>
                    <a:gd name="connsiteX118" fmla="*/ 950912 w 977900"/>
                    <a:gd name="connsiteY118" fmla="*/ 208240 h 1093788"/>
                    <a:gd name="connsiteX119" fmla="*/ 950912 w 977900"/>
                    <a:gd name="connsiteY119" fmla="*/ 206101 h 1093788"/>
                    <a:gd name="connsiteX120" fmla="*/ 950912 w 977900"/>
                    <a:gd name="connsiteY120" fmla="*/ 203249 h 1093788"/>
                    <a:gd name="connsiteX121" fmla="*/ 950197 w 977900"/>
                    <a:gd name="connsiteY121" fmla="*/ 200398 h 1093788"/>
                    <a:gd name="connsiteX122" fmla="*/ 949482 w 977900"/>
                    <a:gd name="connsiteY122" fmla="*/ 196833 h 1093788"/>
                    <a:gd name="connsiteX123" fmla="*/ 949482 w 977900"/>
                    <a:gd name="connsiteY123" fmla="*/ 195407 h 1093788"/>
                    <a:gd name="connsiteX124" fmla="*/ 948767 w 977900"/>
                    <a:gd name="connsiteY124" fmla="*/ 192555 h 1093788"/>
                    <a:gd name="connsiteX125" fmla="*/ 885122 w 977900"/>
                    <a:gd name="connsiteY125" fmla="*/ 117695 h 1093788"/>
                    <a:gd name="connsiteX126" fmla="*/ 880831 w 977900"/>
                    <a:gd name="connsiteY126" fmla="*/ 114843 h 1093788"/>
                    <a:gd name="connsiteX127" fmla="*/ 879401 w 977900"/>
                    <a:gd name="connsiteY127" fmla="*/ 114130 h 1093788"/>
                    <a:gd name="connsiteX128" fmla="*/ 875110 w 977900"/>
                    <a:gd name="connsiteY128" fmla="*/ 111278 h 1093788"/>
                    <a:gd name="connsiteX129" fmla="*/ 873680 w 977900"/>
                    <a:gd name="connsiteY129" fmla="*/ 110565 h 1093788"/>
                    <a:gd name="connsiteX130" fmla="*/ 870105 w 977900"/>
                    <a:gd name="connsiteY130" fmla="*/ 108426 h 1093788"/>
                    <a:gd name="connsiteX131" fmla="*/ 867959 w 977900"/>
                    <a:gd name="connsiteY131" fmla="*/ 107000 h 1093788"/>
                    <a:gd name="connsiteX132" fmla="*/ 864384 w 977900"/>
                    <a:gd name="connsiteY132" fmla="*/ 104861 h 1093788"/>
                    <a:gd name="connsiteX133" fmla="*/ 861523 w 977900"/>
                    <a:gd name="connsiteY133" fmla="*/ 103436 h 1093788"/>
                    <a:gd name="connsiteX134" fmla="*/ 858663 w 977900"/>
                    <a:gd name="connsiteY134" fmla="*/ 102010 h 1093788"/>
                    <a:gd name="connsiteX135" fmla="*/ 855087 w 977900"/>
                    <a:gd name="connsiteY135" fmla="*/ 99871 h 1093788"/>
                    <a:gd name="connsiteX136" fmla="*/ 852227 w 977900"/>
                    <a:gd name="connsiteY136" fmla="*/ 98445 h 1093788"/>
                    <a:gd name="connsiteX137" fmla="*/ 848651 w 977900"/>
                    <a:gd name="connsiteY137" fmla="*/ 97019 h 1093788"/>
                    <a:gd name="connsiteX138" fmla="*/ 845791 w 977900"/>
                    <a:gd name="connsiteY138" fmla="*/ 95593 h 1093788"/>
                    <a:gd name="connsiteX139" fmla="*/ 841500 w 977900"/>
                    <a:gd name="connsiteY139" fmla="*/ 93454 h 1093788"/>
                    <a:gd name="connsiteX140" fmla="*/ 839355 w 977900"/>
                    <a:gd name="connsiteY140" fmla="*/ 92028 h 1093788"/>
                    <a:gd name="connsiteX141" fmla="*/ 834349 w 977900"/>
                    <a:gd name="connsiteY141" fmla="*/ 90602 h 1093788"/>
                    <a:gd name="connsiteX142" fmla="*/ 830773 w 977900"/>
                    <a:gd name="connsiteY142" fmla="*/ 88463 h 1093788"/>
                    <a:gd name="connsiteX143" fmla="*/ 827198 w 977900"/>
                    <a:gd name="connsiteY143" fmla="*/ 87038 h 1093788"/>
                    <a:gd name="connsiteX144" fmla="*/ 821477 w 977900"/>
                    <a:gd name="connsiteY144" fmla="*/ 84899 h 1093788"/>
                    <a:gd name="connsiteX145" fmla="*/ 820047 w 977900"/>
                    <a:gd name="connsiteY145" fmla="*/ 84186 h 1093788"/>
                    <a:gd name="connsiteX146" fmla="*/ 812180 w 977900"/>
                    <a:gd name="connsiteY146" fmla="*/ 80621 h 1093788"/>
                    <a:gd name="connsiteX147" fmla="*/ 795733 w 977900"/>
                    <a:gd name="connsiteY147" fmla="*/ 74917 h 1093788"/>
                    <a:gd name="connsiteX148" fmla="*/ 795018 w 977900"/>
                    <a:gd name="connsiteY148" fmla="*/ 74917 h 1093788"/>
                    <a:gd name="connsiteX149" fmla="*/ 778570 w 977900"/>
                    <a:gd name="connsiteY149" fmla="*/ 69214 h 1093788"/>
                    <a:gd name="connsiteX150" fmla="*/ 777855 w 977900"/>
                    <a:gd name="connsiteY150" fmla="*/ 68501 h 1093788"/>
                    <a:gd name="connsiteX151" fmla="*/ 760692 w 977900"/>
                    <a:gd name="connsiteY151" fmla="*/ 63510 h 1093788"/>
                    <a:gd name="connsiteX152" fmla="*/ 759977 w 977900"/>
                    <a:gd name="connsiteY152" fmla="*/ 63510 h 1093788"/>
                    <a:gd name="connsiteX153" fmla="*/ 742815 w 977900"/>
                    <a:gd name="connsiteY153" fmla="*/ 58519 h 1093788"/>
                    <a:gd name="connsiteX154" fmla="*/ 741384 w 977900"/>
                    <a:gd name="connsiteY154" fmla="*/ 58519 h 1093788"/>
                    <a:gd name="connsiteX155" fmla="*/ 723507 w 977900"/>
                    <a:gd name="connsiteY155" fmla="*/ 54242 h 1093788"/>
                    <a:gd name="connsiteX156" fmla="*/ 722076 w 977900"/>
                    <a:gd name="connsiteY156" fmla="*/ 53529 h 1093788"/>
                    <a:gd name="connsiteX157" fmla="*/ 704198 w 977900"/>
                    <a:gd name="connsiteY157" fmla="*/ 49251 h 1093788"/>
                    <a:gd name="connsiteX158" fmla="*/ 702768 w 977900"/>
                    <a:gd name="connsiteY158" fmla="*/ 49251 h 1093788"/>
                    <a:gd name="connsiteX159" fmla="*/ 684175 w 977900"/>
                    <a:gd name="connsiteY159" fmla="*/ 45686 h 1093788"/>
                    <a:gd name="connsiteX160" fmla="*/ 682745 w 977900"/>
                    <a:gd name="connsiteY160" fmla="*/ 45686 h 1093788"/>
                    <a:gd name="connsiteX161" fmla="*/ 664152 w 977900"/>
                    <a:gd name="connsiteY161" fmla="*/ 42121 h 1093788"/>
                    <a:gd name="connsiteX162" fmla="*/ 662007 w 977900"/>
                    <a:gd name="connsiteY162" fmla="*/ 42121 h 1093788"/>
                    <a:gd name="connsiteX163" fmla="*/ 643414 w 977900"/>
                    <a:gd name="connsiteY163" fmla="*/ 39269 h 1093788"/>
                    <a:gd name="connsiteX164" fmla="*/ 641984 w 977900"/>
                    <a:gd name="connsiteY164" fmla="*/ 38557 h 1093788"/>
                    <a:gd name="connsiteX165" fmla="*/ 621961 w 977900"/>
                    <a:gd name="connsiteY165" fmla="*/ 36418 h 1093788"/>
                    <a:gd name="connsiteX166" fmla="*/ 620530 w 977900"/>
                    <a:gd name="connsiteY166" fmla="*/ 35705 h 1093788"/>
                    <a:gd name="connsiteX167" fmla="*/ 600507 w 977900"/>
                    <a:gd name="connsiteY167" fmla="*/ 33566 h 1093788"/>
                    <a:gd name="connsiteX168" fmla="*/ 599792 w 977900"/>
                    <a:gd name="connsiteY168" fmla="*/ 33566 h 1093788"/>
                    <a:gd name="connsiteX169" fmla="*/ 578339 w 977900"/>
                    <a:gd name="connsiteY169" fmla="*/ 32140 h 1093788"/>
                    <a:gd name="connsiteX170" fmla="*/ 577624 w 977900"/>
                    <a:gd name="connsiteY170" fmla="*/ 32140 h 1093788"/>
                    <a:gd name="connsiteX171" fmla="*/ 556170 w 977900"/>
                    <a:gd name="connsiteY171" fmla="*/ 30714 h 1093788"/>
                    <a:gd name="connsiteX172" fmla="*/ 534002 w 977900"/>
                    <a:gd name="connsiteY172" fmla="*/ 29288 h 1093788"/>
                    <a:gd name="connsiteX173" fmla="*/ 488950 w 977900"/>
                    <a:gd name="connsiteY173" fmla="*/ 28575 h 1093788"/>
                    <a:gd name="connsiteX174" fmla="*/ 477508 w 977900"/>
                    <a:gd name="connsiteY174" fmla="*/ 28575 h 1093788"/>
                    <a:gd name="connsiteX175" fmla="*/ 488950 w 977900"/>
                    <a:gd name="connsiteY175" fmla="*/ 0 h 1093788"/>
                    <a:gd name="connsiteX176" fmla="*/ 821579 w 977900"/>
                    <a:gd name="connsiteY176" fmla="*/ 54903 h 1093788"/>
                    <a:gd name="connsiteX177" fmla="*/ 976473 w 977900"/>
                    <a:gd name="connsiteY177" fmla="*/ 192518 h 1093788"/>
                    <a:gd name="connsiteX178" fmla="*/ 977900 w 977900"/>
                    <a:gd name="connsiteY178" fmla="*/ 198935 h 1093788"/>
                    <a:gd name="connsiteX179" fmla="*/ 977900 w 977900"/>
                    <a:gd name="connsiteY179" fmla="*/ 884870 h 1093788"/>
                    <a:gd name="connsiteX180" fmla="*/ 488950 w 977900"/>
                    <a:gd name="connsiteY180" fmla="*/ 1093788 h 1093788"/>
                    <a:gd name="connsiteX181" fmla="*/ 0 w 977900"/>
                    <a:gd name="connsiteY181" fmla="*/ 884870 h 1093788"/>
                    <a:gd name="connsiteX182" fmla="*/ 714 w 977900"/>
                    <a:gd name="connsiteY182" fmla="*/ 873462 h 1093788"/>
                    <a:gd name="connsiteX183" fmla="*/ 714 w 977900"/>
                    <a:gd name="connsiteY183" fmla="*/ 220326 h 1093788"/>
                    <a:gd name="connsiteX184" fmla="*/ 0 w 977900"/>
                    <a:gd name="connsiteY184" fmla="*/ 208918 h 1093788"/>
                    <a:gd name="connsiteX185" fmla="*/ 488950 w 977900"/>
                    <a:gd name="connsiteY185" fmla="*/ 0 h 109378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  <a:cxn ang="0">
                      <a:pos x="connsiteX86" y="connsiteY86"/>
                    </a:cxn>
                    <a:cxn ang="0">
                      <a:pos x="connsiteX87" y="connsiteY87"/>
                    </a:cxn>
                    <a:cxn ang="0">
                      <a:pos x="connsiteX88" y="connsiteY88"/>
                    </a:cxn>
                    <a:cxn ang="0">
                      <a:pos x="connsiteX89" y="connsiteY89"/>
                    </a:cxn>
                    <a:cxn ang="0">
                      <a:pos x="connsiteX90" y="connsiteY90"/>
                    </a:cxn>
                    <a:cxn ang="0">
                      <a:pos x="connsiteX91" y="connsiteY91"/>
                    </a:cxn>
                    <a:cxn ang="0">
                      <a:pos x="connsiteX92" y="connsiteY92"/>
                    </a:cxn>
                    <a:cxn ang="0">
                      <a:pos x="connsiteX93" y="connsiteY93"/>
                    </a:cxn>
                    <a:cxn ang="0">
                      <a:pos x="connsiteX94" y="connsiteY94"/>
                    </a:cxn>
                    <a:cxn ang="0">
                      <a:pos x="connsiteX95" y="connsiteY95"/>
                    </a:cxn>
                    <a:cxn ang="0">
                      <a:pos x="connsiteX96" y="connsiteY96"/>
                    </a:cxn>
                    <a:cxn ang="0">
                      <a:pos x="connsiteX97" y="connsiteY97"/>
                    </a:cxn>
                    <a:cxn ang="0">
                      <a:pos x="connsiteX98" y="connsiteY98"/>
                    </a:cxn>
                    <a:cxn ang="0">
                      <a:pos x="connsiteX99" y="connsiteY99"/>
                    </a:cxn>
                    <a:cxn ang="0">
                      <a:pos x="connsiteX100" y="connsiteY100"/>
                    </a:cxn>
                    <a:cxn ang="0">
                      <a:pos x="connsiteX101" y="connsiteY101"/>
                    </a:cxn>
                    <a:cxn ang="0">
                      <a:pos x="connsiteX102" y="connsiteY102"/>
                    </a:cxn>
                    <a:cxn ang="0">
                      <a:pos x="connsiteX103" y="connsiteY103"/>
                    </a:cxn>
                    <a:cxn ang="0">
                      <a:pos x="connsiteX104" y="connsiteY104"/>
                    </a:cxn>
                    <a:cxn ang="0">
                      <a:pos x="connsiteX105" y="connsiteY105"/>
                    </a:cxn>
                    <a:cxn ang="0">
                      <a:pos x="connsiteX106" y="connsiteY106"/>
                    </a:cxn>
                    <a:cxn ang="0">
                      <a:pos x="connsiteX107" y="connsiteY107"/>
                    </a:cxn>
                    <a:cxn ang="0">
                      <a:pos x="connsiteX108" y="connsiteY108"/>
                    </a:cxn>
                    <a:cxn ang="0">
                      <a:pos x="connsiteX109" y="connsiteY109"/>
                    </a:cxn>
                    <a:cxn ang="0">
                      <a:pos x="connsiteX110" y="connsiteY110"/>
                    </a:cxn>
                    <a:cxn ang="0">
                      <a:pos x="connsiteX111" y="connsiteY111"/>
                    </a:cxn>
                    <a:cxn ang="0">
                      <a:pos x="connsiteX112" y="connsiteY112"/>
                    </a:cxn>
                    <a:cxn ang="0">
                      <a:pos x="connsiteX113" y="connsiteY113"/>
                    </a:cxn>
                    <a:cxn ang="0">
                      <a:pos x="connsiteX114" y="connsiteY114"/>
                    </a:cxn>
                    <a:cxn ang="0">
                      <a:pos x="connsiteX115" y="connsiteY115"/>
                    </a:cxn>
                    <a:cxn ang="0">
                      <a:pos x="connsiteX116" y="connsiteY116"/>
                    </a:cxn>
                    <a:cxn ang="0">
                      <a:pos x="connsiteX117" y="connsiteY117"/>
                    </a:cxn>
                    <a:cxn ang="0">
                      <a:pos x="connsiteX118" y="connsiteY118"/>
                    </a:cxn>
                    <a:cxn ang="0">
                      <a:pos x="connsiteX119" y="connsiteY119"/>
                    </a:cxn>
                    <a:cxn ang="0">
                      <a:pos x="connsiteX120" y="connsiteY120"/>
                    </a:cxn>
                    <a:cxn ang="0">
                      <a:pos x="connsiteX121" y="connsiteY121"/>
                    </a:cxn>
                    <a:cxn ang="0">
                      <a:pos x="connsiteX122" y="connsiteY122"/>
                    </a:cxn>
                    <a:cxn ang="0">
                      <a:pos x="connsiteX123" y="connsiteY123"/>
                    </a:cxn>
                    <a:cxn ang="0">
                      <a:pos x="connsiteX124" y="connsiteY124"/>
                    </a:cxn>
                    <a:cxn ang="0">
                      <a:pos x="connsiteX125" y="connsiteY125"/>
                    </a:cxn>
                    <a:cxn ang="0">
                      <a:pos x="connsiteX126" y="connsiteY126"/>
                    </a:cxn>
                    <a:cxn ang="0">
                      <a:pos x="connsiteX127" y="connsiteY127"/>
                    </a:cxn>
                    <a:cxn ang="0">
                      <a:pos x="connsiteX128" y="connsiteY128"/>
                    </a:cxn>
                    <a:cxn ang="0">
                      <a:pos x="connsiteX129" y="connsiteY129"/>
                    </a:cxn>
                    <a:cxn ang="0">
                      <a:pos x="connsiteX130" y="connsiteY130"/>
                    </a:cxn>
                    <a:cxn ang="0">
                      <a:pos x="connsiteX131" y="connsiteY131"/>
                    </a:cxn>
                    <a:cxn ang="0">
                      <a:pos x="connsiteX132" y="connsiteY132"/>
                    </a:cxn>
                    <a:cxn ang="0">
                      <a:pos x="connsiteX133" y="connsiteY133"/>
                    </a:cxn>
                    <a:cxn ang="0">
                      <a:pos x="connsiteX134" y="connsiteY134"/>
                    </a:cxn>
                    <a:cxn ang="0">
                      <a:pos x="connsiteX135" y="connsiteY135"/>
                    </a:cxn>
                    <a:cxn ang="0">
                      <a:pos x="connsiteX136" y="connsiteY136"/>
                    </a:cxn>
                    <a:cxn ang="0">
                      <a:pos x="connsiteX137" y="connsiteY137"/>
                    </a:cxn>
                    <a:cxn ang="0">
                      <a:pos x="connsiteX138" y="connsiteY138"/>
                    </a:cxn>
                    <a:cxn ang="0">
                      <a:pos x="connsiteX139" y="connsiteY139"/>
                    </a:cxn>
                    <a:cxn ang="0">
                      <a:pos x="connsiteX140" y="connsiteY140"/>
                    </a:cxn>
                    <a:cxn ang="0">
                      <a:pos x="connsiteX141" y="connsiteY141"/>
                    </a:cxn>
                    <a:cxn ang="0">
                      <a:pos x="connsiteX142" y="connsiteY142"/>
                    </a:cxn>
                    <a:cxn ang="0">
                      <a:pos x="connsiteX143" y="connsiteY143"/>
                    </a:cxn>
                    <a:cxn ang="0">
                      <a:pos x="connsiteX144" y="connsiteY144"/>
                    </a:cxn>
                    <a:cxn ang="0">
                      <a:pos x="connsiteX145" y="connsiteY145"/>
                    </a:cxn>
                    <a:cxn ang="0">
                      <a:pos x="connsiteX146" y="connsiteY146"/>
                    </a:cxn>
                    <a:cxn ang="0">
                      <a:pos x="connsiteX147" y="connsiteY147"/>
                    </a:cxn>
                    <a:cxn ang="0">
                      <a:pos x="connsiteX148" y="connsiteY148"/>
                    </a:cxn>
                    <a:cxn ang="0">
                      <a:pos x="connsiteX149" y="connsiteY149"/>
                    </a:cxn>
                    <a:cxn ang="0">
                      <a:pos x="connsiteX150" y="connsiteY150"/>
                    </a:cxn>
                    <a:cxn ang="0">
                      <a:pos x="connsiteX151" y="connsiteY151"/>
                    </a:cxn>
                    <a:cxn ang="0">
                      <a:pos x="connsiteX152" y="connsiteY152"/>
                    </a:cxn>
                    <a:cxn ang="0">
                      <a:pos x="connsiteX153" y="connsiteY153"/>
                    </a:cxn>
                    <a:cxn ang="0">
                      <a:pos x="connsiteX154" y="connsiteY154"/>
                    </a:cxn>
                    <a:cxn ang="0">
                      <a:pos x="connsiteX155" y="connsiteY155"/>
                    </a:cxn>
                    <a:cxn ang="0">
                      <a:pos x="connsiteX156" y="connsiteY156"/>
                    </a:cxn>
                    <a:cxn ang="0">
                      <a:pos x="connsiteX157" y="connsiteY157"/>
                    </a:cxn>
                    <a:cxn ang="0">
                      <a:pos x="connsiteX158" y="connsiteY158"/>
                    </a:cxn>
                    <a:cxn ang="0">
                      <a:pos x="connsiteX159" y="connsiteY159"/>
                    </a:cxn>
                    <a:cxn ang="0">
                      <a:pos x="connsiteX160" y="connsiteY160"/>
                    </a:cxn>
                    <a:cxn ang="0">
                      <a:pos x="connsiteX161" y="connsiteY161"/>
                    </a:cxn>
                    <a:cxn ang="0">
                      <a:pos x="connsiteX162" y="connsiteY162"/>
                    </a:cxn>
                    <a:cxn ang="0">
                      <a:pos x="connsiteX163" y="connsiteY163"/>
                    </a:cxn>
                    <a:cxn ang="0">
                      <a:pos x="connsiteX164" y="connsiteY164"/>
                    </a:cxn>
                    <a:cxn ang="0">
                      <a:pos x="connsiteX165" y="connsiteY165"/>
                    </a:cxn>
                    <a:cxn ang="0">
                      <a:pos x="connsiteX166" y="connsiteY166"/>
                    </a:cxn>
                    <a:cxn ang="0">
                      <a:pos x="connsiteX167" y="connsiteY167"/>
                    </a:cxn>
                    <a:cxn ang="0">
                      <a:pos x="connsiteX168" y="connsiteY168"/>
                    </a:cxn>
                    <a:cxn ang="0">
                      <a:pos x="connsiteX169" y="connsiteY169"/>
                    </a:cxn>
                    <a:cxn ang="0">
                      <a:pos x="connsiteX170" y="connsiteY170"/>
                    </a:cxn>
                    <a:cxn ang="0">
                      <a:pos x="connsiteX171" y="connsiteY171"/>
                    </a:cxn>
                    <a:cxn ang="0">
                      <a:pos x="connsiteX172" y="connsiteY172"/>
                    </a:cxn>
                    <a:cxn ang="0">
                      <a:pos x="connsiteX173" y="connsiteY173"/>
                    </a:cxn>
                    <a:cxn ang="0">
                      <a:pos x="connsiteX174" y="connsiteY174"/>
                    </a:cxn>
                    <a:cxn ang="0">
                      <a:pos x="connsiteX175" y="connsiteY175"/>
                    </a:cxn>
                    <a:cxn ang="0">
                      <a:pos x="connsiteX176" y="connsiteY176"/>
                    </a:cxn>
                    <a:cxn ang="0">
                      <a:pos x="connsiteX177" y="connsiteY177"/>
                    </a:cxn>
                    <a:cxn ang="0">
                      <a:pos x="connsiteX178" y="connsiteY178"/>
                    </a:cxn>
                    <a:cxn ang="0">
                      <a:pos x="connsiteX179" y="connsiteY179"/>
                    </a:cxn>
                    <a:cxn ang="0">
                      <a:pos x="connsiteX180" y="connsiteY180"/>
                    </a:cxn>
                    <a:cxn ang="0">
                      <a:pos x="connsiteX181" y="connsiteY181"/>
                    </a:cxn>
                    <a:cxn ang="0">
                      <a:pos x="connsiteX182" y="connsiteY182"/>
                    </a:cxn>
                    <a:cxn ang="0">
                      <a:pos x="connsiteX183" y="connsiteY183"/>
                    </a:cxn>
                    <a:cxn ang="0">
                      <a:pos x="connsiteX184" y="connsiteY184"/>
                    </a:cxn>
                    <a:cxn ang="0">
                      <a:pos x="connsiteX185" y="connsiteY185"/>
                    </a:cxn>
                  </a:cxnLst>
                  <a:rect l="l" t="t" r="r" b="b"/>
                  <a:pathLst>
                    <a:path w="977900" h="1093788">
                      <a:moveTo>
                        <a:pt x="488514" y="61912"/>
                      </a:moveTo>
                      <a:cubicBezTo>
                        <a:pt x="725213" y="61912"/>
                        <a:pt x="917575" y="132511"/>
                        <a:pt x="917575" y="219512"/>
                      </a:cubicBezTo>
                      <a:cubicBezTo>
                        <a:pt x="917575" y="306513"/>
                        <a:pt x="725213" y="377825"/>
                        <a:pt x="488514" y="377825"/>
                      </a:cubicBezTo>
                      <a:cubicBezTo>
                        <a:pt x="255390" y="377825"/>
                        <a:pt x="65173" y="308652"/>
                        <a:pt x="58737" y="224504"/>
                      </a:cubicBezTo>
                      <a:cubicBezTo>
                        <a:pt x="58737" y="224504"/>
                        <a:pt x="58737" y="224504"/>
                        <a:pt x="58737" y="215233"/>
                      </a:cubicBezTo>
                      <a:cubicBezTo>
                        <a:pt x="65173" y="129659"/>
                        <a:pt x="255390" y="61912"/>
                        <a:pt x="488514" y="61912"/>
                      </a:cubicBezTo>
                      <a:close/>
                      <a:moveTo>
                        <a:pt x="477508" y="28575"/>
                      </a:moveTo>
                      <a:cubicBezTo>
                        <a:pt x="361660" y="30001"/>
                        <a:pt x="254393" y="48538"/>
                        <a:pt x="173585" y="78482"/>
                      </a:cubicBezTo>
                      <a:cubicBezTo>
                        <a:pt x="173585" y="78482"/>
                        <a:pt x="172870" y="78482"/>
                        <a:pt x="172155" y="79195"/>
                      </a:cubicBezTo>
                      <a:cubicBezTo>
                        <a:pt x="170010" y="79908"/>
                        <a:pt x="167864" y="80621"/>
                        <a:pt x="165719" y="81334"/>
                      </a:cubicBezTo>
                      <a:cubicBezTo>
                        <a:pt x="165719" y="81334"/>
                        <a:pt x="165004" y="82047"/>
                        <a:pt x="164289" y="82047"/>
                      </a:cubicBezTo>
                      <a:cubicBezTo>
                        <a:pt x="162143" y="82760"/>
                        <a:pt x="159283" y="84186"/>
                        <a:pt x="157138" y="84899"/>
                      </a:cubicBezTo>
                      <a:cubicBezTo>
                        <a:pt x="154277" y="86325"/>
                        <a:pt x="151417" y="87038"/>
                        <a:pt x="149271" y="88463"/>
                      </a:cubicBezTo>
                      <a:cubicBezTo>
                        <a:pt x="147841" y="89176"/>
                        <a:pt x="146411" y="89176"/>
                        <a:pt x="144981" y="89889"/>
                      </a:cubicBezTo>
                      <a:cubicBezTo>
                        <a:pt x="144266" y="90602"/>
                        <a:pt x="143551" y="90602"/>
                        <a:pt x="142835" y="91315"/>
                      </a:cubicBezTo>
                      <a:cubicBezTo>
                        <a:pt x="102074" y="109139"/>
                        <a:pt x="70609" y="130528"/>
                        <a:pt x="50586" y="153342"/>
                      </a:cubicBezTo>
                      <a:cubicBezTo>
                        <a:pt x="49871" y="154055"/>
                        <a:pt x="49871" y="154768"/>
                        <a:pt x="49156" y="154768"/>
                      </a:cubicBezTo>
                      <a:cubicBezTo>
                        <a:pt x="48441" y="155481"/>
                        <a:pt x="47726" y="156194"/>
                        <a:pt x="47726" y="156907"/>
                      </a:cubicBezTo>
                      <a:cubicBezTo>
                        <a:pt x="46295" y="158333"/>
                        <a:pt x="44865" y="159759"/>
                        <a:pt x="44150" y="161185"/>
                      </a:cubicBezTo>
                      <a:cubicBezTo>
                        <a:pt x="44150" y="161898"/>
                        <a:pt x="43435" y="161898"/>
                        <a:pt x="43435" y="161898"/>
                      </a:cubicBezTo>
                      <a:cubicBezTo>
                        <a:pt x="42720" y="163324"/>
                        <a:pt x="42005" y="164750"/>
                        <a:pt x="41289" y="165463"/>
                      </a:cubicBezTo>
                      <a:cubicBezTo>
                        <a:pt x="40574" y="166176"/>
                        <a:pt x="40574" y="166889"/>
                        <a:pt x="39859" y="167602"/>
                      </a:cubicBezTo>
                      <a:cubicBezTo>
                        <a:pt x="39859" y="168315"/>
                        <a:pt x="39144" y="169027"/>
                        <a:pt x="38429" y="169740"/>
                      </a:cubicBezTo>
                      <a:cubicBezTo>
                        <a:pt x="38429" y="170453"/>
                        <a:pt x="37714" y="171166"/>
                        <a:pt x="36999" y="171879"/>
                      </a:cubicBezTo>
                      <a:cubicBezTo>
                        <a:pt x="36999" y="172592"/>
                        <a:pt x="36284" y="173305"/>
                        <a:pt x="36284" y="174018"/>
                      </a:cubicBezTo>
                      <a:cubicBezTo>
                        <a:pt x="35569" y="174731"/>
                        <a:pt x="35569" y="176157"/>
                        <a:pt x="34853" y="176870"/>
                      </a:cubicBezTo>
                      <a:cubicBezTo>
                        <a:pt x="34853" y="177583"/>
                        <a:pt x="34138" y="177583"/>
                        <a:pt x="34138" y="178296"/>
                      </a:cubicBezTo>
                      <a:cubicBezTo>
                        <a:pt x="33423" y="179722"/>
                        <a:pt x="33423" y="180435"/>
                        <a:pt x="32708" y="181148"/>
                      </a:cubicBezTo>
                      <a:cubicBezTo>
                        <a:pt x="32708" y="181861"/>
                        <a:pt x="32708" y="182574"/>
                        <a:pt x="31993" y="182574"/>
                      </a:cubicBezTo>
                      <a:cubicBezTo>
                        <a:pt x="31993" y="184000"/>
                        <a:pt x="31278" y="184712"/>
                        <a:pt x="31278" y="186138"/>
                      </a:cubicBezTo>
                      <a:cubicBezTo>
                        <a:pt x="31278" y="186138"/>
                        <a:pt x="30563" y="186851"/>
                        <a:pt x="30563" y="187564"/>
                      </a:cubicBezTo>
                      <a:cubicBezTo>
                        <a:pt x="30563" y="188277"/>
                        <a:pt x="29848" y="189703"/>
                        <a:pt x="29848" y="190416"/>
                      </a:cubicBezTo>
                      <a:cubicBezTo>
                        <a:pt x="29848" y="191129"/>
                        <a:pt x="29133" y="191129"/>
                        <a:pt x="29133" y="191842"/>
                      </a:cubicBezTo>
                      <a:cubicBezTo>
                        <a:pt x="29133" y="193268"/>
                        <a:pt x="29133" y="193981"/>
                        <a:pt x="28417" y="195407"/>
                      </a:cubicBezTo>
                      <a:cubicBezTo>
                        <a:pt x="28417" y="195407"/>
                        <a:pt x="28417" y="196120"/>
                        <a:pt x="28417" y="196833"/>
                      </a:cubicBezTo>
                      <a:cubicBezTo>
                        <a:pt x="28417" y="197546"/>
                        <a:pt x="27702" y="198972"/>
                        <a:pt x="27702" y="199685"/>
                      </a:cubicBezTo>
                      <a:cubicBezTo>
                        <a:pt x="27702" y="200398"/>
                        <a:pt x="27702" y="201110"/>
                        <a:pt x="27702" y="201823"/>
                      </a:cubicBezTo>
                      <a:cubicBezTo>
                        <a:pt x="27702" y="202536"/>
                        <a:pt x="27702" y="203249"/>
                        <a:pt x="26987" y="203962"/>
                      </a:cubicBezTo>
                      <a:cubicBezTo>
                        <a:pt x="26987" y="206101"/>
                        <a:pt x="26987" y="207527"/>
                        <a:pt x="26987" y="208953"/>
                      </a:cubicBezTo>
                      <a:cubicBezTo>
                        <a:pt x="26987" y="209666"/>
                        <a:pt x="26987" y="209666"/>
                        <a:pt x="26987" y="210379"/>
                      </a:cubicBezTo>
                      <a:cubicBezTo>
                        <a:pt x="26987" y="211092"/>
                        <a:pt x="26987" y="211092"/>
                        <a:pt x="26987" y="211092"/>
                      </a:cubicBezTo>
                      <a:cubicBezTo>
                        <a:pt x="26987" y="211092"/>
                        <a:pt x="26987" y="211805"/>
                        <a:pt x="26987" y="211805"/>
                      </a:cubicBezTo>
                      <a:cubicBezTo>
                        <a:pt x="26987" y="211805"/>
                        <a:pt x="26987" y="211805"/>
                        <a:pt x="26987" y="215370"/>
                      </a:cubicBezTo>
                      <a:cubicBezTo>
                        <a:pt x="26987" y="215370"/>
                        <a:pt x="26987" y="215370"/>
                        <a:pt x="27702" y="217508"/>
                      </a:cubicBezTo>
                      <a:cubicBezTo>
                        <a:pt x="27702" y="217508"/>
                        <a:pt x="27702" y="217508"/>
                        <a:pt x="27702" y="876280"/>
                      </a:cubicBezTo>
                      <a:cubicBezTo>
                        <a:pt x="27702" y="876280"/>
                        <a:pt x="27702" y="876280"/>
                        <a:pt x="26987" y="878419"/>
                      </a:cubicBezTo>
                      <a:cubicBezTo>
                        <a:pt x="26987" y="878419"/>
                        <a:pt x="26987" y="878419"/>
                        <a:pt x="26987" y="881983"/>
                      </a:cubicBezTo>
                      <a:cubicBezTo>
                        <a:pt x="26987" y="881983"/>
                        <a:pt x="26987" y="882696"/>
                        <a:pt x="26987" y="882696"/>
                      </a:cubicBezTo>
                      <a:cubicBezTo>
                        <a:pt x="26987" y="882696"/>
                        <a:pt x="26987" y="882696"/>
                        <a:pt x="26987" y="883409"/>
                      </a:cubicBezTo>
                      <a:cubicBezTo>
                        <a:pt x="26987" y="884122"/>
                        <a:pt x="26987" y="884122"/>
                        <a:pt x="26987" y="884835"/>
                      </a:cubicBezTo>
                      <a:cubicBezTo>
                        <a:pt x="26987" y="886261"/>
                        <a:pt x="26987" y="887687"/>
                        <a:pt x="26987" y="889826"/>
                      </a:cubicBezTo>
                      <a:cubicBezTo>
                        <a:pt x="27702" y="890539"/>
                        <a:pt x="27702" y="891252"/>
                        <a:pt x="27702" y="891965"/>
                      </a:cubicBezTo>
                      <a:cubicBezTo>
                        <a:pt x="27702" y="892678"/>
                        <a:pt x="27702" y="893391"/>
                        <a:pt x="27702" y="894104"/>
                      </a:cubicBezTo>
                      <a:cubicBezTo>
                        <a:pt x="27702" y="894817"/>
                        <a:pt x="28417" y="896243"/>
                        <a:pt x="28417" y="896956"/>
                      </a:cubicBezTo>
                      <a:cubicBezTo>
                        <a:pt x="28417" y="897669"/>
                        <a:pt x="28417" y="898381"/>
                        <a:pt x="28417" y="898381"/>
                      </a:cubicBezTo>
                      <a:cubicBezTo>
                        <a:pt x="29133" y="899807"/>
                        <a:pt x="29133" y="900520"/>
                        <a:pt x="29133" y="901946"/>
                      </a:cubicBezTo>
                      <a:cubicBezTo>
                        <a:pt x="29133" y="902659"/>
                        <a:pt x="29848" y="902659"/>
                        <a:pt x="29848" y="903372"/>
                      </a:cubicBezTo>
                      <a:cubicBezTo>
                        <a:pt x="29848" y="904085"/>
                        <a:pt x="30563" y="905511"/>
                        <a:pt x="30563" y="906224"/>
                      </a:cubicBezTo>
                      <a:cubicBezTo>
                        <a:pt x="30563" y="906937"/>
                        <a:pt x="31278" y="907650"/>
                        <a:pt x="31278" y="907650"/>
                      </a:cubicBezTo>
                      <a:cubicBezTo>
                        <a:pt x="31278" y="909076"/>
                        <a:pt x="31993" y="909789"/>
                        <a:pt x="31993" y="911215"/>
                      </a:cubicBezTo>
                      <a:cubicBezTo>
                        <a:pt x="32708" y="911215"/>
                        <a:pt x="32708" y="911928"/>
                        <a:pt x="32708" y="912641"/>
                      </a:cubicBezTo>
                      <a:cubicBezTo>
                        <a:pt x="33423" y="913354"/>
                        <a:pt x="33423" y="914066"/>
                        <a:pt x="34138" y="915492"/>
                      </a:cubicBezTo>
                      <a:cubicBezTo>
                        <a:pt x="34138" y="916205"/>
                        <a:pt x="34853" y="916205"/>
                        <a:pt x="34853" y="916918"/>
                      </a:cubicBezTo>
                      <a:cubicBezTo>
                        <a:pt x="35569" y="917631"/>
                        <a:pt x="35569" y="919057"/>
                        <a:pt x="36284" y="919770"/>
                      </a:cubicBezTo>
                      <a:cubicBezTo>
                        <a:pt x="36284" y="920483"/>
                        <a:pt x="36999" y="921196"/>
                        <a:pt x="36999" y="921909"/>
                      </a:cubicBezTo>
                      <a:cubicBezTo>
                        <a:pt x="37714" y="922622"/>
                        <a:pt x="38429" y="923335"/>
                        <a:pt x="38429" y="924048"/>
                      </a:cubicBezTo>
                      <a:cubicBezTo>
                        <a:pt x="39144" y="924761"/>
                        <a:pt x="39859" y="925474"/>
                        <a:pt x="39859" y="926187"/>
                      </a:cubicBezTo>
                      <a:cubicBezTo>
                        <a:pt x="40574" y="926900"/>
                        <a:pt x="40574" y="927613"/>
                        <a:pt x="41289" y="928326"/>
                      </a:cubicBezTo>
                      <a:cubicBezTo>
                        <a:pt x="42005" y="929039"/>
                        <a:pt x="42720" y="930464"/>
                        <a:pt x="43435" y="931890"/>
                      </a:cubicBezTo>
                      <a:cubicBezTo>
                        <a:pt x="43435" y="931890"/>
                        <a:pt x="44150" y="931890"/>
                        <a:pt x="44150" y="931890"/>
                      </a:cubicBezTo>
                      <a:cubicBezTo>
                        <a:pt x="44865" y="934029"/>
                        <a:pt x="46295" y="935455"/>
                        <a:pt x="47726" y="936881"/>
                      </a:cubicBezTo>
                      <a:cubicBezTo>
                        <a:pt x="47726" y="937594"/>
                        <a:pt x="48441" y="938307"/>
                        <a:pt x="49156" y="939020"/>
                      </a:cubicBezTo>
                      <a:cubicBezTo>
                        <a:pt x="49871" y="939020"/>
                        <a:pt x="49871" y="939733"/>
                        <a:pt x="50586" y="940446"/>
                      </a:cubicBezTo>
                      <a:cubicBezTo>
                        <a:pt x="70609" y="963260"/>
                        <a:pt x="102074" y="984649"/>
                        <a:pt x="142835" y="1002473"/>
                      </a:cubicBezTo>
                      <a:cubicBezTo>
                        <a:pt x="143551" y="1003186"/>
                        <a:pt x="144266" y="1003186"/>
                        <a:pt x="144981" y="1003899"/>
                      </a:cubicBezTo>
                      <a:cubicBezTo>
                        <a:pt x="146411" y="1004612"/>
                        <a:pt x="147841" y="1005325"/>
                        <a:pt x="149271" y="1005325"/>
                      </a:cubicBezTo>
                      <a:cubicBezTo>
                        <a:pt x="151417" y="1006751"/>
                        <a:pt x="154277" y="1008177"/>
                        <a:pt x="157138" y="1008890"/>
                      </a:cubicBezTo>
                      <a:cubicBezTo>
                        <a:pt x="159283" y="1009603"/>
                        <a:pt x="160713" y="1010316"/>
                        <a:pt x="162859" y="1011029"/>
                      </a:cubicBezTo>
                      <a:cubicBezTo>
                        <a:pt x="163574" y="1011741"/>
                        <a:pt x="163574" y="1011741"/>
                        <a:pt x="164289" y="1011741"/>
                      </a:cubicBezTo>
                      <a:cubicBezTo>
                        <a:pt x="167149" y="1013167"/>
                        <a:pt x="170010" y="1013880"/>
                        <a:pt x="172155" y="1014593"/>
                      </a:cubicBezTo>
                      <a:cubicBezTo>
                        <a:pt x="172870" y="1015306"/>
                        <a:pt x="172870" y="1015306"/>
                        <a:pt x="172870" y="1015306"/>
                      </a:cubicBezTo>
                      <a:cubicBezTo>
                        <a:pt x="253678" y="1045250"/>
                        <a:pt x="360945" y="1063787"/>
                        <a:pt x="477508" y="1065213"/>
                      </a:cubicBezTo>
                      <a:cubicBezTo>
                        <a:pt x="480368" y="1065213"/>
                        <a:pt x="483229" y="1065213"/>
                        <a:pt x="486089" y="1065213"/>
                      </a:cubicBezTo>
                      <a:cubicBezTo>
                        <a:pt x="486804" y="1065213"/>
                        <a:pt x="488235" y="1065213"/>
                        <a:pt x="488950" y="1065213"/>
                      </a:cubicBezTo>
                      <a:cubicBezTo>
                        <a:pt x="489665" y="1065213"/>
                        <a:pt x="491095" y="1065213"/>
                        <a:pt x="491810" y="1065213"/>
                      </a:cubicBezTo>
                      <a:cubicBezTo>
                        <a:pt x="494671" y="1065213"/>
                        <a:pt x="497531" y="1065213"/>
                        <a:pt x="500392" y="1065213"/>
                      </a:cubicBezTo>
                      <a:cubicBezTo>
                        <a:pt x="616955" y="1063787"/>
                        <a:pt x="724222" y="1045250"/>
                        <a:pt x="805029" y="1015306"/>
                      </a:cubicBezTo>
                      <a:cubicBezTo>
                        <a:pt x="805029" y="1015306"/>
                        <a:pt x="805029" y="1015306"/>
                        <a:pt x="805744" y="1014593"/>
                      </a:cubicBezTo>
                      <a:cubicBezTo>
                        <a:pt x="807890" y="1013880"/>
                        <a:pt x="810750" y="1013167"/>
                        <a:pt x="813611" y="1011741"/>
                      </a:cubicBezTo>
                      <a:cubicBezTo>
                        <a:pt x="813611" y="1011741"/>
                        <a:pt x="814326" y="1011741"/>
                        <a:pt x="814326" y="1011741"/>
                      </a:cubicBezTo>
                      <a:cubicBezTo>
                        <a:pt x="816471" y="1010316"/>
                        <a:pt x="818616" y="1009603"/>
                        <a:pt x="820762" y="1008890"/>
                      </a:cubicBezTo>
                      <a:cubicBezTo>
                        <a:pt x="823622" y="1008177"/>
                        <a:pt x="826483" y="1006751"/>
                        <a:pt x="828628" y="1005325"/>
                      </a:cubicBezTo>
                      <a:cubicBezTo>
                        <a:pt x="830058" y="1005325"/>
                        <a:pt x="831488" y="1004612"/>
                        <a:pt x="832919" y="1003899"/>
                      </a:cubicBezTo>
                      <a:cubicBezTo>
                        <a:pt x="833634" y="1003186"/>
                        <a:pt x="834349" y="1003186"/>
                        <a:pt x="835064" y="1002473"/>
                      </a:cubicBezTo>
                      <a:cubicBezTo>
                        <a:pt x="875825" y="984649"/>
                        <a:pt x="907290" y="963260"/>
                        <a:pt x="927314" y="940446"/>
                      </a:cubicBezTo>
                      <a:cubicBezTo>
                        <a:pt x="928029" y="939733"/>
                        <a:pt x="928029" y="939020"/>
                        <a:pt x="928744" y="939020"/>
                      </a:cubicBezTo>
                      <a:cubicBezTo>
                        <a:pt x="929459" y="938307"/>
                        <a:pt x="930174" y="937594"/>
                        <a:pt x="930174" y="936881"/>
                      </a:cubicBezTo>
                      <a:cubicBezTo>
                        <a:pt x="931604" y="935455"/>
                        <a:pt x="933034" y="934029"/>
                        <a:pt x="933750" y="931890"/>
                      </a:cubicBezTo>
                      <a:cubicBezTo>
                        <a:pt x="933750" y="931890"/>
                        <a:pt x="934465" y="931890"/>
                        <a:pt x="934465" y="931890"/>
                      </a:cubicBezTo>
                      <a:cubicBezTo>
                        <a:pt x="935180" y="930464"/>
                        <a:pt x="935895" y="929039"/>
                        <a:pt x="936610" y="928326"/>
                      </a:cubicBezTo>
                      <a:cubicBezTo>
                        <a:pt x="937325" y="927613"/>
                        <a:pt x="937325" y="926900"/>
                        <a:pt x="938040" y="926187"/>
                      </a:cubicBezTo>
                      <a:cubicBezTo>
                        <a:pt x="938040" y="925474"/>
                        <a:pt x="938755" y="924761"/>
                        <a:pt x="939470" y="924048"/>
                      </a:cubicBezTo>
                      <a:cubicBezTo>
                        <a:pt x="939470" y="923335"/>
                        <a:pt x="940186" y="922622"/>
                        <a:pt x="940901" y="921909"/>
                      </a:cubicBezTo>
                      <a:cubicBezTo>
                        <a:pt x="940901" y="921196"/>
                        <a:pt x="941616" y="920483"/>
                        <a:pt x="941616" y="919770"/>
                      </a:cubicBezTo>
                      <a:cubicBezTo>
                        <a:pt x="942331" y="919057"/>
                        <a:pt x="942331" y="917631"/>
                        <a:pt x="943046" y="916918"/>
                      </a:cubicBezTo>
                      <a:cubicBezTo>
                        <a:pt x="943046" y="916205"/>
                        <a:pt x="943761" y="916205"/>
                        <a:pt x="943761" y="915492"/>
                      </a:cubicBezTo>
                      <a:cubicBezTo>
                        <a:pt x="944476" y="914066"/>
                        <a:pt x="944476" y="913354"/>
                        <a:pt x="945191" y="912641"/>
                      </a:cubicBezTo>
                      <a:cubicBezTo>
                        <a:pt x="945191" y="911928"/>
                        <a:pt x="945191" y="911215"/>
                        <a:pt x="945906" y="911215"/>
                      </a:cubicBezTo>
                      <a:cubicBezTo>
                        <a:pt x="945906" y="909789"/>
                        <a:pt x="946622" y="909076"/>
                        <a:pt x="946622" y="907650"/>
                      </a:cubicBezTo>
                      <a:cubicBezTo>
                        <a:pt x="946622" y="907650"/>
                        <a:pt x="947337" y="906937"/>
                        <a:pt x="947337" y="906224"/>
                      </a:cubicBezTo>
                      <a:cubicBezTo>
                        <a:pt x="947337" y="905511"/>
                        <a:pt x="948052" y="904085"/>
                        <a:pt x="948052" y="903372"/>
                      </a:cubicBezTo>
                      <a:cubicBezTo>
                        <a:pt x="948052" y="902659"/>
                        <a:pt x="948767" y="902659"/>
                        <a:pt x="948767" y="901946"/>
                      </a:cubicBezTo>
                      <a:cubicBezTo>
                        <a:pt x="948767" y="900520"/>
                        <a:pt x="948767" y="899807"/>
                        <a:pt x="949482" y="898381"/>
                      </a:cubicBezTo>
                      <a:cubicBezTo>
                        <a:pt x="949482" y="898381"/>
                        <a:pt x="949482" y="897669"/>
                        <a:pt x="949482" y="896956"/>
                      </a:cubicBezTo>
                      <a:cubicBezTo>
                        <a:pt x="949482" y="896243"/>
                        <a:pt x="950197" y="894817"/>
                        <a:pt x="950197" y="894104"/>
                      </a:cubicBezTo>
                      <a:cubicBezTo>
                        <a:pt x="950197" y="893391"/>
                        <a:pt x="950197" y="892678"/>
                        <a:pt x="950197" y="891965"/>
                      </a:cubicBezTo>
                      <a:cubicBezTo>
                        <a:pt x="950197" y="891252"/>
                        <a:pt x="950197" y="890539"/>
                        <a:pt x="950912" y="889826"/>
                      </a:cubicBezTo>
                      <a:cubicBezTo>
                        <a:pt x="950912" y="887687"/>
                        <a:pt x="950912" y="886261"/>
                        <a:pt x="950912" y="884835"/>
                      </a:cubicBezTo>
                      <a:cubicBezTo>
                        <a:pt x="950912" y="884835"/>
                        <a:pt x="950912" y="879132"/>
                        <a:pt x="950912" y="208240"/>
                      </a:cubicBezTo>
                      <a:cubicBezTo>
                        <a:pt x="950912" y="207527"/>
                        <a:pt x="950912" y="206814"/>
                        <a:pt x="950912" y="206101"/>
                      </a:cubicBezTo>
                      <a:cubicBezTo>
                        <a:pt x="950912" y="205388"/>
                        <a:pt x="950912" y="203962"/>
                        <a:pt x="950912" y="203249"/>
                      </a:cubicBezTo>
                      <a:cubicBezTo>
                        <a:pt x="950912" y="201823"/>
                        <a:pt x="950912" y="201110"/>
                        <a:pt x="950197" y="200398"/>
                      </a:cubicBezTo>
                      <a:cubicBezTo>
                        <a:pt x="950197" y="198972"/>
                        <a:pt x="949482" y="197546"/>
                        <a:pt x="949482" y="196833"/>
                      </a:cubicBezTo>
                      <a:cubicBezTo>
                        <a:pt x="949482" y="196120"/>
                        <a:pt x="949482" y="196120"/>
                        <a:pt x="949482" y="195407"/>
                      </a:cubicBezTo>
                      <a:cubicBezTo>
                        <a:pt x="948767" y="194694"/>
                        <a:pt x="948767" y="193268"/>
                        <a:pt x="948767" y="192555"/>
                      </a:cubicBezTo>
                      <a:cubicBezTo>
                        <a:pt x="942331" y="166176"/>
                        <a:pt x="920162" y="140509"/>
                        <a:pt x="885122" y="117695"/>
                      </a:cubicBezTo>
                      <a:cubicBezTo>
                        <a:pt x="883692" y="116982"/>
                        <a:pt x="882261" y="115556"/>
                        <a:pt x="880831" y="114843"/>
                      </a:cubicBezTo>
                      <a:cubicBezTo>
                        <a:pt x="880116" y="114130"/>
                        <a:pt x="880116" y="114130"/>
                        <a:pt x="879401" y="114130"/>
                      </a:cubicBezTo>
                      <a:cubicBezTo>
                        <a:pt x="877971" y="113417"/>
                        <a:pt x="876541" y="111991"/>
                        <a:pt x="875110" y="111278"/>
                      </a:cubicBezTo>
                      <a:cubicBezTo>
                        <a:pt x="875110" y="111278"/>
                        <a:pt x="874395" y="110565"/>
                        <a:pt x="873680" y="110565"/>
                      </a:cubicBezTo>
                      <a:cubicBezTo>
                        <a:pt x="872250" y="109852"/>
                        <a:pt x="871535" y="109139"/>
                        <a:pt x="870105" y="108426"/>
                      </a:cubicBezTo>
                      <a:cubicBezTo>
                        <a:pt x="869389" y="107713"/>
                        <a:pt x="868674" y="107713"/>
                        <a:pt x="867959" y="107000"/>
                      </a:cubicBezTo>
                      <a:cubicBezTo>
                        <a:pt x="866529" y="106287"/>
                        <a:pt x="865814" y="105574"/>
                        <a:pt x="864384" y="104861"/>
                      </a:cubicBezTo>
                      <a:cubicBezTo>
                        <a:pt x="863669" y="104861"/>
                        <a:pt x="862238" y="104148"/>
                        <a:pt x="861523" y="103436"/>
                      </a:cubicBezTo>
                      <a:cubicBezTo>
                        <a:pt x="860808" y="102723"/>
                        <a:pt x="859378" y="102723"/>
                        <a:pt x="858663" y="102010"/>
                      </a:cubicBezTo>
                      <a:cubicBezTo>
                        <a:pt x="857233" y="101297"/>
                        <a:pt x="856517" y="100584"/>
                        <a:pt x="855087" y="99871"/>
                      </a:cubicBezTo>
                      <a:cubicBezTo>
                        <a:pt x="854372" y="99871"/>
                        <a:pt x="852942" y="99158"/>
                        <a:pt x="852227" y="98445"/>
                      </a:cubicBezTo>
                      <a:cubicBezTo>
                        <a:pt x="850797" y="98445"/>
                        <a:pt x="849366" y="97732"/>
                        <a:pt x="848651" y="97019"/>
                      </a:cubicBezTo>
                      <a:cubicBezTo>
                        <a:pt x="847221" y="96306"/>
                        <a:pt x="846506" y="96306"/>
                        <a:pt x="845791" y="95593"/>
                      </a:cubicBezTo>
                      <a:cubicBezTo>
                        <a:pt x="844360" y="94880"/>
                        <a:pt x="842930" y="94167"/>
                        <a:pt x="841500" y="93454"/>
                      </a:cubicBezTo>
                      <a:cubicBezTo>
                        <a:pt x="840785" y="93454"/>
                        <a:pt x="840070" y="92741"/>
                        <a:pt x="839355" y="92028"/>
                      </a:cubicBezTo>
                      <a:cubicBezTo>
                        <a:pt x="837209" y="91315"/>
                        <a:pt x="835779" y="90602"/>
                        <a:pt x="834349" y="90602"/>
                      </a:cubicBezTo>
                      <a:cubicBezTo>
                        <a:pt x="833634" y="89889"/>
                        <a:pt x="832204" y="89176"/>
                        <a:pt x="830773" y="88463"/>
                      </a:cubicBezTo>
                      <a:cubicBezTo>
                        <a:pt x="830058" y="88463"/>
                        <a:pt x="828628" y="87750"/>
                        <a:pt x="827198" y="87038"/>
                      </a:cubicBezTo>
                      <a:cubicBezTo>
                        <a:pt x="825768" y="86325"/>
                        <a:pt x="823622" y="85612"/>
                        <a:pt x="821477" y="84899"/>
                      </a:cubicBezTo>
                      <a:cubicBezTo>
                        <a:pt x="820762" y="84186"/>
                        <a:pt x="820762" y="84186"/>
                        <a:pt x="820047" y="84186"/>
                      </a:cubicBezTo>
                      <a:cubicBezTo>
                        <a:pt x="817186" y="82760"/>
                        <a:pt x="815041" y="82047"/>
                        <a:pt x="812180" y="80621"/>
                      </a:cubicBezTo>
                      <a:cubicBezTo>
                        <a:pt x="806460" y="78482"/>
                        <a:pt x="801454" y="77056"/>
                        <a:pt x="795733" y="74917"/>
                      </a:cubicBezTo>
                      <a:cubicBezTo>
                        <a:pt x="795733" y="74917"/>
                        <a:pt x="795733" y="74917"/>
                        <a:pt x="795018" y="74917"/>
                      </a:cubicBezTo>
                      <a:cubicBezTo>
                        <a:pt x="790012" y="72778"/>
                        <a:pt x="784291" y="70640"/>
                        <a:pt x="778570" y="69214"/>
                      </a:cubicBezTo>
                      <a:cubicBezTo>
                        <a:pt x="778570" y="69214"/>
                        <a:pt x="777855" y="69214"/>
                        <a:pt x="777855" y="68501"/>
                      </a:cubicBezTo>
                      <a:cubicBezTo>
                        <a:pt x="772134" y="67075"/>
                        <a:pt x="766413" y="65649"/>
                        <a:pt x="760692" y="63510"/>
                      </a:cubicBezTo>
                      <a:cubicBezTo>
                        <a:pt x="760692" y="63510"/>
                        <a:pt x="759977" y="63510"/>
                        <a:pt x="759977" y="63510"/>
                      </a:cubicBezTo>
                      <a:cubicBezTo>
                        <a:pt x="754256" y="61371"/>
                        <a:pt x="748535" y="59945"/>
                        <a:pt x="742815" y="58519"/>
                      </a:cubicBezTo>
                      <a:cubicBezTo>
                        <a:pt x="742099" y="58519"/>
                        <a:pt x="741384" y="58519"/>
                        <a:pt x="741384" y="58519"/>
                      </a:cubicBezTo>
                      <a:cubicBezTo>
                        <a:pt x="735663" y="56380"/>
                        <a:pt x="729227" y="54954"/>
                        <a:pt x="723507" y="54242"/>
                      </a:cubicBezTo>
                      <a:cubicBezTo>
                        <a:pt x="722791" y="53529"/>
                        <a:pt x="722791" y="53529"/>
                        <a:pt x="722076" y="53529"/>
                      </a:cubicBezTo>
                      <a:cubicBezTo>
                        <a:pt x="716355" y="52103"/>
                        <a:pt x="709919" y="50677"/>
                        <a:pt x="704198" y="49251"/>
                      </a:cubicBezTo>
                      <a:cubicBezTo>
                        <a:pt x="703483" y="49251"/>
                        <a:pt x="703483" y="49251"/>
                        <a:pt x="702768" y="49251"/>
                      </a:cubicBezTo>
                      <a:cubicBezTo>
                        <a:pt x="696332" y="47825"/>
                        <a:pt x="690611" y="47112"/>
                        <a:pt x="684175" y="45686"/>
                      </a:cubicBezTo>
                      <a:cubicBezTo>
                        <a:pt x="683460" y="45686"/>
                        <a:pt x="683460" y="45686"/>
                        <a:pt x="682745" y="45686"/>
                      </a:cubicBezTo>
                      <a:cubicBezTo>
                        <a:pt x="676309" y="44260"/>
                        <a:pt x="670588" y="42834"/>
                        <a:pt x="664152" y="42121"/>
                      </a:cubicBezTo>
                      <a:cubicBezTo>
                        <a:pt x="663437" y="42121"/>
                        <a:pt x="662722" y="42121"/>
                        <a:pt x="662007" y="42121"/>
                      </a:cubicBezTo>
                      <a:cubicBezTo>
                        <a:pt x="656286" y="40695"/>
                        <a:pt x="649850" y="39982"/>
                        <a:pt x="643414" y="39269"/>
                      </a:cubicBezTo>
                      <a:cubicBezTo>
                        <a:pt x="642699" y="38557"/>
                        <a:pt x="641984" y="38557"/>
                        <a:pt x="641984" y="38557"/>
                      </a:cubicBezTo>
                      <a:cubicBezTo>
                        <a:pt x="635548" y="37844"/>
                        <a:pt x="628397" y="37131"/>
                        <a:pt x="621961" y="36418"/>
                      </a:cubicBezTo>
                      <a:cubicBezTo>
                        <a:pt x="621245" y="36418"/>
                        <a:pt x="621245" y="36418"/>
                        <a:pt x="620530" y="35705"/>
                      </a:cubicBezTo>
                      <a:cubicBezTo>
                        <a:pt x="614094" y="34992"/>
                        <a:pt x="606943" y="34279"/>
                        <a:pt x="600507" y="33566"/>
                      </a:cubicBezTo>
                      <a:cubicBezTo>
                        <a:pt x="599792" y="33566"/>
                        <a:pt x="599792" y="33566"/>
                        <a:pt x="599792" y="33566"/>
                      </a:cubicBezTo>
                      <a:cubicBezTo>
                        <a:pt x="592641" y="32853"/>
                        <a:pt x="585490" y="32140"/>
                        <a:pt x="578339" y="32140"/>
                      </a:cubicBezTo>
                      <a:cubicBezTo>
                        <a:pt x="578339" y="32140"/>
                        <a:pt x="578339" y="32140"/>
                        <a:pt x="577624" y="32140"/>
                      </a:cubicBezTo>
                      <a:cubicBezTo>
                        <a:pt x="570473" y="31427"/>
                        <a:pt x="563321" y="30714"/>
                        <a:pt x="556170" y="30714"/>
                      </a:cubicBezTo>
                      <a:cubicBezTo>
                        <a:pt x="549019" y="30001"/>
                        <a:pt x="541153" y="29288"/>
                        <a:pt x="534002" y="29288"/>
                      </a:cubicBezTo>
                      <a:cubicBezTo>
                        <a:pt x="518984" y="28575"/>
                        <a:pt x="503967" y="28575"/>
                        <a:pt x="488950" y="28575"/>
                      </a:cubicBezTo>
                      <a:cubicBezTo>
                        <a:pt x="485374" y="28575"/>
                        <a:pt x="481083" y="28575"/>
                        <a:pt x="477508" y="28575"/>
                      </a:cubicBezTo>
                      <a:close/>
                      <a:moveTo>
                        <a:pt x="488950" y="0"/>
                      </a:moveTo>
                      <a:cubicBezTo>
                        <a:pt x="613151" y="0"/>
                        <a:pt x="731641" y="19252"/>
                        <a:pt x="821579" y="54903"/>
                      </a:cubicBezTo>
                      <a:cubicBezTo>
                        <a:pt x="912945" y="90555"/>
                        <a:pt x="967193" y="139041"/>
                        <a:pt x="976473" y="192518"/>
                      </a:cubicBezTo>
                      <a:cubicBezTo>
                        <a:pt x="977186" y="193944"/>
                        <a:pt x="977900" y="196083"/>
                        <a:pt x="977900" y="198935"/>
                      </a:cubicBezTo>
                      <a:cubicBezTo>
                        <a:pt x="977900" y="198935"/>
                        <a:pt x="977900" y="198935"/>
                        <a:pt x="977900" y="884870"/>
                      </a:cubicBezTo>
                      <a:cubicBezTo>
                        <a:pt x="977900" y="1001807"/>
                        <a:pt x="763762" y="1093788"/>
                        <a:pt x="488950" y="1093788"/>
                      </a:cubicBezTo>
                      <a:cubicBezTo>
                        <a:pt x="214139" y="1093788"/>
                        <a:pt x="0" y="1001807"/>
                        <a:pt x="0" y="884870"/>
                      </a:cubicBezTo>
                      <a:cubicBezTo>
                        <a:pt x="0" y="881305"/>
                        <a:pt x="0" y="877027"/>
                        <a:pt x="714" y="873462"/>
                      </a:cubicBezTo>
                      <a:cubicBezTo>
                        <a:pt x="714" y="873462"/>
                        <a:pt x="714" y="873462"/>
                        <a:pt x="714" y="220326"/>
                      </a:cubicBezTo>
                      <a:cubicBezTo>
                        <a:pt x="0" y="216761"/>
                        <a:pt x="0" y="212483"/>
                        <a:pt x="0" y="208918"/>
                      </a:cubicBezTo>
                      <a:cubicBezTo>
                        <a:pt x="0" y="91981"/>
                        <a:pt x="214139" y="0"/>
                        <a:pt x="488950" y="0"/>
                      </a:cubicBezTo>
                      <a:close/>
                    </a:path>
                  </a:pathLst>
                </a:custGeom>
                <a:solidFill>
                  <a:schemeClr val="accent1"/>
                </a:solidFill>
                <a:ln>
                  <a:noFill/>
                </a:ln>
              </p:spPr>
              <p:txBody>
                <a:bodyPr vert="horz" wrap="square" lIns="53328" tIns="26663" rIns="53328" bIns="26663" numCol="1" anchor="t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en-US"/>
                </a:p>
              </p:txBody>
            </p:sp>
            <p:sp>
              <p:nvSpPr>
                <p:cNvPr id="28" name="Freeform 18">
                  <a:extLst>
                    <a:ext uri="{FF2B5EF4-FFF2-40B4-BE49-F238E27FC236}">
                      <a16:creationId xmlns:a16="http://schemas.microsoft.com/office/drawing/2014/main" id="{571DE3CC-29AD-44D4-B1DA-CA604D08A6E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667375" y="3184524"/>
                  <a:ext cx="860425" cy="723900"/>
                </a:xfrm>
                <a:custGeom>
                  <a:avLst/>
                  <a:gdLst>
                    <a:gd name="connsiteX0" fmla="*/ 860425 w 860425"/>
                    <a:gd name="connsiteY0" fmla="*/ 434975 h 723900"/>
                    <a:gd name="connsiteX1" fmla="*/ 860425 w 860425"/>
                    <a:gd name="connsiteY1" fmla="*/ 581935 h 723900"/>
                    <a:gd name="connsiteX2" fmla="*/ 743224 w 860425"/>
                    <a:gd name="connsiteY2" fmla="*/ 679670 h 723900"/>
                    <a:gd name="connsiteX3" fmla="*/ 703919 w 860425"/>
                    <a:gd name="connsiteY3" fmla="*/ 693224 h 723900"/>
                    <a:gd name="connsiteX4" fmla="*/ 430927 w 860425"/>
                    <a:gd name="connsiteY4" fmla="*/ 723900 h 723900"/>
                    <a:gd name="connsiteX5" fmla="*/ 155791 w 860425"/>
                    <a:gd name="connsiteY5" fmla="*/ 693224 h 723900"/>
                    <a:gd name="connsiteX6" fmla="*/ 117201 w 860425"/>
                    <a:gd name="connsiteY6" fmla="*/ 679670 h 723900"/>
                    <a:gd name="connsiteX7" fmla="*/ 0 w 860425"/>
                    <a:gd name="connsiteY7" fmla="*/ 581935 h 723900"/>
                    <a:gd name="connsiteX8" fmla="*/ 0 w 860425"/>
                    <a:gd name="connsiteY8" fmla="*/ 579794 h 723900"/>
                    <a:gd name="connsiteX9" fmla="*/ 715 w 860425"/>
                    <a:gd name="connsiteY9" fmla="*/ 577654 h 723900"/>
                    <a:gd name="connsiteX10" fmla="*/ 715 w 860425"/>
                    <a:gd name="connsiteY10" fmla="*/ 436402 h 723900"/>
                    <a:gd name="connsiteX11" fmla="*/ 430927 w 860425"/>
                    <a:gd name="connsiteY11" fmla="*/ 557679 h 723900"/>
                    <a:gd name="connsiteX12" fmla="*/ 860425 w 860425"/>
                    <a:gd name="connsiteY12" fmla="*/ 434975 h 723900"/>
                    <a:gd name="connsiteX13" fmla="*/ 860425 w 860425"/>
                    <a:gd name="connsiteY13" fmla="*/ 214313 h 723900"/>
                    <a:gd name="connsiteX14" fmla="*/ 860425 w 860425"/>
                    <a:gd name="connsiteY14" fmla="*/ 384562 h 723900"/>
                    <a:gd name="connsiteX15" fmla="*/ 430570 w 860425"/>
                    <a:gd name="connsiteY15" fmla="*/ 511176 h 723900"/>
                    <a:gd name="connsiteX16" fmla="*/ 0 w 860425"/>
                    <a:gd name="connsiteY16" fmla="*/ 385993 h 723900"/>
                    <a:gd name="connsiteX17" fmla="*/ 0 w 860425"/>
                    <a:gd name="connsiteY17" fmla="*/ 215744 h 723900"/>
                    <a:gd name="connsiteX18" fmla="*/ 430570 w 860425"/>
                    <a:gd name="connsiteY18" fmla="*/ 340212 h 723900"/>
                    <a:gd name="connsiteX19" fmla="*/ 860425 w 860425"/>
                    <a:gd name="connsiteY19" fmla="*/ 214313 h 723900"/>
                    <a:gd name="connsiteX20" fmla="*/ 860425 w 860425"/>
                    <a:gd name="connsiteY20" fmla="*/ 0 h 723900"/>
                    <a:gd name="connsiteX21" fmla="*/ 860425 w 860425"/>
                    <a:gd name="connsiteY21" fmla="*/ 165508 h 723900"/>
                    <a:gd name="connsiteX22" fmla="*/ 430570 w 860425"/>
                    <a:gd name="connsiteY22" fmla="*/ 288925 h 723900"/>
                    <a:gd name="connsiteX23" fmla="*/ 0 w 860425"/>
                    <a:gd name="connsiteY23" fmla="*/ 166935 h 723900"/>
                    <a:gd name="connsiteX24" fmla="*/ 0 w 860425"/>
                    <a:gd name="connsiteY24" fmla="*/ 1427 h 723900"/>
                    <a:gd name="connsiteX25" fmla="*/ 430570 w 860425"/>
                    <a:gd name="connsiteY25" fmla="*/ 122704 h 723900"/>
                    <a:gd name="connsiteX26" fmla="*/ 860425 w 860425"/>
                    <a:gd name="connsiteY26" fmla="*/ 0 h 7239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</a:cxnLst>
                  <a:rect l="l" t="t" r="r" b="b"/>
                  <a:pathLst>
                    <a:path w="860425" h="723900">
                      <a:moveTo>
                        <a:pt x="860425" y="434975"/>
                      </a:moveTo>
                      <a:cubicBezTo>
                        <a:pt x="860425" y="434975"/>
                        <a:pt x="860425" y="434975"/>
                        <a:pt x="860425" y="581935"/>
                      </a:cubicBezTo>
                      <a:cubicBezTo>
                        <a:pt x="860425" y="614037"/>
                        <a:pt x="815403" y="651847"/>
                        <a:pt x="743224" y="679670"/>
                      </a:cubicBezTo>
                      <a:cubicBezTo>
                        <a:pt x="731076" y="684663"/>
                        <a:pt x="717497" y="688944"/>
                        <a:pt x="703919" y="693224"/>
                      </a:cubicBezTo>
                      <a:cubicBezTo>
                        <a:pt x="629597" y="713199"/>
                        <a:pt x="533835" y="723900"/>
                        <a:pt x="430927" y="723900"/>
                      </a:cubicBezTo>
                      <a:cubicBezTo>
                        <a:pt x="326590" y="723900"/>
                        <a:pt x="230829" y="713199"/>
                        <a:pt x="155791" y="693224"/>
                      </a:cubicBezTo>
                      <a:cubicBezTo>
                        <a:pt x="142213" y="688944"/>
                        <a:pt x="129350" y="684663"/>
                        <a:pt x="117201" y="679670"/>
                      </a:cubicBezTo>
                      <a:cubicBezTo>
                        <a:pt x="45022" y="651847"/>
                        <a:pt x="0" y="614037"/>
                        <a:pt x="0" y="581935"/>
                      </a:cubicBezTo>
                      <a:cubicBezTo>
                        <a:pt x="0" y="581221"/>
                        <a:pt x="0" y="580508"/>
                        <a:pt x="0" y="579794"/>
                      </a:cubicBezTo>
                      <a:cubicBezTo>
                        <a:pt x="0" y="579794"/>
                        <a:pt x="0" y="579794"/>
                        <a:pt x="715" y="577654"/>
                      </a:cubicBezTo>
                      <a:cubicBezTo>
                        <a:pt x="715" y="577654"/>
                        <a:pt x="715" y="577654"/>
                        <a:pt x="715" y="436402"/>
                      </a:cubicBezTo>
                      <a:cubicBezTo>
                        <a:pt x="33588" y="509168"/>
                        <a:pt x="213677" y="557679"/>
                        <a:pt x="430927" y="557679"/>
                      </a:cubicBezTo>
                      <a:cubicBezTo>
                        <a:pt x="648178" y="557679"/>
                        <a:pt x="828981" y="508455"/>
                        <a:pt x="860425" y="434975"/>
                      </a:cubicBezTo>
                      <a:close/>
                      <a:moveTo>
                        <a:pt x="860425" y="214313"/>
                      </a:moveTo>
                      <a:cubicBezTo>
                        <a:pt x="860425" y="214313"/>
                        <a:pt x="860425" y="214313"/>
                        <a:pt x="860425" y="384562"/>
                      </a:cubicBezTo>
                      <a:cubicBezTo>
                        <a:pt x="828955" y="461103"/>
                        <a:pt x="648001" y="511176"/>
                        <a:pt x="430570" y="511176"/>
                      </a:cubicBezTo>
                      <a:cubicBezTo>
                        <a:pt x="213140" y="511176"/>
                        <a:pt x="32901" y="461818"/>
                        <a:pt x="0" y="385993"/>
                      </a:cubicBezTo>
                      <a:cubicBezTo>
                        <a:pt x="0" y="385993"/>
                        <a:pt x="0" y="385993"/>
                        <a:pt x="0" y="215744"/>
                      </a:cubicBezTo>
                      <a:cubicBezTo>
                        <a:pt x="32901" y="290854"/>
                        <a:pt x="213140" y="340212"/>
                        <a:pt x="430570" y="340212"/>
                      </a:cubicBezTo>
                      <a:cubicBezTo>
                        <a:pt x="648001" y="340212"/>
                        <a:pt x="828955" y="290138"/>
                        <a:pt x="860425" y="214313"/>
                      </a:cubicBezTo>
                      <a:close/>
                      <a:moveTo>
                        <a:pt x="860425" y="0"/>
                      </a:moveTo>
                      <a:cubicBezTo>
                        <a:pt x="860425" y="0"/>
                        <a:pt x="860425" y="0"/>
                        <a:pt x="860425" y="165508"/>
                      </a:cubicBezTo>
                      <a:cubicBezTo>
                        <a:pt x="828955" y="239701"/>
                        <a:pt x="648001" y="288925"/>
                        <a:pt x="430570" y="288925"/>
                      </a:cubicBezTo>
                      <a:cubicBezTo>
                        <a:pt x="213140" y="288925"/>
                        <a:pt x="32901" y="240414"/>
                        <a:pt x="0" y="166935"/>
                      </a:cubicBezTo>
                      <a:cubicBezTo>
                        <a:pt x="0" y="166935"/>
                        <a:pt x="0" y="166935"/>
                        <a:pt x="0" y="1427"/>
                      </a:cubicBezTo>
                      <a:cubicBezTo>
                        <a:pt x="32901" y="74193"/>
                        <a:pt x="213140" y="122704"/>
                        <a:pt x="430570" y="122704"/>
                      </a:cubicBezTo>
                      <a:cubicBezTo>
                        <a:pt x="648001" y="122704"/>
                        <a:pt x="828955" y="73480"/>
                        <a:pt x="860425" y="0"/>
                      </a:cubicBezTo>
                      <a:close/>
                    </a:path>
                  </a:pathLst>
                </a:custGeom>
                <a:solidFill>
                  <a:schemeClr val="tx2"/>
                </a:solidFill>
                <a:ln>
                  <a:noFill/>
                </a:ln>
              </p:spPr>
              <p:txBody>
                <a:bodyPr vert="horz" wrap="square" lIns="53328" tIns="26663" rIns="53328" bIns="26663" numCol="1" anchor="t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en-US"/>
                </a:p>
              </p:txBody>
            </p:sp>
          </p:grpSp>
        </p:grpSp>
        <p:grpSp>
          <p:nvGrpSpPr>
            <p:cNvPr id="29" name="bcgIcons_CheckDatabase">
              <a:extLst>
                <a:ext uri="{FF2B5EF4-FFF2-40B4-BE49-F238E27FC236}">
                  <a16:creationId xmlns:a16="http://schemas.microsoft.com/office/drawing/2014/main" id="{F1D7241E-6637-4DCE-8AC2-C0B0C9504E75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723252" y="2203308"/>
              <a:ext cx="1066597" cy="1067586"/>
              <a:chOff x="1682" y="0"/>
              <a:chExt cx="4316" cy="4320"/>
            </a:xfrm>
          </p:grpSpPr>
          <p:sp>
            <p:nvSpPr>
              <p:cNvPr id="30" name="AutoShape 33">
                <a:extLst>
                  <a:ext uri="{FF2B5EF4-FFF2-40B4-BE49-F238E27FC236}">
                    <a16:creationId xmlns:a16="http://schemas.microsoft.com/office/drawing/2014/main" id="{CF7DC195-6A93-40B3-9491-54F1B0ACB1A8}"/>
                  </a:ext>
                </a:extLst>
              </p:cNvPr>
              <p:cNvSpPr>
                <a:spLocks noChangeAspect="1" noChangeArrowheads="1" noTextEdit="1"/>
              </p:cNvSpPr>
              <p:nvPr/>
            </p:nvSpPr>
            <p:spPr bwMode="auto">
              <a:xfrm>
                <a:off x="1682" y="0"/>
                <a:ext cx="4316" cy="432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53328" tIns="26663" rIns="53328" bIns="26663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" name="Freeform 35">
                <a:extLst>
                  <a:ext uri="{FF2B5EF4-FFF2-40B4-BE49-F238E27FC236}">
                    <a16:creationId xmlns:a16="http://schemas.microsoft.com/office/drawing/2014/main" id="{098B163A-8C81-4BDD-8F2D-2B83A33BA83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377" y="1350"/>
                <a:ext cx="2512" cy="1586"/>
              </a:xfrm>
              <a:custGeom>
                <a:avLst/>
                <a:gdLst>
                  <a:gd name="T0" fmla="*/ 741 w 1341"/>
                  <a:gd name="T1" fmla="*/ 337 h 846"/>
                  <a:gd name="T2" fmla="*/ 498 w 1341"/>
                  <a:gd name="T3" fmla="*/ 359 h 846"/>
                  <a:gd name="T4" fmla="*/ 0 w 1341"/>
                  <a:gd name="T5" fmla="*/ 185 h 846"/>
                  <a:gd name="T6" fmla="*/ 0 w 1341"/>
                  <a:gd name="T7" fmla="*/ 0 h 846"/>
                  <a:gd name="T8" fmla="*/ 498 w 1341"/>
                  <a:gd name="T9" fmla="*/ 174 h 846"/>
                  <a:gd name="T10" fmla="*/ 995 w 1341"/>
                  <a:gd name="T11" fmla="*/ 0 h 846"/>
                  <a:gd name="T12" fmla="*/ 995 w 1341"/>
                  <a:gd name="T13" fmla="*/ 185 h 846"/>
                  <a:gd name="T14" fmla="*/ 995 w 1341"/>
                  <a:gd name="T15" fmla="*/ 192 h 846"/>
                  <a:gd name="T16" fmla="*/ 777 w 1341"/>
                  <a:gd name="T17" fmla="*/ 297 h 846"/>
                  <a:gd name="T18" fmla="*/ 741 w 1341"/>
                  <a:gd name="T19" fmla="*/ 337 h 846"/>
                  <a:gd name="T20" fmla="*/ 1255 w 1341"/>
                  <a:gd name="T21" fmla="*/ 746 h 846"/>
                  <a:gd name="T22" fmla="*/ 1232 w 1341"/>
                  <a:gd name="T23" fmla="*/ 770 h 846"/>
                  <a:gd name="T24" fmla="*/ 1211 w 1341"/>
                  <a:gd name="T25" fmla="*/ 789 h 846"/>
                  <a:gd name="T26" fmla="*/ 1210 w 1341"/>
                  <a:gd name="T27" fmla="*/ 790 h 846"/>
                  <a:gd name="T28" fmla="*/ 1045 w 1341"/>
                  <a:gd name="T29" fmla="*/ 846 h 846"/>
                  <a:gd name="T30" fmla="*/ 851 w 1341"/>
                  <a:gd name="T31" fmla="*/ 763 h 846"/>
                  <a:gd name="T32" fmla="*/ 858 w 1341"/>
                  <a:gd name="T33" fmla="*/ 381 h 846"/>
                  <a:gd name="T34" fmla="*/ 1045 w 1341"/>
                  <a:gd name="T35" fmla="*/ 306 h 846"/>
                  <a:gd name="T36" fmla="*/ 1240 w 1341"/>
                  <a:gd name="T37" fmla="*/ 388 h 846"/>
                  <a:gd name="T38" fmla="*/ 1255 w 1341"/>
                  <a:gd name="T39" fmla="*/ 746 h 846"/>
                  <a:gd name="T40" fmla="*/ 1228 w 1341"/>
                  <a:gd name="T41" fmla="*/ 471 h 846"/>
                  <a:gd name="T42" fmla="*/ 1197 w 1341"/>
                  <a:gd name="T43" fmla="*/ 471 h 846"/>
                  <a:gd name="T44" fmla="*/ 986 w 1341"/>
                  <a:gd name="T45" fmla="*/ 673 h 846"/>
                  <a:gd name="T46" fmla="*/ 890 w 1341"/>
                  <a:gd name="T47" fmla="*/ 577 h 846"/>
                  <a:gd name="T48" fmla="*/ 859 w 1341"/>
                  <a:gd name="T49" fmla="*/ 577 h 846"/>
                  <a:gd name="T50" fmla="*/ 859 w 1341"/>
                  <a:gd name="T51" fmla="*/ 608 h 846"/>
                  <a:gd name="T52" fmla="*/ 970 w 1341"/>
                  <a:gd name="T53" fmla="*/ 719 h 846"/>
                  <a:gd name="T54" fmla="*/ 986 w 1341"/>
                  <a:gd name="T55" fmla="*/ 726 h 846"/>
                  <a:gd name="T56" fmla="*/ 1001 w 1341"/>
                  <a:gd name="T57" fmla="*/ 720 h 846"/>
                  <a:gd name="T58" fmla="*/ 1228 w 1341"/>
                  <a:gd name="T59" fmla="*/ 502 h 846"/>
                  <a:gd name="T60" fmla="*/ 1228 w 1341"/>
                  <a:gd name="T61" fmla="*/ 471 h 846"/>
                  <a:gd name="T62" fmla="*/ 703 w 1341"/>
                  <a:gd name="T63" fmla="*/ 396 h 846"/>
                  <a:gd name="T64" fmla="*/ 498 w 1341"/>
                  <a:gd name="T65" fmla="*/ 411 h 846"/>
                  <a:gd name="T66" fmla="*/ 0 w 1341"/>
                  <a:gd name="T67" fmla="*/ 237 h 846"/>
                  <a:gd name="T68" fmla="*/ 0 w 1341"/>
                  <a:gd name="T69" fmla="*/ 423 h 846"/>
                  <a:gd name="T70" fmla="*/ 498 w 1341"/>
                  <a:gd name="T71" fmla="*/ 597 h 846"/>
                  <a:gd name="T72" fmla="*/ 659 w 1341"/>
                  <a:gd name="T73" fmla="*/ 588 h 846"/>
                  <a:gd name="T74" fmla="*/ 703 w 1341"/>
                  <a:gd name="T75" fmla="*/ 396 h 846"/>
                  <a:gd name="T76" fmla="*/ 663 w 1341"/>
                  <a:gd name="T77" fmla="*/ 639 h 846"/>
                  <a:gd name="T78" fmla="*/ 498 w 1341"/>
                  <a:gd name="T79" fmla="*/ 649 h 846"/>
                  <a:gd name="T80" fmla="*/ 0 w 1341"/>
                  <a:gd name="T81" fmla="*/ 475 h 846"/>
                  <a:gd name="T82" fmla="*/ 0 w 1341"/>
                  <a:gd name="T83" fmla="*/ 661 h 846"/>
                  <a:gd name="T84" fmla="*/ 498 w 1341"/>
                  <a:gd name="T85" fmla="*/ 835 h 846"/>
                  <a:gd name="T86" fmla="*/ 738 w 1341"/>
                  <a:gd name="T87" fmla="*/ 813 h 846"/>
                  <a:gd name="T88" fmla="*/ 663 w 1341"/>
                  <a:gd name="T89" fmla="*/ 639 h 8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1341" h="846">
                    <a:moveTo>
                      <a:pt x="741" y="337"/>
                    </a:moveTo>
                    <a:cubicBezTo>
                      <a:pt x="669" y="351"/>
                      <a:pt x="586" y="359"/>
                      <a:pt x="498" y="359"/>
                    </a:cubicBezTo>
                    <a:cubicBezTo>
                      <a:pt x="223" y="359"/>
                      <a:pt x="0" y="282"/>
                      <a:pt x="0" y="185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96"/>
                      <a:pt x="223" y="174"/>
                      <a:pt x="498" y="174"/>
                    </a:cubicBezTo>
                    <a:cubicBezTo>
                      <a:pt x="772" y="174"/>
                      <a:pt x="995" y="96"/>
                      <a:pt x="995" y="0"/>
                    </a:cubicBezTo>
                    <a:cubicBezTo>
                      <a:pt x="995" y="185"/>
                      <a:pt x="995" y="185"/>
                      <a:pt x="995" y="185"/>
                    </a:cubicBezTo>
                    <a:cubicBezTo>
                      <a:pt x="995" y="188"/>
                      <a:pt x="995" y="190"/>
                      <a:pt x="995" y="192"/>
                    </a:cubicBezTo>
                    <a:cubicBezTo>
                      <a:pt x="913" y="203"/>
                      <a:pt x="837" y="239"/>
                      <a:pt x="777" y="297"/>
                    </a:cubicBezTo>
                    <a:cubicBezTo>
                      <a:pt x="764" y="310"/>
                      <a:pt x="752" y="323"/>
                      <a:pt x="741" y="337"/>
                    </a:cubicBezTo>
                    <a:close/>
                    <a:moveTo>
                      <a:pt x="1255" y="746"/>
                    </a:moveTo>
                    <a:cubicBezTo>
                      <a:pt x="1248" y="754"/>
                      <a:pt x="1240" y="763"/>
                      <a:pt x="1232" y="770"/>
                    </a:cubicBezTo>
                    <a:cubicBezTo>
                      <a:pt x="1224" y="778"/>
                      <a:pt x="1217" y="784"/>
                      <a:pt x="1211" y="789"/>
                    </a:cubicBezTo>
                    <a:cubicBezTo>
                      <a:pt x="1210" y="790"/>
                      <a:pt x="1210" y="790"/>
                      <a:pt x="1210" y="790"/>
                    </a:cubicBezTo>
                    <a:cubicBezTo>
                      <a:pt x="1163" y="826"/>
                      <a:pt x="1104" y="846"/>
                      <a:pt x="1045" y="846"/>
                    </a:cubicBezTo>
                    <a:cubicBezTo>
                      <a:pt x="971" y="846"/>
                      <a:pt x="902" y="816"/>
                      <a:pt x="851" y="763"/>
                    </a:cubicBezTo>
                    <a:cubicBezTo>
                      <a:pt x="748" y="656"/>
                      <a:pt x="751" y="484"/>
                      <a:pt x="858" y="381"/>
                    </a:cubicBezTo>
                    <a:cubicBezTo>
                      <a:pt x="908" y="332"/>
                      <a:pt x="975" y="306"/>
                      <a:pt x="1045" y="306"/>
                    </a:cubicBezTo>
                    <a:cubicBezTo>
                      <a:pt x="1119" y="306"/>
                      <a:pt x="1188" y="335"/>
                      <a:pt x="1240" y="388"/>
                    </a:cubicBezTo>
                    <a:cubicBezTo>
                      <a:pt x="1334" y="487"/>
                      <a:pt x="1341" y="640"/>
                      <a:pt x="1255" y="746"/>
                    </a:cubicBezTo>
                    <a:close/>
                    <a:moveTo>
                      <a:pt x="1228" y="471"/>
                    </a:moveTo>
                    <a:cubicBezTo>
                      <a:pt x="1220" y="463"/>
                      <a:pt x="1206" y="462"/>
                      <a:pt x="1197" y="471"/>
                    </a:cubicBezTo>
                    <a:cubicBezTo>
                      <a:pt x="986" y="673"/>
                      <a:pt x="986" y="673"/>
                      <a:pt x="986" y="673"/>
                    </a:cubicBezTo>
                    <a:cubicBezTo>
                      <a:pt x="890" y="577"/>
                      <a:pt x="890" y="577"/>
                      <a:pt x="890" y="577"/>
                    </a:cubicBezTo>
                    <a:cubicBezTo>
                      <a:pt x="881" y="569"/>
                      <a:pt x="868" y="569"/>
                      <a:pt x="859" y="577"/>
                    </a:cubicBezTo>
                    <a:cubicBezTo>
                      <a:pt x="850" y="586"/>
                      <a:pt x="850" y="600"/>
                      <a:pt x="859" y="608"/>
                    </a:cubicBezTo>
                    <a:cubicBezTo>
                      <a:pt x="970" y="719"/>
                      <a:pt x="970" y="719"/>
                      <a:pt x="970" y="719"/>
                    </a:cubicBezTo>
                    <a:cubicBezTo>
                      <a:pt x="974" y="724"/>
                      <a:pt x="980" y="726"/>
                      <a:pt x="986" y="726"/>
                    </a:cubicBezTo>
                    <a:cubicBezTo>
                      <a:pt x="991" y="726"/>
                      <a:pt x="996" y="724"/>
                      <a:pt x="1001" y="720"/>
                    </a:cubicBezTo>
                    <a:cubicBezTo>
                      <a:pt x="1228" y="502"/>
                      <a:pt x="1228" y="502"/>
                      <a:pt x="1228" y="502"/>
                    </a:cubicBezTo>
                    <a:cubicBezTo>
                      <a:pt x="1236" y="494"/>
                      <a:pt x="1237" y="480"/>
                      <a:pt x="1228" y="471"/>
                    </a:cubicBezTo>
                    <a:close/>
                    <a:moveTo>
                      <a:pt x="703" y="396"/>
                    </a:moveTo>
                    <a:cubicBezTo>
                      <a:pt x="640" y="406"/>
                      <a:pt x="571" y="411"/>
                      <a:pt x="498" y="411"/>
                    </a:cubicBezTo>
                    <a:cubicBezTo>
                      <a:pt x="223" y="411"/>
                      <a:pt x="0" y="333"/>
                      <a:pt x="0" y="237"/>
                    </a:cubicBezTo>
                    <a:cubicBezTo>
                      <a:pt x="0" y="423"/>
                      <a:pt x="0" y="423"/>
                      <a:pt x="0" y="423"/>
                    </a:cubicBezTo>
                    <a:cubicBezTo>
                      <a:pt x="0" y="519"/>
                      <a:pt x="223" y="597"/>
                      <a:pt x="498" y="597"/>
                    </a:cubicBezTo>
                    <a:cubicBezTo>
                      <a:pt x="554" y="597"/>
                      <a:pt x="608" y="594"/>
                      <a:pt x="659" y="588"/>
                    </a:cubicBezTo>
                    <a:cubicBezTo>
                      <a:pt x="657" y="522"/>
                      <a:pt x="672" y="455"/>
                      <a:pt x="703" y="396"/>
                    </a:cubicBezTo>
                    <a:close/>
                    <a:moveTo>
                      <a:pt x="663" y="639"/>
                    </a:moveTo>
                    <a:cubicBezTo>
                      <a:pt x="612" y="645"/>
                      <a:pt x="556" y="649"/>
                      <a:pt x="498" y="649"/>
                    </a:cubicBezTo>
                    <a:cubicBezTo>
                      <a:pt x="223" y="649"/>
                      <a:pt x="0" y="571"/>
                      <a:pt x="0" y="475"/>
                    </a:cubicBezTo>
                    <a:cubicBezTo>
                      <a:pt x="0" y="661"/>
                      <a:pt x="0" y="661"/>
                      <a:pt x="0" y="661"/>
                    </a:cubicBezTo>
                    <a:cubicBezTo>
                      <a:pt x="0" y="757"/>
                      <a:pt x="223" y="835"/>
                      <a:pt x="498" y="835"/>
                    </a:cubicBezTo>
                    <a:cubicBezTo>
                      <a:pt x="585" y="835"/>
                      <a:pt x="667" y="827"/>
                      <a:pt x="738" y="813"/>
                    </a:cubicBezTo>
                    <a:cubicBezTo>
                      <a:pt x="698" y="761"/>
                      <a:pt x="673" y="701"/>
                      <a:pt x="663" y="639"/>
                    </a:cubicBez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53328" tIns="26663" rIns="53328" bIns="26663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" name="Freeform 36">
                <a:extLst>
                  <a:ext uri="{FF2B5EF4-FFF2-40B4-BE49-F238E27FC236}">
                    <a16:creationId xmlns:a16="http://schemas.microsoft.com/office/drawing/2014/main" id="{71B558B8-B8E4-44F4-8A83-E25635FEFA8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199" y="711"/>
                <a:ext cx="3481" cy="3077"/>
              </a:xfrm>
              <a:custGeom>
                <a:avLst/>
                <a:gdLst>
                  <a:gd name="T0" fmla="*/ 95 w 1858"/>
                  <a:gd name="T1" fmla="*/ 268 h 1641"/>
                  <a:gd name="T2" fmla="*/ 593 w 1858"/>
                  <a:gd name="T3" fmla="*/ 94 h 1641"/>
                  <a:gd name="T4" fmla="*/ 1090 w 1858"/>
                  <a:gd name="T5" fmla="*/ 268 h 1641"/>
                  <a:gd name="T6" fmla="*/ 593 w 1858"/>
                  <a:gd name="T7" fmla="*/ 442 h 1641"/>
                  <a:gd name="T8" fmla="*/ 95 w 1858"/>
                  <a:gd name="T9" fmla="*/ 268 h 1641"/>
                  <a:gd name="T10" fmla="*/ 888 w 1858"/>
                  <a:gd name="T11" fmla="*/ 1162 h 1641"/>
                  <a:gd name="T12" fmla="*/ 898 w 1858"/>
                  <a:gd name="T13" fmla="*/ 665 h 1641"/>
                  <a:gd name="T14" fmla="*/ 1395 w 1858"/>
                  <a:gd name="T15" fmla="*/ 674 h 1641"/>
                  <a:gd name="T16" fmla="*/ 1427 w 1858"/>
                  <a:gd name="T17" fmla="*/ 1122 h 1641"/>
                  <a:gd name="T18" fmla="*/ 1510 w 1858"/>
                  <a:gd name="T19" fmla="*/ 1208 h 1641"/>
                  <a:gd name="T20" fmla="*/ 1510 w 1858"/>
                  <a:gd name="T21" fmla="*/ 1222 h 1641"/>
                  <a:gd name="T22" fmla="*/ 1434 w 1858"/>
                  <a:gd name="T23" fmla="*/ 1294 h 1641"/>
                  <a:gd name="T24" fmla="*/ 1421 w 1858"/>
                  <a:gd name="T25" fmla="*/ 1294 h 1641"/>
                  <a:gd name="T26" fmla="*/ 1339 w 1858"/>
                  <a:gd name="T27" fmla="*/ 1209 h 1641"/>
                  <a:gd name="T28" fmla="*/ 888 w 1858"/>
                  <a:gd name="T29" fmla="*/ 1162 h 1641"/>
                  <a:gd name="T30" fmla="*/ 1329 w 1858"/>
                  <a:gd name="T31" fmla="*/ 1162 h 1641"/>
                  <a:gd name="T32" fmla="*/ 1355 w 1858"/>
                  <a:gd name="T33" fmla="*/ 1140 h 1641"/>
                  <a:gd name="T34" fmla="*/ 1381 w 1858"/>
                  <a:gd name="T35" fmla="*/ 1112 h 1641"/>
                  <a:gd name="T36" fmla="*/ 1363 w 1858"/>
                  <a:gd name="T37" fmla="*/ 705 h 1641"/>
                  <a:gd name="T38" fmla="*/ 928 w 1858"/>
                  <a:gd name="T39" fmla="*/ 696 h 1641"/>
                  <a:gd name="T40" fmla="*/ 920 w 1858"/>
                  <a:gd name="T41" fmla="*/ 1131 h 1641"/>
                  <a:gd name="T42" fmla="*/ 1329 w 1858"/>
                  <a:gd name="T43" fmla="*/ 1162 h 1641"/>
                  <a:gd name="T44" fmla="*/ 1809 w 1858"/>
                  <a:gd name="T45" fmla="*/ 1606 h 1641"/>
                  <a:gd name="T46" fmla="*/ 1835 w 1858"/>
                  <a:gd name="T47" fmla="*/ 1501 h 1641"/>
                  <a:gd name="T48" fmla="*/ 1581 w 1858"/>
                  <a:gd name="T49" fmla="*/ 1235 h 1641"/>
                  <a:gd name="T50" fmla="*/ 1565 w 1858"/>
                  <a:gd name="T51" fmla="*/ 1228 h 1641"/>
                  <a:gd name="T52" fmla="*/ 1550 w 1858"/>
                  <a:gd name="T53" fmla="*/ 1234 h 1641"/>
                  <a:gd name="T54" fmla="*/ 1449 w 1858"/>
                  <a:gd name="T55" fmla="*/ 1332 h 1641"/>
                  <a:gd name="T56" fmla="*/ 1448 w 1858"/>
                  <a:gd name="T57" fmla="*/ 1363 h 1641"/>
                  <a:gd name="T58" fmla="*/ 1702 w 1858"/>
                  <a:gd name="T59" fmla="*/ 1628 h 1641"/>
                  <a:gd name="T60" fmla="*/ 1736 w 1858"/>
                  <a:gd name="T61" fmla="*/ 1641 h 1641"/>
                  <a:gd name="T62" fmla="*/ 1809 w 1858"/>
                  <a:gd name="T63" fmla="*/ 1606 h 1641"/>
                  <a:gd name="T64" fmla="*/ 1495 w 1858"/>
                  <a:gd name="T65" fmla="*/ 1348 h 1641"/>
                  <a:gd name="T66" fmla="*/ 1564 w 1858"/>
                  <a:gd name="T67" fmla="*/ 1281 h 1641"/>
                  <a:gd name="T68" fmla="*/ 1803 w 1858"/>
                  <a:gd name="T69" fmla="*/ 1531 h 1641"/>
                  <a:gd name="T70" fmla="*/ 1778 w 1858"/>
                  <a:gd name="T71" fmla="*/ 1575 h 1641"/>
                  <a:gd name="T72" fmla="*/ 1733 w 1858"/>
                  <a:gd name="T73" fmla="*/ 1597 h 1641"/>
                  <a:gd name="T74" fmla="*/ 1495 w 1858"/>
                  <a:gd name="T75" fmla="*/ 1348 h 1641"/>
                  <a:gd name="T76" fmla="*/ 871 w 1858"/>
                  <a:gd name="T77" fmla="*/ 1198 h 1641"/>
                  <a:gd name="T78" fmla="*/ 593 w 1858"/>
                  <a:gd name="T79" fmla="*/ 1226 h 1641"/>
                  <a:gd name="T80" fmla="*/ 224 w 1858"/>
                  <a:gd name="T81" fmla="*/ 1172 h 1641"/>
                  <a:gd name="T82" fmla="*/ 44 w 1858"/>
                  <a:gd name="T83" fmla="*/ 1002 h 1641"/>
                  <a:gd name="T84" fmla="*/ 44 w 1858"/>
                  <a:gd name="T85" fmla="*/ 268 h 1641"/>
                  <a:gd name="T86" fmla="*/ 224 w 1858"/>
                  <a:gd name="T87" fmla="*/ 97 h 1641"/>
                  <a:gd name="T88" fmla="*/ 593 w 1858"/>
                  <a:gd name="T89" fmla="*/ 44 h 1641"/>
                  <a:gd name="T90" fmla="*/ 961 w 1858"/>
                  <a:gd name="T91" fmla="*/ 97 h 1641"/>
                  <a:gd name="T92" fmla="*/ 1141 w 1858"/>
                  <a:gd name="T93" fmla="*/ 268 h 1641"/>
                  <a:gd name="T94" fmla="*/ 1141 w 1858"/>
                  <a:gd name="T95" fmla="*/ 529 h 1641"/>
                  <a:gd name="T96" fmla="*/ 1142 w 1858"/>
                  <a:gd name="T97" fmla="*/ 529 h 1641"/>
                  <a:gd name="T98" fmla="*/ 1185 w 1858"/>
                  <a:gd name="T99" fmla="*/ 532 h 1641"/>
                  <a:gd name="T100" fmla="*/ 1185 w 1858"/>
                  <a:gd name="T101" fmla="*/ 268 h 1641"/>
                  <a:gd name="T102" fmla="*/ 976 w 1858"/>
                  <a:gd name="T103" fmla="*/ 56 h 1641"/>
                  <a:gd name="T104" fmla="*/ 593 w 1858"/>
                  <a:gd name="T105" fmla="*/ 0 h 1641"/>
                  <a:gd name="T106" fmla="*/ 209 w 1858"/>
                  <a:gd name="T107" fmla="*/ 56 h 1641"/>
                  <a:gd name="T108" fmla="*/ 0 w 1858"/>
                  <a:gd name="T109" fmla="*/ 268 h 1641"/>
                  <a:gd name="T110" fmla="*/ 0 w 1858"/>
                  <a:gd name="T111" fmla="*/ 1002 h 1641"/>
                  <a:gd name="T112" fmla="*/ 209 w 1858"/>
                  <a:gd name="T113" fmla="*/ 1214 h 1641"/>
                  <a:gd name="T114" fmla="*/ 593 w 1858"/>
                  <a:gd name="T115" fmla="*/ 1270 h 1641"/>
                  <a:gd name="T116" fmla="*/ 913 w 1858"/>
                  <a:gd name="T117" fmla="*/ 1233 h 1641"/>
                  <a:gd name="T118" fmla="*/ 871 w 1858"/>
                  <a:gd name="T119" fmla="*/ 1198 h 16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1858" h="1641">
                    <a:moveTo>
                      <a:pt x="95" y="268"/>
                    </a:moveTo>
                    <a:cubicBezTo>
                      <a:pt x="95" y="172"/>
                      <a:pt x="318" y="94"/>
                      <a:pt x="593" y="94"/>
                    </a:cubicBezTo>
                    <a:cubicBezTo>
                      <a:pt x="867" y="94"/>
                      <a:pt x="1090" y="172"/>
                      <a:pt x="1090" y="268"/>
                    </a:cubicBezTo>
                    <a:cubicBezTo>
                      <a:pt x="1090" y="364"/>
                      <a:pt x="867" y="442"/>
                      <a:pt x="593" y="442"/>
                    </a:cubicBezTo>
                    <a:cubicBezTo>
                      <a:pt x="318" y="442"/>
                      <a:pt x="95" y="364"/>
                      <a:pt x="95" y="268"/>
                    </a:cubicBezTo>
                    <a:close/>
                    <a:moveTo>
                      <a:pt x="888" y="1162"/>
                    </a:moveTo>
                    <a:cubicBezTo>
                      <a:pt x="754" y="1022"/>
                      <a:pt x="759" y="799"/>
                      <a:pt x="898" y="665"/>
                    </a:cubicBezTo>
                    <a:cubicBezTo>
                      <a:pt x="1038" y="531"/>
                      <a:pt x="1260" y="535"/>
                      <a:pt x="1395" y="674"/>
                    </a:cubicBezTo>
                    <a:cubicBezTo>
                      <a:pt x="1513" y="798"/>
                      <a:pt x="1524" y="987"/>
                      <a:pt x="1427" y="1122"/>
                    </a:cubicBezTo>
                    <a:cubicBezTo>
                      <a:pt x="1510" y="1208"/>
                      <a:pt x="1510" y="1208"/>
                      <a:pt x="1510" y="1208"/>
                    </a:cubicBezTo>
                    <a:cubicBezTo>
                      <a:pt x="1514" y="1212"/>
                      <a:pt x="1514" y="1218"/>
                      <a:pt x="1510" y="1222"/>
                    </a:cubicBezTo>
                    <a:cubicBezTo>
                      <a:pt x="1434" y="1294"/>
                      <a:pt x="1434" y="1294"/>
                      <a:pt x="1434" y="1294"/>
                    </a:cubicBezTo>
                    <a:cubicBezTo>
                      <a:pt x="1431" y="1298"/>
                      <a:pt x="1425" y="1298"/>
                      <a:pt x="1421" y="1294"/>
                    </a:cubicBezTo>
                    <a:cubicBezTo>
                      <a:pt x="1339" y="1209"/>
                      <a:pt x="1339" y="1209"/>
                      <a:pt x="1339" y="1209"/>
                    </a:cubicBezTo>
                    <a:cubicBezTo>
                      <a:pt x="1200" y="1303"/>
                      <a:pt x="1009" y="1287"/>
                      <a:pt x="888" y="1162"/>
                    </a:cubicBezTo>
                    <a:close/>
                    <a:moveTo>
                      <a:pt x="1329" y="1162"/>
                    </a:moveTo>
                    <a:cubicBezTo>
                      <a:pt x="1338" y="1155"/>
                      <a:pt x="1347" y="1148"/>
                      <a:pt x="1355" y="1140"/>
                    </a:cubicBezTo>
                    <a:cubicBezTo>
                      <a:pt x="1364" y="1131"/>
                      <a:pt x="1373" y="1122"/>
                      <a:pt x="1381" y="1112"/>
                    </a:cubicBezTo>
                    <a:cubicBezTo>
                      <a:pt x="1477" y="993"/>
                      <a:pt x="1472" y="818"/>
                      <a:pt x="1363" y="705"/>
                    </a:cubicBezTo>
                    <a:cubicBezTo>
                      <a:pt x="1246" y="583"/>
                      <a:pt x="1051" y="579"/>
                      <a:pt x="928" y="696"/>
                    </a:cubicBezTo>
                    <a:cubicBezTo>
                      <a:pt x="806" y="814"/>
                      <a:pt x="803" y="1009"/>
                      <a:pt x="920" y="1131"/>
                    </a:cubicBezTo>
                    <a:cubicBezTo>
                      <a:pt x="1030" y="1246"/>
                      <a:pt x="1207" y="1256"/>
                      <a:pt x="1329" y="1162"/>
                    </a:cubicBezTo>
                    <a:close/>
                    <a:moveTo>
                      <a:pt x="1809" y="1606"/>
                    </a:moveTo>
                    <a:cubicBezTo>
                      <a:pt x="1847" y="1570"/>
                      <a:pt x="1858" y="1525"/>
                      <a:pt x="1835" y="1501"/>
                    </a:cubicBezTo>
                    <a:cubicBezTo>
                      <a:pt x="1581" y="1235"/>
                      <a:pt x="1581" y="1235"/>
                      <a:pt x="1581" y="1235"/>
                    </a:cubicBezTo>
                    <a:cubicBezTo>
                      <a:pt x="1577" y="1231"/>
                      <a:pt x="1571" y="1228"/>
                      <a:pt x="1565" y="1228"/>
                    </a:cubicBezTo>
                    <a:cubicBezTo>
                      <a:pt x="1560" y="1228"/>
                      <a:pt x="1554" y="1230"/>
                      <a:pt x="1550" y="1234"/>
                    </a:cubicBezTo>
                    <a:cubicBezTo>
                      <a:pt x="1449" y="1332"/>
                      <a:pt x="1449" y="1332"/>
                      <a:pt x="1449" y="1332"/>
                    </a:cubicBezTo>
                    <a:cubicBezTo>
                      <a:pt x="1440" y="1340"/>
                      <a:pt x="1440" y="1354"/>
                      <a:pt x="1448" y="1363"/>
                    </a:cubicBezTo>
                    <a:cubicBezTo>
                      <a:pt x="1702" y="1628"/>
                      <a:pt x="1702" y="1628"/>
                      <a:pt x="1702" y="1628"/>
                    </a:cubicBezTo>
                    <a:cubicBezTo>
                      <a:pt x="1710" y="1637"/>
                      <a:pt x="1722" y="1641"/>
                      <a:pt x="1736" y="1641"/>
                    </a:cubicBezTo>
                    <a:cubicBezTo>
                      <a:pt x="1758" y="1641"/>
                      <a:pt x="1785" y="1629"/>
                      <a:pt x="1809" y="1606"/>
                    </a:cubicBezTo>
                    <a:close/>
                    <a:moveTo>
                      <a:pt x="1495" y="1348"/>
                    </a:moveTo>
                    <a:cubicBezTo>
                      <a:pt x="1564" y="1281"/>
                      <a:pt x="1564" y="1281"/>
                      <a:pt x="1564" y="1281"/>
                    </a:cubicBezTo>
                    <a:cubicBezTo>
                      <a:pt x="1803" y="1531"/>
                      <a:pt x="1803" y="1531"/>
                      <a:pt x="1803" y="1531"/>
                    </a:cubicBezTo>
                    <a:cubicBezTo>
                      <a:pt x="1804" y="1535"/>
                      <a:pt x="1800" y="1554"/>
                      <a:pt x="1778" y="1575"/>
                    </a:cubicBezTo>
                    <a:cubicBezTo>
                      <a:pt x="1757" y="1595"/>
                      <a:pt x="1738" y="1599"/>
                      <a:pt x="1733" y="1597"/>
                    </a:cubicBezTo>
                    <a:lnTo>
                      <a:pt x="1495" y="1348"/>
                    </a:lnTo>
                    <a:close/>
                    <a:moveTo>
                      <a:pt x="871" y="1198"/>
                    </a:moveTo>
                    <a:cubicBezTo>
                      <a:pt x="788" y="1216"/>
                      <a:pt x="692" y="1226"/>
                      <a:pt x="593" y="1226"/>
                    </a:cubicBezTo>
                    <a:cubicBezTo>
                      <a:pt x="454" y="1226"/>
                      <a:pt x="323" y="1207"/>
                      <a:pt x="224" y="1172"/>
                    </a:cubicBezTo>
                    <a:cubicBezTo>
                      <a:pt x="76" y="1120"/>
                      <a:pt x="44" y="1051"/>
                      <a:pt x="44" y="1002"/>
                    </a:cubicBezTo>
                    <a:cubicBezTo>
                      <a:pt x="44" y="1002"/>
                      <a:pt x="44" y="289"/>
                      <a:pt x="44" y="268"/>
                    </a:cubicBezTo>
                    <a:cubicBezTo>
                      <a:pt x="44" y="219"/>
                      <a:pt x="76" y="149"/>
                      <a:pt x="224" y="97"/>
                    </a:cubicBezTo>
                    <a:cubicBezTo>
                      <a:pt x="323" y="63"/>
                      <a:pt x="454" y="44"/>
                      <a:pt x="593" y="44"/>
                    </a:cubicBezTo>
                    <a:cubicBezTo>
                      <a:pt x="731" y="44"/>
                      <a:pt x="862" y="63"/>
                      <a:pt x="961" y="97"/>
                    </a:cubicBezTo>
                    <a:cubicBezTo>
                      <a:pt x="1110" y="149"/>
                      <a:pt x="1141" y="219"/>
                      <a:pt x="1141" y="268"/>
                    </a:cubicBezTo>
                    <a:cubicBezTo>
                      <a:pt x="1141" y="277"/>
                      <a:pt x="1141" y="392"/>
                      <a:pt x="1141" y="529"/>
                    </a:cubicBezTo>
                    <a:cubicBezTo>
                      <a:pt x="1141" y="529"/>
                      <a:pt x="1141" y="529"/>
                      <a:pt x="1142" y="529"/>
                    </a:cubicBezTo>
                    <a:cubicBezTo>
                      <a:pt x="1156" y="529"/>
                      <a:pt x="1170" y="530"/>
                      <a:pt x="1185" y="532"/>
                    </a:cubicBezTo>
                    <a:cubicBezTo>
                      <a:pt x="1185" y="268"/>
                      <a:pt x="1185" y="268"/>
                      <a:pt x="1185" y="268"/>
                    </a:cubicBezTo>
                    <a:cubicBezTo>
                      <a:pt x="1185" y="205"/>
                      <a:pt x="1148" y="116"/>
                      <a:pt x="976" y="56"/>
                    </a:cubicBezTo>
                    <a:cubicBezTo>
                      <a:pt x="872" y="20"/>
                      <a:pt x="736" y="0"/>
                      <a:pt x="593" y="0"/>
                    </a:cubicBezTo>
                    <a:cubicBezTo>
                      <a:pt x="449" y="0"/>
                      <a:pt x="313" y="20"/>
                      <a:pt x="209" y="56"/>
                    </a:cubicBezTo>
                    <a:cubicBezTo>
                      <a:pt x="37" y="116"/>
                      <a:pt x="0" y="205"/>
                      <a:pt x="0" y="268"/>
                    </a:cubicBezTo>
                    <a:cubicBezTo>
                      <a:pt x="0" y="1002"/>
                      <a:pt x="0" y="1002"/>
                      <a:pt x="0" y="1002"/>
                    </a:cubicBezTo>
                    <a:cubicBezTo>
                      <a:pt x="0" y="1065"/>
                      <a:pt x="37" y="1153"/>
                      <a:pt x="209" y="1214"/>
                    </a:cubicBezTo>
                    <a:cubicBezTo>
                      <a:pt x="313" y="1250"/>
                      <a:pt x="449" y="1270"/>
                      <a:pt x="593" y="1270"/>
                    </a:cubicBezTo>
                    <a:cubicBezTo>
                      <a:pt x="709" y="1270"/>
                      <a:pt x="820" y="1257"/>
                      <a:pt x="913" y="1233"/>
                    </a:cubicBezTo>
                    <a:cubicBezTo>
                      <a:pt x="898" y="1222"/>
                      <a:pt x="884" y="1210"/>
                      <a:pt x="871" y="1198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53328" tIns="26663" rIns="53328" bIns="26663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33" name="Group 14">
              <a:extLst>
                <a:ext uri="{FF2B5EF4-FFF2-40B4-BE49-F238E27FC236}">
                  <a16:creationId xmlns:a16="http://schemas.microsoft.com/office/drawing/2014/main" id="{AF0BB950-06CC-473A-B1B1-2B7814F02AC2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1911802" y="3270893"/>
              <a:ext cx="1066597" cy="1067586"/>
              <a:chOff x="1682" y="0"/>
              <a:chExt cx="4316" cy="4320"/>
            </a:xfrm>
          </p:grpSpPr>
          <p:sp>
            <p:nvSpPr>
              <p:cNvPr id="34" name="AutoShape 13">
                <a:extLst>
                  <a:ext uri="{FF2B5EF4-FFF2-40B4-BE49-F238E27FC236}">
                    <a16:creationId xmlns:a16="http://schemas.microsoft.com/office/drawing/2014/main" id="{BFDF40CF-1C53-490B-B3C5-A1D6F16D6EF5}"/>
                  </a:ext>
                </a:extLst>
              </p:cNvPr>
              <p:cNvSpPr>
                <a:spLocks noChangeAspect="1" noChangeArrowheads="1" noTextEdit="1"/>
              </p:cNvSpPr>
              <p:nvPr/>
            </p:nvSpPr>
            <p:spPr bwMode="auto">
              <a:xfrm>
                <a:off x="1682" y="0"/>
                <a:ext cx="4316" cy="432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53328" tIns="26663" rIns="53328" bIns="26663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5" name="Freeform 15">
                <a:extLst>
                  <a:ext uri="{FF2B5EF4-FFF2-40B4-BE49-F238E27FC236}">
                    <a16:creationId xmlns:a16="http://schemas.microsoft.com/office/drawing/2014/main" id="{9F39406F-9ED7-4A32-AB50-F9BA63B1AED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79" y="988"/>
                <a:ext cx="2587" cy="2471"/>
              </a:xfrm>
              <a:custGeom>
                <a:avLst/>
                <a:gdLst>
                  <a:gd name="T0" fmla="*/ 1365 w 1381"/>
                  <a:gd name="T1" fmla="*/ 244 h 1318"/>
                  <a:gd name="T2" fmla="*/ 559 w 1381"/>
                  <a:gd name="T3" fmla="*/ 885 h 1318"/>
                  <a:gd name="T4" fmla="*/ 732 w 1381"/>
                  <a:gd name="T5" fmla="*/ 1288 h 1318"/>
                  <a:gd name="T6" fmla="*/ 202 w 1381"/>
                  <a:gd name="T7" fmla="*/ 494 h 1318"/>
                  <a:gd name="T8" fmla="*/ 217 w 1381"/>
                  <a:gd name="T9" fmla="*/ 494 h 1318"/>
                  <a:gd name="T10" fmla="*/ 217 w 1381"/>
                  <a:gd name="T11" fmla="*/ 494 h 1318"/>
                  <a:gd name="T12" fmla="*/ 403 w 1381"/>
                  <a:gd name="T13" fmla="*/ 436 h 1318"/>
                  <a:gd name="T14" fmla="*/ 538 w 1381"/>
                  <a:gd name="T15" fmla="*/ 226 h 1318"/>
                  <a:gd name="T16" fmla="*/ 530 w 1381"/>
                  <a:gd name="T17" fmla="*/ 75 h 1318"/>
                  <a:gd name="T18" fmla="*/ 861 w 1381"/>
                  <a:gd name="T19" fmla="*/ 0 h 1318"/>
                  <a:gd name="T20" fmla="*/ 1365 w 1381"/>
                  <a:gd name="T21" fmla="*/ 244 h 13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381" h="1318">
                    <a:moveTo>
                      <a:pt x="1365" y="244"/>
                    </a:moveTo>
                    <a:cubicBezTo>
                      <a:pt x="1138" y="654"/>
                      <a:pt x="559" y="885"/>
                      <a:pt x="559" y="885"/>
                    </a:cubicBezTo>
                    <a:cubicBezTo>
                      <a:pt x="471" y="1088"/>
                      <a:pt x="760" y="1255"/>
                      <a:pt x="732" y="1288"/>
                    </a:cubicBezTo>
                    <a:cubicBezTo>
                      <a:pt x="707" y="1318"/>
                      <a:pt x="0" y="1138"/>
                      <a:pt x="202" y="494"/>
                    </a:cubicBezTo>
                    <a:cubicBezTo>
                      <a:pt x="207" y="494"/>
                      <a:pt x="212" y="494"/>
                      <a:pt x="217" y="494"/>
                    </a:cubicBezTo>
                    <a:cubicBezTo>
                      <a:pt x="217" y="494"/>
                      <a:pt x="217" y="494"/>
                      <a:pt x="217" y="494"/>
                    </a:cubicBezTo>
                    <a:cubicBezTo>
                      <a:pt x="284" y="494"/>
                      <a:pt x="348" y="474"/>
                      <a:pt x="403" y="436"/>
                    </a:cubicBezTo>
                    <a:cubicBezTo>
                      <a:pt x="475" y="386"/>
                      <a:pt x="523" y="311"/>
                      <a:pt x="538" y="226"/>
                    </a:cubicBezTo>
                    <a:cubicBezTo>
                      <a:pt x="547" y="175"/>
                      <a:pt x="544" y="123"/>
                      <a:pt x="530" y="75"/>
                    </a:cubicBezTo>
                    <a:cubicBezTo>
                      <a:pt x="620" y="29"/>
                      <a:pt x="730" y="0"/>
                      <a:pt x="861" y="0"/>
                    </a:cubicBezTo>
                    <a:cubicBezTo>
                      <a:pt x="1229" y="0"/>
                      <a:pt x="1381" y="169"/>
                      <a:pt x="1365" y="244"/>
                    </a:cubicBez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53328" tIns="26663" rIns="53328" bIns="26663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6" name="Freeform 16">
                <a:extLst>
                  <a:ext uri="{FF2B5EF4-FFF2-40B4-BE49-F238E27FC236}">
                    <a16:creationId xmlns:a16="http://schemas.microsoft.com/office/drawing/2014/main" id="{946AD74F-D526-4371-AF68-1EA75449CA0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04" y="711"/>
                <a:ext cx="300" cy="326"/>
              </a:xfrm>
              <a:custGeom>
                <a:avLst/>
                <a:gdLst>
                  <a:gd name="T0" fmla="*/ 24 w 160"/>
                  <a:gd name="T1" fmla="*/ 174 h 174"/>
                  <a:gd name="T2" fmla="*/ 2 w 160"/>
                  <a:gd name="T3" fmla="*/ 155 h 174"/>
                  <a:gd name="T4" fmla="*/ 21 w 160"/>
                  <a:gd name="T5" fmla="*/ 130 h 174"/>
                  <a:gd name="T6" fmla="*/ 113 w 160"/>
                  <a:gd name="T7" fmla="*/ 118 h 174"/>
                  <a:gd name="T8" fmla="*/ 101 w 160"/>
                  <a:gd name="T9" fmla="*/ 26 h 174"/>
                  <a:gd name="T10" fmla="*/ 119 w 160"/>
                  <a:gd name="T11" fmla="*/ 1 h 174"/>
                  <a:gd name="T12" fmla="*/ 144 w 160"/>
                  <a:gd name="T13" fmla="*/ 20 h 174"/>
                  <a:gd name="T14" fmla="*/ 159 w 160"/>
                  <a:gd name="T15" fmla="*/ 134 h 174"/>
                  <a:gd name="T16" fmla="*/ 155 w 160"/>
                  <a:gd name="T17" fmla="*/ 150 h 174"/>
                  <a:gd name="T18" fmla="*/ 141 w 160"/>
                  <a:gd name="T19" fmla="*/ 159 h 174"/>
                  <a:gd name="T20" fmla="*/ 27 w 160"/>
                  <a:gd name="T21" fmla="*/ 174 h 174"/>
                  <a:gd name="T22" fmla="*/ 24 w 160"/>
                  <a:gd name="T23" fmla="*/ 174 h 1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60" h="174">
                    <a:moveTo>
                      <a:pt x="24" y="174"/>
                    </a:moveTo>
                    <a:cubicBezTo>
                      <a:pt x="13" y="174"/>
                      <a:pt x="3" y="166"/>
                      <a:pt x="2" y="155"/>
                    </a:cubicBezTo>
                    <a:cubicBezTo>
                      <a:pt x="0" y="143"/>
                      <a:pt x="9" y="132"/>
                      <a:pt x="21" y="130"/>
                    </a:cubicBezTo>
                    <a:cubicBezTo>
                      <a:pt x="113" y="118"/>
                      <a:pt x="113" y="118"/>
                      <a:pt x="113" y="118"/>
                    </a:cubicBezTo>
                    <a:cubicBezTo>
                      <a:pt x="101" y="26"/>
                      <a:pt x="101" y="26"/>
                      <a:pt x="101" y="26"/>
                    </a:cubicBezTo>
                    <a:cubicBezTo>
                      <a:pt x="99" y="14"/>
                      <a:pt x="107" y="3"/>
                      <a:pt x="119" y="1"/>
                    </a:cubicBezTo>
                    <a:cubicBezTo>
                      <a:pt x="131" y="0"/>
                      <a:pt x="143" y="8"/>
                      <a:pt x="144" y="20"/>
                    </a:cubicBezTo>
                    <a:cubicBezTo>
                      <a:pt x="159" y="134"/>
                      <a:pt x="159" y="134"/>
                      <a:pt x="159" y="134"/>
                    </a:cubicBezTo>
                    <a:cubicBezTo>
                      <a:pt x="160" y="140"/>
                      <a:pt x="159" y="146"/>
                      <a:pt x="155" y="150"/>
                    </a:cubicBezTo>
                    <a:cubicBezTo>
                      <a:pt x="152" y="155"/>
                      <a:pt x="146" y="158"/>
                      <a:pt x="141" y="159"/>
                    </a:cubicBezTo>
                    <a:cubicBezTo>
                      <a:pt x="27" y="174"/>
                      <a:pt x="27" y="174"/>
                      <a:pt x="27" y="174"/>
                    </a:cubicBezTo>
                    <a:cubicBezTo>
                      <a:pt x="26" y="174"/>
                      <a:pt x="25" y="174"/>
                      <a:pt x="24" y="174"/>
                    </a:cubicBezTo>
                    <a:close/>
                  </a:path>
                </a:pathLst>
              </a:custGeom>
              <a:solidFill>
                <a:srgbClr val="6D6E7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53328" tIns="26663" rIns="53328" bIns="26663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7" name="Freeform 17">
                <a:extLst>
                  <a:ext uri="{FF2B5EF4-FFF2-40B4-BE49-F238E27FC236}">
                    <a16:creationId xmlns:a16="http://schemas.microsoft.com/office/drawing/2014/main" id="{CFD7E378-2C9D-41A9-BCDF-1994C9D57B9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429" y="711"/>
                <a:ext cx="3007" cy="3159"/>
              </a:xfrm>
              <a:custGeom>
                <a:avLst/>
                <a:gdLst>
                  <a:gd name="T0" fmla="*/ 1449 w 1605"/>
                  <a:gd name="T1" fmla="*/ 1053 h 1685"/>
                  <a:gd name="T2" fmla="*/ 1422 w 1605"/>
                  <a:gd name="T3" fmla="*/ 1361 h 1685"/>
                  <a:gd name="T4" fmla="*/ 1122 w 1605"/>
                  <a:gd name="T5" fmla="*/ 1388 h 1685"/>
                  <a:gd name="T6" fmla="*/ 1101 w 1605"/>
                  <a:gd name="T7" fmla="*/ 1684 h 1685"/>
                  <a:gd name="T8" fmla="*/ 689 w 1605"/>
                  <a:gd name="T9" fmla="*/ 1593 h 1685"/>
                  <a:gd name="T10" fmla="*/ 679 w 1605"/>
                  <a:gd name="T11" fmla="*/ 1458 h 1685"/>
                  <a:gd name="T12" fmla="*/ 723 w 1605"/>
                  <a:gd name="T13" fmla="*/ 1561 h 1685"/>
                  <a:gd name="T14" fmla="*/ 1078 w 1605"/>
                  <a:gd name="T15" fmla="*/ 1363 h 1685"/>
                  <a:gd name="T16" fmla="*/ 1106 w 1605"/>
                  <a:gd name="T17" fmla="*/ 1342 h 1685"/>
                  <a:gd name="T18" fmla="*/ 1390 w 1605"/>
                  <a:gd name="T19" fmla="*/ 1331 h 1685"/>
                  <a:gd name="T20" fmla="*/ 1404 w 1605"/>
                  <a:gd name="T21" fmla="*/ 1031 h 1685"/>
                  <a:gd name="T22" fmla="*/ 1428 w 1605"/>
                  <a:gd name="T23" fmla="*/ 1007 h 1685"/>
                  <a:gd name="T24" fmla="*/ 1507 w 1605"/>
                  <a:gd name="T25" fmla="*/ 907 h 1685"/>
                  <a:gd name="T26" fmla="*/ 1418 w 1605"/>
                  <a:gd name="T27" fmla="*/ 669 h 1685"/>
                  <a:gd name="T28" fmla="*/ 1404 w 1605"/>
                  <a:gd name="T29" fmla="*/ 535 h 1685"/>
                  <a:gd name="T30" fmla="*/ 1460 w 1605"/>
                  <a:gd name="T31" fmla="*/ 606 h 1685"/>
                  <a:gd name="T32" fmla="*/ 1470 w 1605"/>
                  <a:gd name="T33" fmla="*/ 767 h 1685"/>
                  <a:gd name="T34" fmla="*/ 1593 w 1605"/>
                  <a:gd name="T35" fmla="*/ 991 h 1685"/>
                  <a:gd name="T36" fmla="*/ 158 w 1605"/>
                  <a:gd name="T37" fmla="*/ 115 h 1685"/>
                  <a:gd name="T38" fmla="*/ 340 w 1605"/>
                  <a:gd name="T39" fmla="*/ 75 h 1685"/>
                  <a:gd name="T40" fmla="*/ 381 w 1605"/>
                  <a:gd name="T41" fmla="*/ 130 h 1685"/>
                  <a:gd name="T42" fmla="*/ 384 w 1605"/>
                  <a:gd name="T43" fmla="*/ 174 h 1685"/>
                  <a:gd name="T44" fmla="*/ 501 w 1605"/>
                  <a:gd name="T45" fmla="*/ 159 h 1685"/>
                  <a:gd name="T46" fmla="*/ 519 w 1605"/>
                  <a:gd name="T47" fmla="*/ 134 h 1685"/>
                  <a:gd name="T48" fmla="*/ 479 w 1605"/>
                  <a:gd name="T49" fmla="*/ 1 h 1685"/>
                  <a:gd name="T50" fmla="*/ 468 w 1605"/>
                  <a:gd name="T51" fmla="*/ 84 h 1685"/>
                  <a:gd name="T52" fmla="*/ 132 w 1605"/>
                  <a:gd name="T53" fmla="*/ 79 h 1685"/>
                  <a:gd name="T54" fmla="*/ 54 w 1605"/>
                  <a:gd name="T55" fmla="*/ 471 h 1685"/>
                  <a:gd name="T56" fmla="*/ 89 w 1605"/>
                  <a:gd name="T57" fmla="*/ 444 h 1685"/>
                  <a:gd name="T58" fmla="*/ 550 w 1605"/>
                  <a:gd name="T59" fmla="*/ 177 h 1685"/>
                  <a:gd name="T60" fmla="*/ 538 w 1605"/>
                  <a:gd name="T61" fmla="*/ 359 h 1685"/>
                  <a:gd name="T62" fmla="*/ 254 w 1605"/>
                  <a:gd name="T63" fmla="*/ 556 h 1685"/>
                  <a:gd name="T64" fmla="*/ 227 w 1605"/>
                  <a:gd name="T65" fmla="*/ 513 h 1685"/>
                  <a:gd name="T66" fmla="*/ 221 w 1605"/>
                  <a:gd name="T67" fmla="*/ 469 h 1685"/>
                  <a:gd name="T68" fmla="*/ 93 w 1605"/>
                  <a:gd name="T69" fmla="*/ 493 h 1685"/>
                  <a:gd name="T70" fmla="*/ 104 w 1605"/>
                  <a:gd name="T71" fmla="*/ 623 h 1685"/>
                  <a:gd name="T72" fmla="*/ 129 w 1605"/>
                  <a:gd name="T73" fmla="*/ 642 h 1685"/>
                  <a:gd name="T74" fmla="*/ 139 w 1605"/>
                  <a:gd name="T75" fmla="*/ 557 h 1685"/>
                  <a:gd name="T76" fmla="*/ 298 w 1605"/>
                  <a:gd name="T77" fmla="*/ 604 h 1685"/>
                  <a:gd name="T78" fmla="*/ 581 w 1605"/>
                  <a:gd name="T79" fmla="*/ 367 h 16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1605" h="1685">
                    <a:moveTo>
                      <a:pt x="1593" y="991"/>
                    </a:moveTo>
                    <a:cubicBezTo>
                      <a:pt x="1585" y="1010"/>
                      <a:pt x="1544" y="1055"/>
                      <a:pt x="1449" y="1053"/>
                    </a:cubicBezTo>
                    <a:cubicBezTo>
                      <a:pt x="1451" y="1080"/>
                      <a:pt x="1453" y="1125"/>
                      <a:pt x="1453" y="1172"/>
                    </a:cubicBezTo>
                    <a:cubicBezTo>
                      <a:pt x="1453" y="1311"/>
                      <a:pt x="1436" y="1346"/>
                      <a:pt x="1422" y="1361"/>
                    </a:cubicBezTo>
                    <a:cubicBezTo>
                      <a:pt x="1408" y="1376"/>
                      <a:pt x="1374" y="1395"/>
                      <a:pt x="1240" y="1393"/>
                    </a:cubicBezTo>
                    <a:cubicBezTo>
                      <a:pt x="1203" y="1393"/>
                      <a:pt x="1153" y="1391"/>
                      <a:pt x="1122" y="1388"/>
                    </a:cubicBezTo>
                    <a:cubicBezTo>
                      <a:pt x="1122" y="1662"/>
                      <a:pt x="1122" y="1662"/>
                      <a:pt x="1122" y="1662"/>
                    </a:cubicBezTo>
                    <a:cubicBezTo>
                      <a:pt x="1122" y="1674"/>
                      <a:pt x="1113" y="1683"/>
                      <a:pt x="1101" y="1684"/>
                    </a:cubicBezTo>
                    <a:cubicBezTo>
                      <a:pt x="1099" y="1684"/>
                      <a:pt x="1087" y="1685"/>
                      <a:pt x="1067" y="1685"/>
                    </a:cubicBezTo>
                    <a:cubicBezTo>
                      <a:pt x="995" y="1685"/>
                      <a:pt x="826" y="1675"/>
                      <a:pt x="689" y="1593"/>
                    </a:cubicBezTo>
                    <a:cubicBezTo>
                      <a:pt x="683" y="1589"/>
                      <a:pt x="679" y="1582"/>
                      <a:pt x="679" y="1574"/>
                    </a:cubicBezTo>
                    <a:cubicBezTo>
                      <a:pt x="679" y="1458"/>
                      <a:pt x="679" y="1458"/>
                      <a:pt x="679" y="1458"/>
                    </a:cubicBezTo>
                    <a:cubicBezTo>
                      <a:pt x="694" y="1463"/>
                      <a:pt x="709" y="1467"/>
                      <a:pt x="723" y="1471"/>
                    </a:cubicBezTo>
                    <a:cubicBezTo>
                      <a:pt x="723" y="1561"/>
                      <a:pt x="723" y="1561"/>
                      <a:pt x="723" y="1561"/>
                    </a:cubicBezTo>
                    <a:cubicBezTo>
                      <a:pt x="855" y="1636"/>
                      <a:pt x="1021" y="1641"/>
                      <a:pt x="1078" y="1641"/>
                    </a:cubicBezTo>
                    <a:cubicBezTo>
                      <a:pt x="1078" y="1363"/>
                      <a:pt x="1078" y="1363"/>
                      <a:pt x="1078" y="1363"/>
                    </a:cubicBezTo>
                    <a:cubicBezTo>
                      <a:pt x="1078" y="1356"/>
                      <a:pt x="1082" y="1349"/>
                      <a:pt x="1088" y="1345"/>
                    </a:cubicBezTo>
                    <a:cubicBezTo>
                      <a:pt x="1093" y="1341"/>
                      <a:pt x="1100" y="1340"/>
                      <a:pt x="1106" y="1342"/>
                    </a:cubicBezTo>
                    <a:cubicBezTo>
                      <a:pt x="1115" y="1343"/>
                      <a:pt x="1178" y="1349"/>
                      <a:pt x="1246" y="1349"/>
                    </a:cubicBezTo>
                    <a:cubicBezTo>
                      <a:pt x="1368" y="1350"/>
                      <a:pt x="1388" y="1333"/>
                      <a:pt x="1390" y="1331"/>
                    </a:cubicBezTo>
                    <a:cubicBezTo>
                      <a:pt x="1392" y="1329"/>
                      <a:pt x="1409" y="1307"/>
                      <a:pt x="1409" y="1172"/>
                    </a:cubicBezTo>
                    <a:cubicBezTo>
                      <a:pt x="1409" y="1100"/>
                      <a:pt x="1404" y="1031"/>
                      <a:pt x="1404" y="1031"/>
                    </a:cubicBezTo>
                    <a:cubicBezTo>
                      <a:pt x="1403" y="1024"/>
                      <a:pt x="1406" y="1018"/>
                      <a:pt x="1410" y="1013"/>
                    </a:cubicBezTo>
                    <a:cubicBezTo>
                      <a:pt x="1415" y="1009"/>
                      <a:pt x="1422" y="1006"/>
                      <a:pt x="1428" y="1007"/>
                    </a:cubicBezTo>
                    <a:cubicBezTo>
                      <a:pt x="1510" y="1016"/>
                      <a:pt x="1545" y="986"/>
                      <a:pt x="1552" y="975"/>
                    </a:cubicBezTo>
                    <a:cubicBezTo>
                      <a:pt x="1551" y="966"/>
                      <a:pt x="1538" y="937"/>
                      <a:pt x="1507" y="907"/>
                    </a:cubicBezTo>
                    <a:cubicBezTo>
                      <a:pt x="1464" y="863"/>
                      <a:pt x="1437" y="801"/>
                      <a:pt x="1429" y="783"/>
                    </a:cubicBezTo>
                    <a:cubicBezTo>
                      <a:pt x="1421" y="763"/>
                      <a:pt x="1420" y="725"/>
                      <a:pt x="1418" y="669"/>
                    </a:cubicBezTo>
                    <a:cubicBezTo>
                      <a:pt x="1418" y="646"/>
                      <a:pt x="1417" y="626"/>
                      <a:pt x="1416" y="610"/>
                    </a:cubicBezTo>
                    <a:cubicBezTo>
                      <a:pt x="1414" y="591"/>
                      <a:pt x="1409" y="561"/>
                      <a:pt x="1404" y="535"/>
                    </a:cubicBezTo>
                    <a:cubicBezTo>
                      <a:pt x="1416" y="519"/>
                      <a:pt x="1427" y="502"/>
                      <a:pt x="1438" y="486"/>
                    </a:cubicBezTo>
                    <a:cubicBezTo>
                      <a:pt x="1445" y="519"/>
                      <a:pt x="1457" y="574"/>
                      <a:pt x="1460" y="606"/>
                    </a:cubicBezTo>
                    <a:cubicBezTo>
                      <a:pt x="1461" y="623"/>
                      <a:pt x="1462" y="645"/>
                      <a:pt x="1462" y="668"/>
                    </a:cubicBezTo>
                    <a:cubicBezTo>
                      <a:pt x="1463" y="703"/>
                      <a:pt x="1464" y="753"/>
                      <a:pt x="1470" y="767"/>
                    </a:cubicBezTo>
                    <a:cubicBezTo>
                      <a:pt x="1484" y="800"/>
                      <a:pt x="1509" y="846"/>
                      <a:pt x="1538" y="875"/>
                    </a:cubicBezTo>
                    <a:cubicBezTo>
                      <a:pt x="1573" y="911"/>
                      <a:pt x="1605" y="962"/>
                      <a:pt x="1593" y="991"/>
                    </a:cubicBezTo>
                    <a:close/>
                    <a:moveTo>
                      <a:pt x="57" y="273"/>
                    </a:moveTo>
                    <a:cubicBezTo>
                      <a:pt x="68" y="208"/>
                      <a:pt x="104" y="152"/>
                      <a:pt x="158" y="115"/>
                    </a:cubicBezTo>
                    <a:cubicBezTo>
                      <a:pt x="199" y="86"/>
                      <a:pt x="247" y="71"/>
                      <a:pt x="297" y="71"/>
                    </a:cubicBezTo>
                    <a:cubicBezTo>
                      <a:pt x="311" y="71"/>
                      <a:pt x="326" y="73"/>
                      <a:pt x="340" y="75"/>
                    </a:cubicBezTo>
                    <a:cubicBezTo>
                      <a:pt x="379" y="82"/>
                      <a:pt x="415" y="98"/>
                      <a:pt x="446" y="122"/>
                    </a:cubicBezTo>
                    <a:cubicBezTo>
                      <a:pt x="381" y="130"/>
                      <a:pt x="381" y="130"/>
                      <a:pt x="381" y="130"/>
                    </a:cubicBezTo>
                    <a:cubicBezTo>
                      <a:pt x="369" y="132"/>
                      <a:pt x="360" y="143"/>
                      <a:pt x="362" y="155"/>
                    </a:cubicBezTo>
                    <a:cubicBezTo>
                      <a:pt x="363" y="166"/>
                      <a:pt x="373" y="174"/>
                      <a:pt x="384" y="174"/>
                    </a:cubicBezTo>
                    <a:cubicBezTo>
                      <a:pt x="385" y="174"/>
                      <a:pt x="386" y="174"/>
                      <a:pt x="387" y="174"/>
                    </a:cubicBezTo>
                    <a:cubicBezTo>
                      <a:pt x="501" y="159"/>
                      <a:pt x="501" y="159"/>
                      <a:pt x="501" y="159"/>
                    </a:cubicBezTo>
                    <a:cubicBezTo>
                      <a:pt x="506" y="158"/>
                      <a:pt x="512" y="155"/>
                      <a:pt x="515" y="150"/>
                    </a:cubicBezTo>
                    <a:cubicBezTo>
                      <a:pt x="519" y="146"/>
                      <a:pt x="520" y="140"/>
                      <a:pt x="519" y="134"/>
                    </a:cubicBezTo>
                    <a:cubicBezTo>
                      <a:pt x="504" y="20"/>
                      <a:pt x="504" y="20"/>
                      <a:pt x="504" y="20"/>
                    </a:cubicBezTo>
                    <a:cubicBezTo>
                      <a:pt x="503" y="8"/>
                      <a:pt x="491" y="0"/>
                      <a:pt x="479" y="1"/>
                    </a:cubicBezTo>
                    <a:cubicBezTo>
                      <a:pt x="467" y="3"/>
                      <a:pt x="459" y="14"/>
                      <a:pt x="461" y="26"/>
                    </a:cubicBezTo>
                    <a:cubicBezTo>
                      <a:pt x="468" y="84"/>
                      <a:pt x="468" y="84"/>
                      <a:pt x="468" y="84"/>
                    </a:cubicBezTo>
                    <a:cubicBezTo>
                      <a:pt x="433" y="58"/>
                      <a:pt x="392" y="40"/>
                      <a:pt x="348" y="32"/>
                    </a:cubicBezTo>
                    <a:cubicBezTo>
                      <a:pt x="272" y="18"/>
                      <a:pt x="196" y="35"/>
                      <a:pt x="132" y="79"/>
                    </a:cubicBezTo>
                    <a:cubicBezTo>
                      <a:pt x="69" y="123"/>
                      <a:pt x="27" y="189"/>
                      <a:pt x="13" y="265"/>
                    </a:cubicBezTo>
                    <a:cubicBezTo>
                      <a:pt x="0" y="337"/>
                      <a:pt x="15" y="410"/>
                      <a:pt x="54" y="471"/>
                    </a:cubicBezTo>
                    <a:cubicBezTo>
                      <a:pt x="55" y="470"/>
                      <a:pt x="57" y="468"/>
                      <a:pt x="58" y="466"/>
                    </a:cubicBezTo>
                    <a:cubicBezTo>
                      <a:pt x="66" y="456"/>
                      <a:pt x="77" y="448"/>
                      <a:pt x="89" y="444"/>
                    </a:cubicBezTo>
                    <a:cubicBezTo>
                      <a:pt x="57" y="392"/>
                      <a:pt x="46" y="332"/>
                      <a:pt x="57" y="273"/>
                    </a:cubicBezTo>
                    <a:close/>
                    <a:moveTo>
                      <a:pt x="550" y="177"/>
                    </a:moveTo>
                    <a:cubicBezTo>
                      <a:pt x="541" y="189"/>
                      <a:pt x="528" y="198"/>
                      <a:pt x="513" y="201"/>
                    </a:cubicBezTo>
                    <a:cubicBezTo>
                      <a:pt x="539" y="249"/>
                      <a:pt x="547" y="304"/>
                      <a:pt x="538" y="359"/>
                    </a:cubicBezTo>
                    <a:cubicBezTo>
                      <a:pt x="526" y="423"/>
                      <a:pt x="490" y="479"/>
                      <a:pt x="437" y="516"/>
                    </a:cubicBezTo>
                    <a:cubicBezTo>
                      <a:pt x="383" y="554"/>
                      <a:pt x="318" y="568"/>
                      <a:pt x="254" y="556"/>
                    </a:cubicBezTo>
                    <a:cubicBezTo>
                      <a:pt x="221" y="551"/>
                      <a:pt x="191" y="538"/>
                      <a:pt x="164" y="521"/>
                    </a:cubicBezTo>
                    <a:cubicBezTo>
                      <a:pt x="227" y="513"/>
                      <a:pt x="227" y="513"/>
                      <a:pt x="227" y="513"/>
                    </a:cubicBezTo>
                    <a:cubicBezTo>
                      <a:pt x="239" y="511"/>
                      <a:pt x="248" y="500"/>
                      <a:pt x="246" y="488"/>
                    </a:cubicBezTo>
                    <a:cubicBezTo>
                      <a:pt x="244" y="476"/>
                      <a:pt x="233" y="467"/>
                      <a:pt x="221" y="469"/>
                    </a:cubicBezTo>
                    <a:cubicBezTo>
                      <a:pt x="107" y="484"/>
                      <a:pt x="107" y="484"/>
                      <a:pt x="107" y="484"/>
                    </a:cubicBezTo>
                    <a:cubicBezTo>
                      <a:pt x="102" y="485"/>
                      <a:pt x="96" y="488"/>
                      <a:pt x="93" y="493"/>
                    </a:cubicBezTo>
                    <a:cubicBezTo>
                      <a:pt x="89" y="497"/>
                      <a:pt x="88" y="503"/>
                      <a:pt x="89" y="509"/>
                    </a:cubicBezTo>
                    <a:cubicBezTo>
                      <a:pt x="104" y="623"/>
                      <a:pt x="104" y="623"/>
                      <a:pt x="104" y="623"/>
                    </a:cubicBezTo>
                    <a:cubicBezTo>
                      <a:pt x="105" y="634"/>
                      <a:pt x="115" y="642"/>
                      <a:pt x="126" y="642"/>
                    </a:cubicBezTo>
                    <a:cubicBezTo>
                      <a:pt x="127" y="642"/>
                      <a:pt x="128" y="642"/>
                      <a:pt x="129" y="642"/>
                    </a:cubicBezTo>
                    <a:cubicBezTo>
                      <a:pt x="141" y="640"/>
                      <a:pt x="149" y="629"/>
                      <a:pt x="147" y="617"/>
                    </a:cubicBezTo>
                    <a:cubicBezTo>
                      <a:pt x="139" y="557"/>
                      <a:pt x="139" y="557"/>
                      <a:pt x="139" y="557"/>
                    </a:cubicBezTo>
                    <a:cubicBezTo>
                      <a:pt x="171" y="578"/>
                      <a:pt x="207" y="593"/>
                      <a:pt x="246" y="600"/>
                    </a:cubicBezTo>
                    <a:cubicBezTo>
                      <a:pt x="263" y="603"/>
                      <a:pt x="281" y="604"/>
                      <a:pt x="298" y="604"/>
                    </a:cubicBezTo>
                    <a:cubicBezTo>
                      <a:pt x="356" y="604"/>
                      <a:pt x="413" y="587"/>
                      <a:pt x="462" y="553"/>
                    </a:cubicBezTo>
                    <a:cubicBezTo>
                      <a:pt x="525" y="509"/>
                      <a:pt x="567" y="443"/>
                      <a:pt x="581" y="367"/>
                    </a:cubicBezTo>
                    <a:cubicBezTo>
                      <a:pt x="593" y="301"/>
                      <a:pt x="582" y="235"/>
                      <a:pt x="550" y="177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53328" tIns="26663" rIns="53328" bIns="26663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39" name="Group 38">
              <a:extLst>
                <a:ext uri="{FF2B5EF4-FFF2-40B4-BE49-F238E27FC236}">
                  <a16:creationId xmlns:a16="http://schemas.microsoft.com/office/drawing/2014/main" id="{D3A8A211-C39E-4678-96CC-7766DD17C65F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1842601" y="3673685"/>
              <a:ext cx="245528" cy="245528"/>
              <a:chOff x="5961063" y="3294063"/>
              <a:chExt cx="269875" cy="269875"/>
            </a:xfrm>
          </p:grpSpPr>
          <p:sp>
            <p:nvSpPr>
              <p:cNvPr id="40" name="Oval 18">
                <a:extLst>
                  <a:ext uri="{FF2B5EF4-FFF2-40B4-BE49-F238E27FC236}">
                    <a16:creationId xmlns:a16="http://schemas.microsoft.com/office/drawing/2014/main" id="{E0805663-EB47-4A86-9CDE-C7D87DAD643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961063" y="3294063"/>
                <a:ext cx="269875" cy="269875"/>
              </a:xfrm>
              <a:prstGeom prst="ellipse">
                <a:avLst/>
              </a:prstGeom>
              <a:solidFill>
                <a:srgbClr val="E71C57"/>
              </a:solidFill>
              <a:ln>
                <a:noFill/>
              </a:ln>
            </p:spPr>
            <p:txBody>
              <a:bodyPr vert="horz" wrap="square" lIns="53328" tIns="26663" rIns="53328" bIns="26663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1" name="Freeform 19">
                <a:extLst>
                  <a:ext uri="{FF2B5EF4-FFF2-40B4-BE49-F238E27FC236}">
                    <a16:creationId xmlns:a16="http://schemas.microsoft.com/office/drawing/2014/main" id="{66C0A606-6D6D-4207-9B24-AD5B8151076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40438" y="3373438"/>
                <a:ext cx="111125" cy="111125"/>
              </a:xfrm>
              <a:custGeom>
                <a:avLst/>
                <a:gdLst>
                  <a:gd name="T0" fmla="*/ 63 w 70"/>
                  <a:gd name="T1" fmla="*/ 0 h 70"/>
                  <a:gd name="T2" fmla="*/ 35 w 70"/>
                  <a:gd name="T3" fmla="*/ 29 h 70"/>
                  <a:gd name="T4" fmla="*/ 6 w 70"/>
                  <a:gd name="T5" fmla="*/ 0 h 70"/>
                  <a:gd name="T6" fmla="*/ 0 w 70"/>
                  <a:gd name="T7" fmla="*/ 6 h 70"/>
                  <a:gd name="T8" fmla="*/ 28 w 70"/>
                  <a:gd name="T9" fmla="*/ 35 h 70"/>
                  <a:gd name="T10" fmla="*/ 0 w 70"/>
                  <a:gd name="T11" fmla="*/ 63 h 70"/>
                  <a:gd name="T12" fmla="*/ 6 w 70"/>
                  <a:gd name="T13" fmla="*/ 70 h 70"/>
                  <a:gd name="T14" fmla="*/ 35 w 70"/>
                  <a:gd name="T15" fmla="*/ 41 h 70"/>
                  <a:gd name="T16" fmla="*/ 63 w 70"/>
                  <a:gd name="T17" fmla="*/ 70 h 70"/>
                  <a:gd name="T18" fmla="*/ 70 w 70"/>
                  <a:gd name="T19" fmla="*/ 63 h 70"/>
                  <a:gd name="T20" fmla="*/ 41 w 70"/>
                  <a:gd name="T21" fmla="*/ 35 h 70"/>
                  <a:gd name="T22" fmla="*/ 70 w 70"/>
                  <a:gd name="T23" fmla="*/ 6 h 70"/>
                  <a:gd name="T24" fmla="*/ 63 w 70"/>
                  <a:gd name="T25" fmla="*/ 0 h 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70" h="70">
                    <a:moveTo>
                      <a:pt x="63" y="0"/>
                    </a:moveTo>
                    <a:lnTo>
                      <a:pt x="35" y="29"/>
                    </a:lnTo>
                    <a:lnTo>
                      <a:pt x="6" y="0"/>
                    </a:lnTo>
                    <a:lnTo>
                      <a:pt x="0" y="6"/>
                    </a:lnTo>
                    <a:lnTo>
                      <a:pt x="28" y="35"/>
                    </a:lnTo>
                    <a:lnTo>
                      <a:pt x="0" y="63"/>
                    </a:lnTo>
                    <a:lnTo>
                      <a:pt x="6" y="70"/>
                    </a:lnTo>
                    <a:lnTo>
                      <a:pt x="35" y="41"/>
                    </a:lnTo>
                    <a:lnTo>
                      <a:pt x="63" y="70"/>
                    </a:lnTo>
                    <a:lnTo>
                      <a:pt x="70" y="63"/>
                    </a:lnTo>
                    <a:lnTo>
                      <a:pt x="41" y="35"/>
                    </a:lnTo>
                    <a:lnTo>
                      <a:pt x="70" y="6"/>
                    </a:lnTo>
                    <a:lnTo>
                      <a:pt x="63" y="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53328" tIns="26663" rIns="53328" bIns="26663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42" name="Group 41">
              <a:extLst>
                <a:ext uri="{FF2B5EF4-FFF2-40B4-BE49-F238E27FC236}">
                  <a16:creationId xmlns:a16="http://schemas.microsoft.com/office/drawing/2014/main" id="{7D00D2DC-BD74-4871-8FAA-716A20B2DAFA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1842601" y="3388652"/>
              <a:ext cx="245528" cy="245528"/>
              <a:chOff x="982662" y="3868738"/>
              <a:chExt cx="269875" cy="269875"/>
            </a:xfrm>
          </p:grpSpPr>
          <p:sp>
            <p:nvSpPr>
              <p:cNvPr id="43" name="Oval 16">
                <a:extLst>
                  <a:ext uri="{FF2B5EF4-FFF2-40B4-BE49-F238E27FC236}">
                    <a16:creationId xmlns:a16="http://schemas.microsoft.com/office/drawing/2014/main" id="{9EE1FB90-9811-4FD2-B610-8C4AD15E9DB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82662" y="3868738"/>
                <a:ext cx="269875" cy="269875"/>
              </a:xfrm>
              <a:prstGeom prst="ellipse">
                <a:avLst/>
              </a:prstGeom>
              <a:solidFill>
                <a:schemeClr val="accent5"/>
              </a:solidFill>
              <a:ln>
                <a:noFill/>
              </a:ln>
            </p:spPr>
            <p:txBody>
              <a:bodyPr vert="horz" wrap="square" lIns="53328" tIns="26663" rIns="53328" bIns="26663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chemeClr val="bg1"/>
                  </a:solidFill>
                </a:endParaRPr>
              </a:p>
            </p:txBody>
          </p:sp>
          <p:sp>
            <p:nvSpPr>
              <p:cNvPr id="44" name="Freeform 17">
                <a:extLst>
                  <a:ext uri="{FF2B5EF4-FFF2-40B4-BE49-F238E27FC236}">
                    <a16:creationId xmlns:a16="http://schemas.microsoft.com/office/drawing/2014/main" id="{D2F5E0BC-DA81-474C-9560-866F3A0FF3D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50925" y="3938588"/>
                <a:ext cx="133350" cy="128587"/>
              </a:xfrm>
              <a:custGeom>
                <a:avLst/>
                <a:gdLst>
                  <a:gd name="T0" fmla="*/ 36 w 84"/>
                  <a:gd name="T1" fmla="*/ 67 h 81"/>
                  <a:gd name="T2" fmla="*/ 7 w 84"/>
                  <a:gd name="T3" fmla="*/ 39 h 81"/>
                  <a:gd name="T4" fmla="*/ 0 w 84"/>
                  <a:gd name="T5" fmla="*/ 45 h 81"/>
                  <a:gd name="T6" fmla="*/ 38 w 84"/>
                  <a:gd name="T7" fmla="*/ 81 h 81"/>
                  <a:gd name="T8" fmla="*/ 84 w 84"/>
                  <a:gd name="T9" fmla="*/ 4 h 81"/>
                  <a:gd name="T10" fmla="*/ 76 w 84"/>
                  <a:gd name="T11" fmla="*/ 0 h 81"/>
                  <a:gd name="T12" fmla="*/ 36 w 84"/>
                  <a:gd name="T13" fmla="*/ 67 h 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4" h="81">
                    <a:moveTo>
                      <a:pt x="36" y="67"/>
                    </a:moveTo>
                    <a:lnTo>
                      <a:pt x="7" y="39"/>
                    </a:lnTo>
                    <a:lnTo>
                      <a:pt x="0" y="45"/>
                    </a:lnTo>
                    <a:lnTo>
                      <a:pt x="38" y="81"/>
                    </a:lnTo>
                    <a:lnTo>
                      <a:pt x="84" y="4"/>
                    </a:lnTo>
                    <a:lnTo>
                      <a:pt x="76" y="0"/>
                    </a:lnTo>
                    <a:lnTo>
                      <a:pt x="36" y="67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53328" tIns="26663" rIns="53328" bIns="26663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chemeClr val="bg1"/>
                  </a:solidFill>
                </a:endParaRPr>
              </a:p>
            </p:txBody>
          </p:sp>
        </p:grpSp>
        <p:sp>
          <p:nvSpPr>
            <p:cNvPr id="51" name="Freeform 16">
              <a:extLst>
                <a:ext uri="{FF2B5EF4-FFF2-40B4-BE49-F238E27FC236}">
                  <a16:creationId xmlns:a16="http://schemas.microsoft.com/office/drawing/2014/main" id="{3D8A2C19-9DB4-452B-8406-BF35AD80C8C4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6432" y="1394990"/>
              <a:ext cx="749103" cy="682871"/>
            </a:xfrm>
            <a:custGeom>
              <a:avLst/>
              <a:gdLst>
                <a:gd name="T0" fmla="*/ 917 w 988"/>
                <a:gd name="T1" fmla="*/ 497 h 901"/>
                <a:gd name="T2" fmla="*/ 988 w 988"/>
                <a:gd name="T3" fmla="*/ 252 h 901"/>
                <a:gd name="T4" fmla="*/ 918 w 988"/>
                <a:gd name="T5" fmla="*/ 0 h 901"/>
                <a:gd name="T6" fmla="*/ 276 w 988"/>
                <a:gd name="T7" fmla="*/ 280 h 901"/>
                <a:gd name="T8" fmla="*/ 0 w 988"/>
                <a:gd name="T9" fmla="*/ 901 h 901"/>
                <a:gd name="T10" fmla="*/ 241 w 988"/>
                <a:gd name="T11" fmla="*/ 833 h 901"/>
                <a:gd name="T12" fmla="*/ 261 w 988"/>
                <a:gd name="T13" fmla="*/ 833 h 901"/>
                <a:gd name="T14" fmla="*/ 493 w 988"/>
                <a:gd name="T15" fmla="*/ 901 h 901"/>
                <a:gd name="T16" fmla="*/ 623 w 988"/>
                <a:gd name="T17" fmla="*/ 632 h 901"/>
                <a:gd name="T18" fmla="*/ 917 w 988"/>
                <a:gd name="T19" fmla="*/ 497 h 9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88" h="901">
                  <a:moveTo>
                    <a:pt x="917" y="497"/>
                  </a:moveTo>
                  <a:cubicBezTo>
                    <a:pt x="988" y="252"/>
                    <a:pt x="988" y="252"/>
                    <a:pt x="988" y="252"/>
                  </a:cubicBezTo>
                  <a:cubicBezTo>
                    <a:pt x="918" y="0"/>
                    <a:pt x="918" y="0"/>
                    <a:pt x="918" y="0"/>
                  </a:cubicBezTo>
                  <a:cubicBezTo>
                    <a:pt x="674" y="7"/>
                    <a:pt x="447" y="106"/>
                    <a:pt x="276" y="280"/>
                  </a:cubicBezTo>
                  <a:cubicBezTo>
                    <a:pt x="110" y="447"/>
                    <a:pt x="13" y="666"/>
                    <a:pt x="0" y="901"/>
                  </a:cubicBezTo>
                  <a:cubicBezTo>
                    <a:pt x="241" y="833"/>
                    <a:pt x="241" y="833"/>
                    <a:pt x="241" y="833"/>
                  </a:cubicBezTo>
                  <a:cubicBezTo>
                    <a:pt x="248" y="831"/>
                    <a:pt x="254" y="831"/>
                    <a:pt x="261" y="833"/>
                  </a:cubicBezTo>
                  <a:cubicBezTo>
                    <a:pt x="493" y="901"/>
                    <a:pt x="493" y="901"/>
                    <a:pt x="493" y="901"/>
                  </a:cubicBezTo>
                  <a:cubicBezTo>
                    <a:pt x="505" y="800"/>
                    <a:pt x="550" y="705"/>
                    <a:pt x="623" y="632"/>
                  </a:cubicBezTo>
                  <a:cubicBezTo>
                    <a:pt x="703" y="551"/>
                    <a:pt x="807" y="504"/>
                    <a:pt x="917" y="497"/>
                  </a:cubicBezTo>
                  <a:close/>
                </a:path>
              </a:pathLst>
            </a:custGeom>
            <a:solidFill>
              <a:schemeClr val="accent4"/>
            </a:solidFill>
            <a:ln w="9525" cap="rnd">
              <a:noFill/>
              <a:round/>
              <a:headEnd/>
              <a:tailEnd/>
            </a:ln>
          </p:spPr>
          <p:txBody>
            <a:bodyPr vert="horz" wrap="square" lIns="53328" tIns="26663" rIns="53328" bIns="26663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" name="Freeform 17">
              <a:extLst>
                <a:ext uri="{FF2B5EF4-FFF2-40B4-BE49-F238E27FC236}">
                  <a16:creationId xmlns:a16="http://schemas.microsoft.com/office/drawing/2014/main" id="{A21BE649-8270-432A-BE76-16EA3998848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9548" y="3294078"/>
              <a:ext cx="682871" cy="755954"/>
            </a:xfrm>
            <a:custGeom>
              <a:avLst/>
              <a:gdLst>
                <a:gd name="T0" fmla="*/ 497 w 901"/>
                <a:gd name="T1" fmla="*/ 72 h 998"/>
                <a:gd name="T2" fmla="*/ 249 w 901"/>
                <a:gd name="T3" fmla="*/ 0 h 998"/>
                <a:gd name="T4" fmla="*/ 0 w 901"/>
                <a:gd name="T5" fmla="*/ 70 h 998"/>
                <a:gd name="T6" fmla="*/ 280 w 901"/>
                <a:gd name="T7" fmla="*/ 717 h 998"/>
                <a:gd name="T8" fmla="*/ 899 w 901"/>
                <a:gd name="T9" fmla="*/ 998 h 998"/>
                <a:gd name="T10" fmla="*/ 832 w 901"/>
                <a:gd name="T11" fmla="*/ 758 h 998"/>
                <a:gd name="T12" fmla="*/ 832 w 901"/>
                <a:gd name="T13" fmla="*/ 738 h 998"/>
                <a:gd name="T14" fmla="*/ 901 w 901"/>
                <a:gd name="T15" fmla="*/ 498 h 998"/>
                <a:gd name="T16" fmla="*/ 631 w 901"/>
                <a:gd name="T17" fmla="*/ 366 h 998"/>
                <a:gd name="T18" fmla="*/ 497 w 901"/>
                <a:gd name="T19" fmla="*/ 72 h 9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01" h="998">
                  <a:moveTo>
                    <a:pt x="497" y="72"/>
                  </a:moveTo>
                  <a:cubicBezTo>
                    <a:pt x="249" y="0"/>
                    <a:pt x="249" y="0"/>
                    <a:pt x="249" y="0"/>
                  </a:cubicBezTo>
                  <a:cubicBezTo>
                    <a:pt x="0" y="70"/>
                    <a:pt x="0" y="70"/>
                    <a:pt x="0" y="70"/>
                  </a:cubicBezTo>
                  <a:cubicBezTo>
                    <a:pt x="9" y="316"/>
                    <a:pt x="107" y="544"/>
                    <a:pt x="280" y="717"/>
                  </a:cubicBezTo>
                  <a:cubicBezTo>
                    <a:pt x="446" y="886"/>
                    <a:pt x="664" y="984"/>
                    <a:pt x="899" y="998"/>
                  </a:cubicBezTo>
                  <a:cubicBezTo>
                    <a:pt x="832" y="758"/>
                    <a:pt x="832" y="758"/>
                    <a:pt x="832" y="758"/>
                  </a:cubicBezTo>
                  <a:cubicBezTo>
                    <a:pt x="830" y="751"/>
                    <a:pt x="830" y="745"/>
                    <a:pt x="832" y="738"/>
                  </a:cubicBezTo>
                  <a:cubicBezTo>
                    <a:pt x="901" y="498"/>
                    <a:pt x="901" y="498"/>
                    <a:pt x="901" y="498"/>
                  </a:cubicBezTo>
                  <a:cubicBezTo>
                    <a:pt x="799" y="486"/>
                    <a:pt x="705" y="440"/>
                    <a:pt x="631" y="366"/>
                  </a:cubicBezTo>
                  <a:cubicBezTo>
                    <a:pt x="552" y="287"/>
                    <a:pt x="505" y="184"/>
                    <a:pt x="497" y="72"/>
                  </a:cubicBezTo>
                  <a:close/>
                </a:path>
              </a:pathLst>
            </a:custGeom>
            <a:solidFill>
              <a:schemeClr val="accent4"/>
            </a:solidFill>
            <a:ln w="9525" cap="rnd">
              <a:noFill/>
              <a:round/>
              <a:headEnd/>
              <a:tailEnd/>
            </a:ln>
          </p:spPr>
          <p:txBody>
            <a:bodyPr vert="horz" wrap="square" lIns="53328" tIns="26663" rIns="53328" bIns="26663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" name="Freeform 19">
              <a:extLst>
                <a:ext uri="{FF2B5EF4-FFF2-40B4-BE49-F238E27FC236}">
                  <a16:creationId xmlns:a16="http://schemas.microsoft.com/office/drawing/2014/main" id="{57B30CCA-43E2-49A6-BE62-7C3FBE538AEB}"/>
                </a:ext>
              </a:extLst>
            </p:cNvPr>
            <p:cNvSpPr>
              <a:spLocks/>
            </p:cNvSpPr>
            <p:nvPr/>
          </p:nvSpPr>
          <p:spPr bwMode="auto">
            <a:xfrm>
              <a:off x="2999643" y="3330620"/>
              <a:ext cx="742251" cy="682871"/>
            </a:xfrm>
            <a:custGeom>
              <a:avLst/>
              <a:gdLst>
                <a:gd name="T0" fmla="*/ 70 w 979"/>
                <a:gd name="T1" fmla="*/ 408 h 902"/>
                <a:gd name="T2" fmla="*/ 0 w 979"/>
                <a:gd name="T3" fmla="*/ 650 h 902"/>
                <a:gd name="T4" fmla="*/ 70 w 979"/>
                <a:gd name="T5" fmla="*/ 902 h 902"/>
                <a:gd name="T6" fmla="*/ 703 w 979"/>
                <a:gd name="T7" fmla="*/ 623 h 902"/>
                <a:gd name="T8" fmla="*/ 979 w 979"/>
                <a:gd name="T9" fmla="*/ 2 h 902"/>
                <a:gd name="T10" fmla="*/ 745 w 979"/>
                <a:gd name="T11" fmla="*/ 70 h 902"/>
                <a:gd name="T12" fmla="*/ 735 w 979"/>
                <a:gd name="T13" fmla="*/ 72 h 902"/>
                <a:gd name="T14" fmla="*/ 725 w 979"/>
                <a:gd name="T15" fmla="*/ 70 h 902"/>
                <a:gd name="T16" fmla="*/ 490 w 979"/>
                <a:gd name="T17" fmla="*/ 0 h 902"/>
                <a:gd name="T18" fmla="*/ 359 w 979"/>
                <a:gd name="T19" fmla="*/ 275 h 902"/>
                <a:gd name="T20" fmla="*/ 70 w 979"/>
                <a:gd name="T21" fmla="*/ 408 h 9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79" h="902">
                  <a:moveTo>
                    <a:pt x="70" y="408"/>
                  </a:moveTo>
                  <a:cubicBezTo>
                    <a:pt x="0" y="650"/>
                    <a:pt x="0" y="650"/>
                    <a:pt x="0" y="650"/>
                  </a:cubicBezTo>
                  <a:cubicBezTo>
                    <a:pt x="70" y="902"/>
                    <a:pt x="70" y="902"/>
                    <a:pt x="70" y="902"/>
                  </a:cubicBezTo>
                  <a:cubicBezTo>
                    <a:pt x="311" y="894"/>
                    <a:pt x="534" y="795"/>
                    <a:pt x="703" y="623"/>
                  </a:cubicBezTo>
                  <a:cubicBezTo>
                    <a:pt x="870" y="457"/>
                    <a:pt x="966" y="238"/>
                    <a:pt x="979" y="2"/>
                  </a:cubicBezTo>
                  <a:cubicBezTo>
                    <a:pt x="745" y="70"/>
                    <a:pt x="745" y="70"/>
                    <a:pt x="745" y="70"/>
                  </a:cubicBezTo>
                  <a:cubicBezTo>
                    <a:pt x="742" y="71"/>
                    <a:pt x="739" y="72"/>
                    <a:pt x="735" y="72"/>
                  </a:cubicBezTo>
                  <a:cubicBezTo>
                    <a:pt x="732" y="72"/>
                    <a:pt x="728" y="71"/>
                    <a:pt x="725" y="70"/>
                  </a:cubicBezTo>
                  <a:cubicBezTo>
                    <a:pt x="490" y="0"/>
                    <a:pt x="490" y="0"/>
                    <a:pt x="490" y="0"/>
                  </a:cubicBezTo>
                  <a:cubicBezTo>
                    <a:pt x="479" y="103"/>
                    <a:pt x="434" y="200"/>
                    <a:pt x="359" y="275"/>
                  </a:cubicBezTo>
                  <a:cubicBezTo>
                    <a:pt x="281" y="354"/>
                    <a:pt x="179" y="400"/>
                    <a:pt x="70" y="408"/>
                  </a:cubicBezTo>
                  <a:close/>
                </a:path>
              </a:pathLst>
            </a:custGeom>
            <a:solidFill>
              <a:schemeClr val="accent4"/>
            </a:solidFill>
            <a:ln w="9525" cap="rnd">
              <a:noFill/>
              <a:round/>
              <a:headEnd/>
              <a:tailEnd/>
            </a:ln>
          </p:spPr>
          <p:txBody>
            <a:bodyPr vert="horz" wrap="square" lIns="53328" tIns="26663" rIns="53328" bIns="26663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" name="Freeform 21">
              <a:extLst>
                <a:ext uri="{FF2B5EF4-FFF2-40B4-BE49-F238E27FC236}">
                  <a16:creationId xmlns:a16="http://schemas.microsoft.com/office/drawing/2014/main" id="{C41CDEAC-731B-4C28-9B6B-A7A50D4EEA99}"/>
                </a:ext>
              </a:extLst>
            </p:cNvPr>
            <p:cNvSpPr>
              <a:spLocks/>
            </p:cNvSpPr>
            <p:nvPr/>
          </p:nvSpPr>
          <p:spPr bwMode="auto">
            <a:xfrm>
              <a:off x="3033900" y="1357307"/>
              <a:ext cx="673736" cy="758238"/>
            </a:xfrm>
            <a:custGeom>
              <a:avLst/>
              <a:gdLst>
                <a:gd name="T0" fmla="*/ 890 w 890"/>
                <a:gd name="T1" fmla="*/ 928 h 999"/>
                <a:gd name="T2" fmla="*/ 616 w 890"/>
                <a:gd name="T3" fmla="*/ 281 h 999"/>
                <a:gd name="T4" fmla="*/ 0 w 890"/>
                <a:gd name="T5" fmla="*/ 0 h 999"/>
                <a:gd name="T6" fmla="*/ 67 w 890"/>
                <a:gd name="T7" fmla="*/ 244 h 999"/>
                <a:gd name="T8" fmla="*/ 67 w 890"/>
                <a:gd name="T9" fmla="*/ 263 h 999"/>
                <a:gd name="T10" fmla="*/ 0 w 890"/>
                <a:gd name="T11" fmla="*/ 502 h 999"/>
                <a:gd name="T12" fmla="*/ 276 w 890"/>
                <a:gd name="T13" fmla="*/ 636 h 999"/>
                <a:gd name="T14" fmla="*/ 407 w 890"/>
                <a:gd name="T15" fmla="*/ 929 h 999"/>
                <a:gd name="T16" fmla="*/ 643 w 890"/>
                <a:gd name="T17" fmla="*/ 999 h 999"/>
                <a:gd name="T18" fmla="*/ 890 w 890"/>
                <a:gd name="T19" fmla="*/ 928 h 9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90" h="999">
                  <a:moveTo>
                    <a:pt x="890" y="928"/>
                  </a:moveTo>
                  <a:cubicBezTo>
                    <a:pt x="882" y="683"/>
                    <a:pt x="786" y="454"/>
                    <a:pt x="616" y="281"/>
                  </a:cubicBezTo>
                  <a:cubicBezTo>
                    <a:pt x="451" y="110"/>
                    <a:pt x="234" y="12"/>
                    <a:pt x="0" y="0"/>
                  </a:cubicBezTo>
                  <a:cubicBezTo>
                    <a:pt x="67" y="244"/>
                    <a:pt x="67" y="244"/>
                    <a:pt x="67" y="244"/>
                  </a:cubicBezTo>
                  <a:cubicBezTo>
                    <a:pt x="69" y="250"/>
                    <a:pt x="69" y="257"/>
                    <a:pt x="67" y="263"/>
                  </a:cubicBezTo>
                  <a:cubicBezTo>
                    <a:pt x="0" y="502"/>
                    <a:pt x="0" y="502"/>
                    <a:pt x="0" y="502"/>
                  </a:cubicBezTo>
                  <a:cubicBezTo>
                    <a:pt x="105" y="512"/>
                    <a:pt x="202" y="559"/>
                    <a:pt x="276" y="636"/>
                  </a:cubicBezTo>
                  <a:cubicBezTo>
                    <a:pt x="353" y="716"/>
                    <a:pt x="399" y="819"/>
                    <a:pt x="407" y="929"/>
                  </a:cubicBezTo>
                  <a:cubicBezTo>
                    <a:pt x="643" y="999"/>
                    <a:pt x="643" y="999"/>
                    <a:pt x="643" y="999"/>
                  </a:cubicBezTo>
                  <a:lnTo>
                    <a:pt x="890" y="928"/>
                  </a:lnTo>
                  <a:close/>
                </a:path>
              </a:pathLst>
            </a:custGeom>
            <a:solidFill>
              <a:schemeClr val="accent4"/>
            </a:solidFill>
            <a:ln w="9525" cap="rnd">
              <a:noFill/>
              <a:round/>
              <a:headEnd/>
              <a:tailEnd/>
            </a:ln>
          </p:spPr>
          <p:txBody>
            <a:bodyPr vert="horz" wrap="square" lIns="53328" tIns="26663" rIns="53328" bIns="26663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8" name="AutoShape 13">
              <a:extLst>
                <a:ext uri="{FF2B5EF4-FFF2-40B4-BE49-F238E27FC236}">
                  <a16:creationId xmlns:a16="http://schemas.microsoft.com/office/drawing/2014/main" id="{042011ED-0EC2-4287-A670-CE922CAAE9E5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1730469" y="927652"/>
              <a:ext cx="1323248" cy="132324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6659" tIns="33330" rIns="66659" bIns="3333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6" name="TextBox 55">
              <a:extLst>
                <a:ext uri="{FF2B5EF4-FFF2-40B4-BE49-F238E27FC236}">
                  <a16:creationId xmlns:a16="http://schemas.microsoft.com/office/drawing/2014/main" id="{D07AF1C5-EE60-49E5-97EC-44D9D13C5747}"/>
                </a:ext>
              </a:extLst>
            </p:cNvPr>
            <p:cNvSpPr txBox="1"/>
            <p:nvPr/>
          </p:nvSpPr>
          <p:spPr>
            <a:xfrm>
              <a:off x="2140312" y="786996"/>
              <a:ext cx="503343" cy="231474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lnSpc>
                  <a:spcPct val="114000"/>
                </a:lnSpc>
              </a:pPr>
              <a:r>
                <a:rPr lang="en-US" sz="1166">
                  <a:latin typeface="+mn-lt"/>
                </a:rPr>
                <a:t>Model</a:t>
              </a:r>
            </a:p>
          </p:txBody>
        </p:sp>
        <p:sp>
          <p:nvSpPr>
            <p:cNvPr id="63" name="TextBox 62">
              <a:extLst>
                <a:ext uri="{FF2B5EF4-FFF2-40B4-BE49-F238E27FC236}">
                  <a16:creationId xmlns:a16="http://schemas.microsoft.com/office/drawing/2014/main" id="{0F7798D4-0D33-450B-8820-507305FD3313}"/>
                </a:ext>
              </a:extLst>
            </p:cNvPr>
            <p:cNvSpPr txBox="1"/>
            <p:nvPr/>
          </p:nvSpPr>
          <p:spPr>
            <a:xfrm>
              <a:off x="4119876" y="2467677"/>
              <a:ext cx="975181" cy="53776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ct val="114000"/>
                </a:lnSpc>
              </a:pPr>
              <a:r>
                <a:rPr lang="en-US" sz="1166">
                  <a:latin typeface="+mn-lt"/>
                </a:rPr>
                <a:t>Unlabeled Data</a:t>
              </a:r>
            </a:p>
          </p:txBody>
        </p:sp>
        <p:sp>
          <p:nvSpPr>
            <p:cNvPr id="64" name="TextBox 63">
              <a:extLst>
                <a:ext uri="{FF2B5EF4-FFF2-40B4-BE49-F238E27FC236}">
                  <a16:creationId xmlns:a16="http://schemas.microsoft.com/office/drawing/2014/main" id="{28658FF9-C636-437A-A89C-5AF57BC010D5}"/>
                </a:ext>
              </a:extLst>
            </p:cNvPr>
            <p:cNvSpPr txBox="1"/>
            <p:nvPr/>
          </p:nvSpPr>
          <p:spPr>
            <a:xfrm>
              <a:off x="53022" y="2467677"/>
              <a:ext cx="915189" cy="48410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ct val="114000"/>
                </a:lnSpc>
              </a:pPr>
              <a:r>
                <a:rPr lang="en-US" sz="1166">
                  <a:latin typeface="+mn-lt"/>
                </a:rPr>
                <a:t>Labeled Data</a:t>
              </a:r>
            </a:p>
          </p:txBody>
        </p:sp>
        <p:sp>
          <p:nvSpPr>
            <p:cNvPr id="62" name="Arrow: Curved Down 61">
              <a:extLst>
                <a:ext uri="{FF2B5EF4-FFF2-40B4-BE49-F238E27FC236}">
                  <a16:creationId xmlns:a16="http://schemas.microsoft.com/office/drawing/2014/main" id="{C4080BE1-A05B-40D9-95C9-E8A72A292B8F}"/>
                </a:ext>
              </a:extLst>
            </p:cNvPr>
            <p:cNvSpPr/>
            <p:nvPr/>
          </p:nvSpPr>
          <p:spPr>
            <a:xfrm rot="18791330" flipH="1">
              <a:off x="141565" y="1279548"/>
              <a:ext cx="2008347" cy="525692"/>
            </a:xfrm>
            <a:prstGeom prst="curvedDownArrow">
              <a:avLst>
                <a:gd name="adj1" fmla="val 20257"/>
                <a:gd name="adj2" fmla="val 47901"/>
                <a:gd name="adj3" fmla="val 29838"/>
              </a:avLst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6659" tIns="33330" rIns="66659" bIns="3333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14000"/>
                </a:lnSpc>
              </a:pPr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68" name="TextBox 67">
              <a:extLst>
                <a:ext uri="{FF2B5EF4-FFF2-40B4-BE49-F238E27FC236}">
                  <a16:creationId xmlns:a16="http://schemas.microsoft.com/office/drawing/2014/main" id="{42D6C42E-3F56-482C-ADF5-679B472B8F51}"/>
                </a:ext>
              </a:extLst>
            </p:cNvPr>
            <p:cNvSpPr txBox="1"/>
            <p:nvPr/>
          </p:nvSpPr>
          <p:spPr>
            <a:xfrm>
              <a:off x="2140312" y="4258474"/>
              <a:ext cx="545021" cy="231474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lnSpc>
                  <a:spcPct val="114000"/>
                </a:lnSpc>
              </a:pPr>
              <a:r>
                <a:rPr lang="en-US" sz="1166">
                  <a:latin typeface="+mn-lt"/>
                </a:rPr>
                <a:t>Oracle</a:t>
              </a:r>
            </a:p>
          </p:txBody>
        </p:sp>
        <p:sp>
          <p:nvSpPr>
            <p:cNvPr id="69" name="TextBox 68">
              <a:extLst>
                <a:ext uri="{FF2B5EF4-FFF2-40B4-BE49-F238E27FC236}">
                  <a16:creationId xmlns:a16="http://schemas.microsoft.com/office/drawing/2014/main" id="{646312ED-88E9-42E6-B40D-624D2A46E823}"/>
                </a:ext>
              </a:extLst>
            </p:cNvPr>
            <p:cNvSpPr txBox="1"/>
            <p:nvPr/>
          </p:nvSpPr>
          <p:spPr>
            <a:xfrm rot="18796103">
              <a:off x="343002" y="1078335"/>
              <a:ext cx="1323248" cy="48410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lnSpc>
                  <a:spcPct val="114000"/>
                </a:lnSpc>
              </a:pPr>
              <a:r>
                <a:rPr lang="en-US" sz="1166">
                  <a:latin typeface="+mn-lt"/>
                </a:rPr>
                <a:t>Data labeled by model</a:t>
              </a:r>
            </a:p>
          </p:txBody>
        </p:sp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499751B2-F7D5-4B6E-A235-99546FEE5BF7}"/>
              </a:ext>
            </a:extLst>
          </p:cNvPr>
          <p:cNvGrpSpPr/>
          <p:nvPr/>
        </p:nvGrpSpPr>
        <p:grpSpPr>
          <a:xfrm>
            <a:off x="5203947" y="1056920"/>
            <a:ext cx="3555034" cy="2787800"/>
            <a:chOff x="5588966" y="1044246"/>
            <a:chExt cx="3555034" cy="2787800"/>
          </a:xfrm>
        </p:grpSpPr>
        <p:sp>
          <p:nvSpPr>
            <p:cNvPr id="45" name="TextBox 44">
              <a:extLst>
                <a:ext uri="{FF2B5EF4-FFF2-40B4-BE49-F238E27FC236}">
                  <a16:creationId xmlns:a16="http://schemas.microsoft.com/office/drawing/2014/main" id="{E681D5D9-55E0-4D14-9DFC-B05ACD24BB73}"/>
                </a:ext>
              </a:extLst>
            </p:cNvPr>
            <p:cNvSpPr txBox="1"/>
            <p:nvPr/>
          </p:nvSpPr>
          <p:spPr>
            <a:xfrm>
              <a:off x="5813131" y="1044246"/>
              <a:ext cx="2888183" cy="25725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ct val="114000"/>
                </a:lnSpc>
              </a:pPr>
              <a:r>
                <a:rPr lang="en-US" sz="1600" b="1">
                  <a:latin typeface="+mn-lt"/>
                </a:rPr>
                <a:t>Strategies we want to apply:</a:t>
              </a:r>
            </a:p>
          </p:txBody>
        </p:sp>
        <p:sp>
          <p:nvSpPr>
            <p:cNvPr id="46" name="TextBox 45">
              <a:extLst>
                <a:ext uri="{FF2B5EF4-FFF2-40B4-BE49-F238E27FC236}">
                  <a16:creationId xmlns:a16="http://schemas.microsoft.com/office/drawing/2014/main" id="{F5B1CE92-7B1E-497A-8230-5C89E86BCF2B}"/>
                </a:ext>
              </a:extLst>
            </p:cNvPr>
            <p:cNvSpPr txBox="1"/>
            <p:nvPr/>
          </p:nvSpPr>
          <p:spPr>
            <a:xfrm>
              <a:off x="5988982" y="2315110"/>
              <a:ext cx="2888183" cy="25725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285750" indent="-285750">
                <a:lnSpc>
                  <a:spcPct val="114000"/>
                </a:lnSpc>
                <a:buClr>
                  <a:schemeClr val="tx2"/>
                </a:buClr>
                <a:buFont typeface="Wingdings" panose="05000000000000000000" pitchFamily="2" charset="2"/>
                <a:buChar char="Ø"/>
              </a:pPr>
              <a:r>
                <a:rPr lang="en-US" sz="1600">
                  <a:latin typeface="+mn-lt"/>
                </a:rPr>
                <a:t>Hybrid query strategies</a:t>
              </a:r>
            </a:p>
          </p:txBody>
        </p:sp>
        <p:sp>
          <p:nvSpPr>
            <p:cNvPr id="47" name="TextBox 46">
              <a:extLst>
                <a:ext uri="{FF2B5EF4-FFF2-40B4-BE49-F238E27FC236}">
                  <a16:creationId xmlns:a16="http://schemas.microsoft.com/office/drawing/2014/main" id="{DC3F32DB-8700-4ABB-A9C8-2435DC5A76AE}"/>
                </a:ext>
              </a:extLst>
            </p:cNvPr>
            <p:cNvSpPr txBox="1"/>
            <p:nvPr/>
          </p:nvSpPr>
          <p:spPr>
            <a:xfrm>
              <a:off x="5988982" y="1898815"/>
              <a:ext cx="2888183" cy="25725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285750" indent="-285750">
                <a:lnSpc>
                  <a:spcPct val="114000"/>
                </a:lnSpc>
                <a:buClr>
                  <a:schemeClr val="tx2"/>
                </a:buClr>
                <a:buFont typeface="Wingdings" panose="05000000000000000000" pitchFamily="2" charset="2"/>
                <a:buChar char="Ø"/>
              </a:pPr>
              <a:r>
                <a:rPr lang="en-US" sz="1600">
                  <a:latin typeface="+mn-lt"/>
                </a:rPr>
                <a:t>Diversity-based approach</a:t>
              </a:r>
            </a:p>
          </p:txBody>
        </p:sp>
        <p:sp>
          <p:nvSpPr>
            <p:cNvPr id="48" name="TextBox 47">
              <a:extLst>
                <a:ext uri="{FF2B5EF4-FFF2-40B4-BE49-F238E27FC236}">
                  <a16:creationId xmlns:a16="http://schemas.microsoft.com/office/drawing/2014/main" id="{61A8CC9B-D7B1-4915-8C5F-1E59649472E7}"/>
                </a:ext>
              </a:extLst>
            </p:cNvPr>
            <p:cNvSpPr txBox="1"/>
            <p:nvPr/>
          </p:nvSpPr>
          <p:spPr>
            <a:xfrm>
              <a:off x="5988982" y="1482520"/>
              <a:ext cx="2888183" cy="25725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285750" indent="-285750">
                <a:lnSpc>
                  <a:spcPct val="114000"/>
                </a:lnSpc>
                <a:buClr>
                  <a:schemeClr val="tx2"/>
                </a:buClr>
                <a:buFont typeface="Wingdings" panose="05000000000000000000" pitchFamily="2" charset="2"/>
                <a:buChar char="Ø"/>
              </a:pPr>
              <a:r>
                <a:rPr lang="en-US" sz="1600">
                  <a:latin typeface="+mn-lt"/>
                </a:rPr>
                <a:t>Uncertainty-based approach</a:t>
              </a:r>
            </a:p>
          </p:txBody>
        </p:sp>
        <p:sp>
          <p:nvSpPr>
            <p:cNvPr id="49" name="TextBox 48">
              <a:extLst>
                <a:ext uri="{FF2B5EF4-FFF2-40B4-BE49-F238E27FC236}">
                  <a16:creationId xmlns:a16="http://schemas.microsoft.com/office/drawing/2014/main" id="{7AA2DC81-7159-417A-8E57-6B787AD89C1F}"/>
                </a:ext>
              </a:extLst>
            </p:cNvPr>
            <p:cNvSpPr txBox="1"/>
            <p:nvPr/>
          </p:nvSpPr>
          <p:spPr>
            <a:xfrm>
              <a:off x="6255817" y="3294078"/>
              <a:ext cx="2888183" cy="53796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ct val="114000"/>
                </a:lnSpc>
              </a:pPr>
              <a:r>
                <a:rPr lang="en-US" sz="1600">
                  <a:latin typeface="+mn-lt"/>
                </a:rPr>
                <a:t>Explore </a:t>
              </a:r>
              <a:r>
                <a:rPr lang="en-US" sz="1600" b="1">
                  <a:latin typeface="+mn-lt"/>
                </a:rPr>
                <a:t>representativeness vs. informativeness </a:t>
              </a:r>
              <a:r>
                <a:rPr lang="en-US" sz="1600">
                  <a:latin typeface="+mn-lt"/>
                </a:rPr>
                <a:t>trade-off</a:t>
              </a:r>
            </a:p>
          </p:txBody>
        </p:sp>
        <p:grpSp>
          <p:nvGrpSpPr>
            <p:cNvPr id="50" name="Group 49">
              <a:extLst>
                <a:ext uri="{FF2B5EF4-FFF2-40B4-BE49-F238E27FC236}">
                  <a16:creationId xmlns:a16="http://schemas.microsoft.com/office/drawing/2014/main" id="{A021F65C-C61E-4564-AD1B-C2726D07A071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5588966" y="3299080"/>
              <a:ext cx="527966" cy="527966"/>
              <a:chOff x="982662" y="1847850"/>
              <a:chExt cx="269875" cy="269875"/>
            </a:xfrm>
          </p:grpSpPr>
          <p:sp>
            <p:nvSpPr>
              <p:cNvPr id="55" name="Oval 50">
                <a:extLst>
                  <a:ext uri="{FF2B5EF4-FFF2-40B4-BE49-F238E27FC236}">
                    <a16:creationId xmlns:a16="http://schemas.microsoft.com/office/drawing/2014/main" id="{1A56F12B-C52D-4CD5-BA7C-A4029B89FBD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82662" y="1847850"/>
                <a:ext cx="269875" cy="269875"/>
              </a:xfrm>
              <a:prstGeom prst="ellipse">
                <a:avLst/>
              </a:prstGeom>
              <a:solidFill>
                <a:schemeClr val="tx2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>
                  <a:solidFill>
                    <a:schemeClr val="bg1"/>
                  </a:solidFill>
                </a:endParaRPr>
              </a:p>
            </p:txBody>
          </p:sp>
          <p:sp>
            <p:nvSpPr>
              <p:cNvPr id="65" name="Freeform 51">
                <a:extLst>
                  <a:ext uri="{FF2B5EF4-FFF2-40B4-BE49-F238E27FC236}">
                    <a16:creationId xmlns:a16="http://schemas.microsoft.com/office/drawing/2014/main" id="{8C04943A-6E73-4B94-9DDC-5392452B129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82675" y="1895475"/>
                <a:ext cx="96837" cy="174625"/>
              </a:xfrm>
              <a:custGeom>
                <a:avLst/>
                <a:gdLst>
                  <a:gd name="T0" fmla="*/ 6 w 61"/>
                  <a:gd name="T1" fmla="*/ 0 h 110"/>
                  <a:gd name="T2" fmla="*/ 0 w 61"/>
                  <a:gd name="T3" fmla="*/ 7 h 110"/>
                  <a:gd name="T4" fmla="*/ 48 w 61"/>
                  <a:gd name="T5" fmla="*/ 55 h 110"/>
                  <a:gd name="T6" fmla="*/ 0 w 61"/>
                  <a:gd name="T7" fmla="*/ 104 h 110"/>
                  <a:gd name="T8" fmla="*/ 6 w 61"/>
                  <a:gd name="T9" fmla="*/ 110 h 110"/>
                  <a:gd name="T10" fmla="*/ 54 w 61"/>
                  <a:gd name="T11" fmla="*/ 62 h 110"/>
                  <a:gd name="T12" fmla="*/ 61 w 61"/>
                  <a:gd name="T13" fmla="*/ 55 h 110"/>
                  <a:gd name="T14" fmla="*/ 54 w 61"/>
                  <a:gd name="T15" fmla="*/ 49 h 110"/>
                  <a:gd name="T16" fmla="*/ 6 w 61"/>
                  <a:gd name="T17" fmla="*/ 0 h 1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1" h="110">
                    <a:moveTo>
                      <a:pt x="6" y="0"/>
                    </a:moveTo>
                    <a:lnTo>
                      <a:pt x="0" y="7"/>
                    </a:lnTo>
                    <a:lnTo>
                      <a:pt x="48" y="55"/>
                    </a:lnTo>
                    <a:lnTo>
                      <a:pt x="0" y="104"/>
                    </a:lnTo>
                    <a:lnTo>
                      <a:pt x="6" y="110"/>
                    </a:lnTo>
                    <a:lnTo>
                      <a:pt x="54" y="62"/>
                    </a:lnTo>
                    <a:lnTo>
                      <a:pt x="61" y="55"/>
                    </a:lnTo>
                    <a:lnTo>
                      <a:pt x="54" y="49"/>
                    </a:lnTo>
                    <a:lnTo>
                      <a:pt x="6" y="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>
                  <a:solidFill>
                    <a:schemeClr val="bg1"/>
                  </a:solidFill>
                </a:endParaRPr>
              </a:p>
            </p:txBody>
          </p:sp>
        </p:grpSp>
        <p:sp>
          <p:nvSpPr>
            <p:cNvPr id="66" name="TextBox 65">
              <a:extLst>
                <a:ext uri="{FF2B5EF4-FFF2-40B4-BE49-F238E27FC236}">
                  <a16:creationId xmlns:a16="http://schemas.microsoft.com/office/drawing/2014/main" id="{6CAE10DA-0C40-4A79-9167-A478C44249EC}"/>
                </a:ext>
              </a:extLst>
            </p:cNvPr>
            <p:cNvSpPr txBox="1"/>
            <p:nvPr/>
          </p:nvSpPr>
          <p:spPr>
            <a:xfrm>
              <a:off x="5988982" y="2731404"/>
              <a:ext cx="2888183" cy="25725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285750" indent="-285750">
                <a:lnSpc>
                  <a:spcPct val="114000"/>
                </a:lnSpc>
                <a:buClr>
                  <a:schemeClr val="tx2"/>
                </a:buClr>
                <a:buFont typeface="Wingdings" panose="05000000000000000000" pitchFamily="2" charset="2"/>
                <a:buChar char="Ø"/>
              </a:pPr>
              <a:r>
                <a:rPr lang="en-US" sz="1600">
                  <a:latin typeface="+mn-lt"/>
                </a:rPr>
                <a:t>…</a:t>
              </a:r>
            </a:p>
          </p:txBody>
        </p:sp>
      </p:grpSp>
      <p:sp>
        <p:nvSpPr>
          <p:cNvPr id="91" name="Oval 90">
            <a:extLst>
              <a:ext uri="{FF2B5EF4-FFF2-40B4-BE49-F238E27FC236}">
                <a16:creationId xmlns:a16="http://schemas.microsoft.com/office/drawing/2014/main" id="{D02AB681-0BE9-3CFD-FA5F-4762A89FA109}"/>
              </a:ext>
            </a:extLst>
          </p:cNvPr>
          <p:cNvSpPr/>
          <p:nvPr/>
        </p:nvSpPr>
        <p:spPr>
          <a:xfrm>
            <a:off x="2045754" y="1514158"/>
            <a:ext cx="144000" cy="144000"/>
          </a:xfrm>
          <a:prstGeom prst="ellipse">
            <a:avLst/>
          </a:prstGeom>
          <a:ln w="12700"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4000"/>
              </a:lnSpc>
            </a:pPr>
            <a:endParaRPr lang="en-US"/>
          </a:p>
        </p:txBody>
      </p:sp>
      <p:sp>
        <p:nvSpPr>
          <p:cNvPr id="94" name="Oval 93">
            <a:extLst>
              <a:ext uri="{FF2B5EF4-FFF2-40B4-BE49-F238E27FC236}">
                <a16:creationId xmlns:a16="http://schemas.microsoft.com/office/drawing/2014/main" id="{21A02CF3-70E4-C4D5-F21F-1B79147E01A8}"/>
              </a:ext>
            </a:extLst>
          </p:cNvPr>
          <p:cNvSpPr/>
          <p:nvPr/>
        </p:nvSpPr>
        <p:spPr>
          <a:xfrm>
            <a:off x="2045754" y="1778614"/>
            <a:ext cx="144000" cy="144000"/>
          </a:xfrm>
          <a:prstGeom prst="ellipse">
            <a:avLst/>
          </a:prstGeom>
          <a:ln w="12700"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4000"/>
              </a:lnSpc>
            </a:pPr>
            <a:endParaRPr lang="en-US"/>
          </a:p>
        </p:txBody>
      </p:sp>
      <p:sp>
        <p:nvSpPr>
          <p:cNvPr id="95" name="Oval 94">
            <a:extLst>
              <a:ext uri="{FF2B5EF4-FFF2-40B4-BE49-F238E27FC236}">
                <a16:creationId xmlns:a16="http://schemas.microsoft.com/office/drawing/2014/main" id="{B215A69B-1C93-46C9-4AE9-C9FA0BDF9A0F}"/>
              </a:ext>
            </a:extLst>
          </p:cNvPr>
          <p:cNvSpPr/>
          <p:nvPr/>
        </p:nvSpPr>
        <p:spPr>
          <a:xfrm>
            <a:off x="2331910" y="1437933"/>
            <a:ext cx="144000" cy="144000"/>
          </a:xfrm>
          <a:prstGeom prst="ellipse">
            <a:avLst/>
          </a:prstGeom>
          <a:ln w="12700"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4000"/>
              </a:lnSpc>
            </a:pPr>
            <a:endParaRPr lang="en-US"/>
          </a:p>
        </p:txBody>
      </p:sp>
      <p:sp>
        <p:nvSpPr>
          <p:cNvPr id="96" name="Oval 95">
            <a:extLst>
              <a:ext uri="{FF2B5EF4-FFF2-40B4-BE49-F238E27FC236}">
                <a16:creationId xmlns:a16="http://schemas.microsoft.com/office/drawing/2014/main" id="{93D931FB-32D0-0315-A33E-4657848B34DE}"/>
              </a:ext>
            </a:extLst>
          </p:cNvPr>
          <p:cNvSpPr/>
          <p:nvPr/>
        </p:nvSpPr>
        <p:spPr>
          <a:xfrm>
            <a:off x="2335041" y="1627793"/>
            <a:ext cx="144000" cy="144000"/>
          </a:xfrm>
          <a:prstGeom prst="ellipse">
            <a:avLst/>
          </a:prstGeom>
          <a:ln w="12700"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4000"/>
              </a:lnSpc>
            </a:pPr>
            <a:endParaRPr lang="en-US"/>
          </a:p>
        </p:txBody>
      </p:sp>
      <p:sp>
        <p:nvSpPr>
          <p:cNvPr id="97" name="Oval 96">
            <a:extLst>
              <a:ext uri="{FF2B5EF4-FFF2-40B4-BE49-F238E27FC236}">
                <a16:creationId xmlns:a16="http://schemas.microsoft.com/office/drawing/2014/main" id="{A63A7AF2-4AFF-FA5F-A5A8-8D31DF95D808}"/>
              </a:ext>
            </a:extLst>
          </p:cNvPr>
          <p:cNvSpPr/>
          <p:nvPr/>
        </p:nvSpPr>
        <p:spPr>
          <a:xfrm>
            <a:off x="2334046" y="1828727"/>
            <a:ext cx="144000" cy="144000"/>
          </a:xfrm>
          <a:prstGeom prst="ellipse">
            <a:avLst/>
          </a:prstGeom>
          <a:ln w="12700"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4000"/>
              </a:lnSpc>
            </a:pPr>
            <a:endParaRPr lang="en-US"/>
          </a:p>
        </p:txBody>
      </p:sp>
      <p:sp>
        <p:nvSpPr>
          <p:cNvPr id="98" name="Oval 97">
            <a:extLst>
              <a:ext uri="{FF2B5EF4-FFF2-40B4-BE49-F238E27FC236}">
                <a16:creationId xmlns:a16="http://schemas.microsoft.com/office/drawing/2014/main" id="{5E3E6831-827A-B93F-5DE6-F6E7EDEC7F68}"/>
              </a:ext>
            </a:extLst>
          </p:cNvPr>
          <p:cNvSpPr/>
          <p:nvPr/>
        </p:nvSpPr>
        <p:spPr>
          <a:xfrm>
            <a:off x="2635338" y="1514158"/>
            <a:ext cx="144000" cy="144000"/>
          </a:xfrm>
          <a:prstGeom prst="ellipse">
            <a:avLst/>
          </a:prstGeom>
          <a:ln w="12700"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4000"/>
              </a:lnSpc>
            </a:pPr>
            <a:endParaRPr lang="en-US"/>
          </a:p>
        </p:txBody>
      </p:sp>
      <p:sp>
        <p:nvSpPr>
          <p:cNvPr id="99" name="Oval 98">
            <a:extLst>
              <a:ext uri="{FF2B5EF4-FFF2-40B4-BE49-F238E27FC236}">
                <a16:creationId xmlns:a16="http://schemas.microsoft.com/office/drawing/2014/main" id="{29014D69-E3F1-9ECE-659D-AA95DA502A3E}"/>
              </a:ext>
            </a:extLst>
          </p:cNvPr>
          <p:cNvSpPr/>
          <p:nvPr/>
        </p:nvSpPr>
        <p:spPr>
          <a:xfrm>
            <a:off x="2635338" y="1778614"/>
            <a:ext cx="144000" cy="144000"/>
          </a:xfrm>
          <a:prstGeom prst="ellipse">
            <a:avLst/>
          </a:prstGeom>
          <a:ln w="12700"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4000"/>
              </a:lnSpc>
            </a:pPr>
            <a:endParaRPr lang="en-US"/>
          </a:p>
        </p:txBody>
      </p:sp>
      <p:cxnSp>
        <p:nvCxnSpPr>
          <p:cNvPr id="105" name="Straight Connector 104">
            <a:extLst>
              <a:ext uri="{FF2B5EF4-FFF2-40B4-BE49-F238E27FC236}">
                <a16:creationId xmlns:a16="http://schemas.microsoft.com/office/drawing/2014/main" id="{189E995D-18F2-62C3-04DC-E8A86F2A36DD}"/>
              </a:ext>
            </a:extLst>
          </p:cNvPr>
          <p:cNvCxnSpPr>
            <a:stCxn id="91" idx="6"/>
            <a:endCxn id="97" idx="2"/>
          </p:cNvCxnSpPr>
          <p:nvPr/>
        </p:nvCxnSpPr>
        <p:spPr>
          <a:xfrm>
            <a:off x="2189754" y="1586158"/>
            <a:ext cx="144292" cy="314569"/>
          </a:xfrm>
          <a:prstGeom prst="line">
            <a:avLst/>
          </a:prstGeom>
          <a:ln w="12700" cmpd="sng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7" name="Straight Connector 106">
            <a:extLst>
              <a:ext uri="{FF2B5EF4-FFF2-40B4-BE49-F238E27FC236}">
                <a16:creationId xmlns:a16="http://schemas.microsoft.com/office/drawing/2014/main" id="{906F275A-D8BE-2F52-A4C0-D3F901621805}"/>
              </a:ext>
            </a:extLst>
          </p:cNvPr>
          <p:cNvCxnSpPr>
            <a:cxnSpLocks/>
            <a:stCxn id="94" idx="6"/>
            <a:endCxn id="95" idx="2"/>
          </p:cNvCxnSpPr>
          <p:nvPr/>
        </p:nvCxnSpPr>
        <p:spPr>
          <a:xfrm flipV="1">
            <a:off x="2189754" y="1509933"/>
            <a:ext cx="142156" cy="340681"/>
          </a:xfrm>
          <a:prstGeom prst="line">
            <a:avLst/>
          </a:prstGeom>
          <a:ln w="12700" cmpd="sng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9" name="Straight Connector 108">
            <a:extLst>
              <a:ext uri="{FF2B5EF4-FFF2-40B4-BE49-F238E27FC236}">
                <a16:creationId xmlns:a16="http://schemas.microsoft.com/office/drawing/2014/main" id="{0F38F1A9-5A6B-3F2B-8940-7249EBAB87BB}"/>
              </a:ext>
            </a:extLst>
          </p:cNvPr>
          <p:cNvCxnSpPr>
            <a:stCxn id="94" idx="6"/>
            <a:endCxn id="96" idx="2"/>
          </p:cNvCxnSpPr>
          <p:nvPr/>
        </p:nvCxnSpPr>
        <p:spPr>
          <a:xfrm flipV="1">
            <a:off x="2189754" y="1699793"/>
            <a:ext cx="145287" cy="150821"/>
          </a:xfrm>
          <a:prstGeom prst="line">
            <a:avLst/>
          </a:prstGeom>
          <a:ln w="12700" cmpd="sng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Straight Connector 110">
            <a:extLst>
              <a:ext uri="{FF2B5EF4-FFF2-40B4-BE49-F238E27FC236}">
                <a16:creationId xmlns:a16="http://schemas.microsoft.com/office/drawing/2014/main" id="{1B05A50B-EB7B-BDE3-9EF5-687481ABB96C}"/>
              </a:ext>
            </a:extLst>
          </p:cNvPr>
          <p:cNvCxnSpPr>
            <a:stCxn id="94" idx="6"/>
            <a:endCxn id="97" idx="2"/>
          </p:cNvCxnSpPr>
          <p:nvPr/>
        </p:nvCxnSpPr>
        <p:spPr>
          <a:xfrm>
            <a:off x="2189754" y="1850614"/>
            <a:ext cx="144292" cy="50113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3" name="Straight Connector 112">
            <a:extLst>
              <a:ext uri="{FF2B5EF4-FFF2-40B4-BE49-F238E27FC236}">
                <a16:creationId xmlns:a16="http://schemas.microsoft.com/office/drawing/2014/main" id="{D72B7FC4-F4F4-3688-332B-A762D72D668B}"/>
              </a:ext>
            </a:extLst>
          </p:cNvPr>
          <p:cNvCxnSpPr>
            <a:cxnSpLocks/>
            <a:stCxn id="95" idx="6"/>
            <a:endCxn id="98" idx="2"/>
          </p:cNvCxnSpPr>
          <p:nvPr/>
        </p:nvCxnSpPr>
        <p:spPr>
          <a:xfrm>
            <a:off x="2475910" y="1509933"/>
            <a:ext cx="159428" cy="76225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5" name="Straight Connector 114">
            <a:extLst>
              <a:ext uri="{FF2B5EF4-FFF2-40B4-BE49-F238E27FC236}">
                <a16:creationId xmlns:a16="http://schemas.microsoft.com/office/drawing/2014/main" id="{25D1686F-58B5-B658-1C95-458C1965F20B}"/>
              </a:ext>
            </a:extLst>
          </p:cNvPr>
          <p:cNvCxnSpPr>
            <a:stCxn id="96" idx="6"/>
            <a:endCxn id="99" idx="2"/>
          </p:cNvCxnSpPr>
          <p:nvPr/>
        </p:nvCxnSpPr>
        <p:spPr>
          <a:xfrm>
            <a:off x="2479041" y="1699793"/>
            <a:ext cx="156297" cy="150821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7" name="Straight Connector 116">
            <a:extLst>
              <a:ext uri="{FF2B5EF4-FFF2-40B4-BE49-F238E27FC236}">
                <a16:creationId xmlns:a16="http://schemas.microsoft.com/office/drawing/2014/main" id="{439E2C3C-86F5-D809-F49A-FCB80677CCF3}"/>
              </a:ext>
            </a:extLst>
          </p:cNvPr>
          <p:cNvCxnSpPr>
            <a:cxnSpLocks/>
            <a:stCxn id="96" idx="6"/>
            <a:endCxn id="98" idx="2"/>
          </p:cNvCxnSpPr>
          <p:nvPr/>
        </p:nvCxnSpPr>
        <p:spPr>
          <a:xfrm flipV="1">
            <a:off x="2479041" y="1586158"/>
            <a:ext cx="156297" cy="113635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9" name="Straight Connector 118">
            <a:extLst>
              <a:ext uri="{FF2B5EF4-FFF2-40B4-BE49-F238E27FC236}">
                <a16:creationId xmlns:a16="http://schemas.microsoft.com/office/drawing/2014/main" id="{CDE7C4C6-D126-E78F-A499-C549A9570246}"/>
              </a:ext>
            </a:extLst>
          </p:cNvPr>
          <p:cNvCxnSpPr>
            <a:stCxn id="95" idx="6"/>
            <a:endCxn id="99" idx="2"/>
          </p:cNvCxnSpPr>
          <p:nvPr/>
        </p:nvCxnSpPr>
        <p:spPr>
          <a:xfrm>
            <a:off x="2475910" y="1509933"/>
            <a:ext cx="159428" cy="340681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3" name="Straight Connector 122">
            <a:extLst>
              <a:ext uri="{FF2B5EF4-FFF2-40B4-BE49-F238E27FC236}">
                <a16:creationId xmlns:a16="http://schemas.microsoft.com/office/drawing/2014/main" id="{AFDCEC3B-64B7-D406-7C1C-4E80C70895F4}"/>
              </a:ext>
            </a:extLst>
          </p:cNvPr>
          <p:cNvCxnSpPr>
            <a:stCxn id="97" idx="6"/>
            <a:endCxn id="99" idx="2"/>
          </p:cNvCxnSpPr>
          <p:nvPr/>
        </p:nvCxnSpPr>
        <p:spPr>
          <a:xfrm flipV="1">
            <a:off x="2478046" y="1850614"/>
            <a:ext cx="157292" cy="50113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965" name="Straight Connector 40964">
            <a:extLst>
              <a:ext uri="{FF2B5EF4-FFF2-40B4-BE49-F238E27FC236}">
                <a16:creationId xmlns:a16="http://schemas.microsoft.com/office/drawing/2014/main" id="{CA989FE5-BB34-5286-60A0-72695B83976D}"/>
              </a:ext>
            </a:extLst>
          </p:cNvPr>
          <p:cNvCxnSpPr>
            <a:stCxn id="91" idx="6"/>
            <a:endCxn id="95" idx="2"/>
          </p:cNvCxnSpPr>
          <p:nvPr/>
        </p:nvCxnSpPr>
        <p:spPr>
          <a:xfrm flipV="1">
            <a:off x="2189754" y="1509933"/>
            <a:ext cx="142156" cy="76225"/>
          </a:xfrm>
          <a:prstGeom prst="line">
            <a:avLst/>
          </a:prstGeom>
          <a:ln w="12700" cmpd="sng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7" name="Fußzeilenplatzhalter 4">
            <a:extLst>
              <a:ext uri="{FF2B5EF4-FFF2-40B4-BE49-F238E27FC236}">
                <a16:creationId xmlns:a16="http://schemas.microsoft.com/office/drawing/2014/main" id="{402E7E94-74E5-CA48-12C8-8DDE4A17979A}"/>
              </a:ext>
            </a:extLst>
          </p:cNvPr>
          <p:cNvSpPr txBox="1">
            <a:spLocks/>
          </p:cNvSpPr>
          <p:nvPr/>
        </p:nvSpPr>
        <p:spPr>
          <a:xfrm>
            <a:off x="311162" y="4854985"/>
            <a:ext cx="7829538" cy="28851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1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r>
              <a:rPr lang="en-US" dirty="0">
                <a:latin typeface="Arial"/>
                <a:cs typeface="Arial"/>
              </a:rPr>
              <a:t>◻︎ Outline | ◻︎ Organizational</a:t>
            </a:r>
            <a:r>
              <a:rPr lang="en-US" b="1" dirty="0">
                <a:latin typeface="Arial"/>
                <a:cs typeface="Arial"/>
              </a:rPr>
              <a:t> </a:t>
            </a:r>
            <a:r>
              <a:rPr lang="en-US" dirty="0">
                <a:latin typeface="Arial"/>
                <a:cs typeface="Arial"/>
              </a:rPr>
              <a:t>structure</a:t>
            </a:r>
            <a:r>
              <a:rPr lang="en-US" b="1" dirty="0">
                <a:latin typeface="Arial"/>
                <a:cs typeface="Arial"/>
              </a:rPr>
              <a:t> </a:t>
            </a:r>
            <a:r>
              <a:rPr lang="en-US" dirty="0">
                <a:latin typeface="Arial"/>
                <a:cs typeface="Arial"/>
              </a:rPr>
              <a:t>| ◼︎ </a:t>
            </a:r>
            <a:r>
              <a:rPr lang="en-US" b="1" dirty="0">
                <a:latin typeface="Arial"/>
                <a:cs typeface="Arial"/>
              </a:rPr>
              <a:t>Research</a:t>
            </a:r>
            <a:r>
              <a:rPr lang="en-US" dirty="0">
                <a:latin typeface="Arial"/>
                <a:cs typeface="Arial"/>
              </a:rPr>
              <a:t> </a:t>
            </a:r>
            <a:r>
              <a:rPr lang="en-US" b="1" dirty="0">
                <a:latin typeface="Arial"/>
                <a:cs typeface="Arial"/>
              </a:rPr>
              <a:t>Topics</a:t>
            </a:r>
            <a:r>
              <a:rPr lang="en-US" dirty="0">
                <a:latin typeface="Arial"/>
                <a:cs typeface="Arial"/>
              </a:rPr>
              <a:t> | ◻︎ ML Pipeline  | ◻︎ Next steps</a:t>
            </a:r>
          </a:p>
        </p:txBody>
      </p:sp>
    </p:spTree>
    <p:extLst>
      <p:ext uri="{BB962C8B-B14F-4D97-AF65-F5344CB8AC3E}">
        <p14:creationId xmlns:p14="http://schemas.microsoft.com/office/powerpoint/2010/main" val="28147038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 advTm="20000"/>
    </mc:Choice>
    <mc:Fallback xmlns="">
      <p:transition spd="slow" advClick="0" advTm="20000"/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1219D72A-4525-4EC1-8602-1AAFCB7146F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651161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1" progId="TCLayout.ActiveDocument.1">
                  <p:embed/>
                </p:oleObj>
              </mc:Choice>
              <mc:Fallback>
                <p:oleObj name="think-cell Slide" r:id="rId3" imgW="592" imgH="591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1219D72A-4525-4EC1-8602-1AAFCB7146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el 2">
            <a:extLst>
              <a:ext uri="{FF2B5EF4-FFF2-40B4-BE49-F238E27FC236}">
                <a16:creationId xmlns:a16="http://schemas.microsoft.com/office/drawing/2014/main" id="{884F3F2D-BFAC-F6F1-B5E3-A7C87A817FA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7501" y="282065"/>
            <a:ext cx="7891317" cy="380810"/>
          </a:xfrm>
        </p:spPr>
        <p:txBody>
          <a:bodyPr vert="horz"/>
          <a:lstStyle/>
          <a:p>
            <a:r>
              <a:rPr lang="de-DE">
                <a:cs typeface="Arial"/>
              </a:rPr>
              <a:t>Exploiting knowledge with </a:t>
            </a:r>
            <a:r>
              <a:rPr lang="de-DE" b="1">
                <a:cs typeface="Arial"/>
              </a:rPr>
              <a:t>transfer learning</a:t>
            </a:r>
            <a:endParaRPr lang="de-DE" b="1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3592946D-A6A4-B777-38C1-2DA43144726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12</a:t>
            </a:fld>
            <a:endParaRPr lang="de-DE"/>
          </a:p>
        </p:txBody>
      </p:sp>
      <p:grpSp>
        <p:nvGrpSpPr>
          <p:cNvPr id="142" name="Group 23">
            <a:extLst>
              <a:ext uri="{FF2B5EF4-FFF2-40B4-BE49-F238E27FC236}">
                <a16:creationId xmlns:a16="http://schemas.microsoft.com/office/drawing/2014/main" id="{53AF198E-BCDC-8475-F4D4-0FE80BA0D161}"/>
              </a:ext>
            </a:extLst>
          </p:cNvPr>
          <p:cNvGrpSpPr>
            <a:grpSpLocks noChangeAspect="1"/>
          </p:cNvGrpSpPr>
          <p:nvPr/>
        </p:nvGrpSpPr>
        <p:grpSpPr>
          <a:xfrm>
            <a:off x="990767" y="2291509"/>
            <a:ext cx="585934" cy="576058"/>
            <a:chOff x="5147571" y="1638283"/>
            <a:chExt cx="1646238" cy="1644650"/>
          </a:xfrm>
        </p:grpSpPr>
        <p:sp>
          <p:nvSpPr>
            <p:cNvPr id="144" name="AutoShape 3">
              <a:extLst>
                <a:ext uri="{FF2B5EF4-FFF2-40B4-BE49-F238E27FC236}">
                  <a16:creationId xmlns:a16="http://schemas.microsoft.com/office/drawing/2014/main" id="{BFD77564-2990-4F16-B4D1-6079AC968ACF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5147571" y="1638283"/>
              <a:ext cx="1646238" cy="16446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200"/>
            </a:p>
          </p:txBody>
        </p:sp>
        <p:grpSp>
          <p:nvGrpSpPr>
            <p:cNvPr id="145" name="Group 25">
              <a:extLst>
                <a:ext uri="{FF2B5EF4-FFF2-40B4-BE49-F238E27FC236}">
                  <a16:creationId xmlns:a16="http://schemas.microsoft.com/office/drawing/2014/main" id="{A397B60F-E541-2CEE-388C-0DA632AF9415}"/>
                </a:ext>
              </a:extLst>
            </p:cNvPr>
            <p:cNvGrpSpPr/>
            <p:nvPr/>
          </p:nvGrpSpPr>
          <p:grpSpPr>
            <a:xfrm>
              <a:off x="5482534" y="1912921"/>
              <a:ext cx="977900" cy="1093788"/>
              <a:chOff x="5482534" y="1912921"/>
              <a:chExt cx="977900" cy="1093788"/>
            </a:xfrm>
          </p:grpSpPr>
          <p:sp>
            <p:nvSpPr>
              <p:cNvPr id="146" name="Freeform 17">
                <a:extLst>
                  <a:ext uri="{FF2B5EF4-FFF2-40B4-BE49-F238E27FC236}">
                    <a16:creationId xmlns:a16="http://schemas.microsoft.com/office/drawing/2014/main" id="{642B10C0-E36A-289F-766E-E2D16F7C016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82534" y="1912921"/>
                <a:ext cx="977900" cy="1093788"/>
              </a:xfrm>
              <a:custGeom>
                <a:avLst/>
                <a:gdLst>
                  <a:gd name="connsiteX0" fmla="*/ 488514 w 977900"/>
                  <a:gd name="connsiteY0" fmla="*/ 61912 h 1093788"/>
                  <a:gd name="connsiteX1" fmla="*/ 917575 w 977900"/>
                  <a:gd name="connsiteY1" fmla="*/ 219512 h 1093788"/>
                  <a:gd name="connsiteX2" fmla="*/ 488514 w 977900"/>
                  <a:gd name="connsiteY2" fmla="*/ 377825 h 1093788"/>
                  <a:gd name="connsiteX3" fmla="*/ 58737 w 977900"/>
                  <a:gd name="connsiteY3" fmla="*/ 224504 h 1093788"/>
                  <a:gd name="connsiteX4" fmla="*/ 58737 w 977900"/>
                  <a:gd name="connsiteY4" fmla="*/ 215233 h 1093788"/>
                  <a:gd name="connsiteX5" fmla="*/ 488514 w 977900"/>
                  <a:gd name="connsiteY5" fmla="*/ 61912 h 1093788"/>
                  <a:gd name="connsiteX6" fmla="*/ 477508 w 977900"/>
                  <a:gd name="connsiteY6" fmla="*/ 28575 h 1093788"/>
                  <a:gd name="connsiteX7" fmla="*/ 173585 w 977900"/>
                  <a:gd name="connsiteY7" fmla="*/ 78482 h 1093788"/>
                  <a:gd name="connsiteX8" fmla="*/ 172155 w 977900"/>
                  <a:gd name="connsiteY8" fmla="*/ 79195 h 1093788"/>
                  <a:gd name="connsiteX9" fmla="*/ 165719 w 977900"/>
                  <a:gd name="connsiteY9" fmla="*/ 81334 h 1093788"/>
                  <a:gd name="connsiteX10" fmla="*/ 164289 w 977900"/>
                  <a:gd name="connsiteY10" fmla="*/ 82047 h 1093788"/>
                  <a:gd name="connsiteX11" fmla="*/ 157138 w 977900"/>
                  <a:gd name="connsiteY11" fmla="*/ 84899 h 1093788"/>
                  <a:gd name="connsiteX12" fmla="*/ 149271 w 977900"/>
                  <a:gd name="connsiteY12" fmla="*/ 88463 h 1093788"/>
                  <a:gd name="connsiteX13" fmla="*/ 144981 w 977900"/>
                  <a:gd name="connsiteY13" fmla="*/ 89889 h 1093788"/>
                  <a:gd name="connsiteX14" fmla="*/ 142835 w 977900"/>
                  <a:gd name="connsiteY14" fmla="*/ 91315 h 1093788"/>
                  <a:gd name="connsiteX15" fmla="*/ 50586 w 977900"/>
                  <a:gd name="connsiteY15" fmla="*/ 153342 h 1093788"/>
                  <a:gd name="connsiteX16" fmla="*/ 49156 w 977900"/>
                  <a:gd name="connsiteY16" fmla="*/ 154768 h 1093788"/>
                  <a:gd name="connsiteX17" fmla="*/ 47726 w 977900"/>
                  <a:gd name="connsiteY17" fmla="*/ 156907 h 1093788"/>
                  <a:gd name="connsiteX18" fmla="*/ 44150 w 977900"/>
                  <a:gd name="connsiteY18" fmla="*/ 161185 h 1093788"/>
                  <a:gd name="connsiteX19" fmla="*/ 43435 w 977900"/>
                  <a:gd name="connsiteY19" fmla="*/ 161898 h 1093788"/>
                  <a:gd name="connsiteX20" fmla="*/ 41289 w 977900"/>
                  <a:gd name="connsiteY20" fmla="*/ 165463 h 1093788"/>
                  <a:gd name="connsiteX21" fmla="*/ 39859 w 977900"/>
                  <a:gd name="connsiteY21" fmla="*/ 167602 h 1093788"/>
                  <a:gd name="connsiteX22" fmla="*/ 38429 w 977900"/>
                  <a:gd name="connsiteY22" fmla="*/ 169740 h 1093788"/>
                  <a:gd name="connsiteX23" fmla="*/ 36999 w 977900"/>
                  <a:gd name="connsiteY23" fmla="*/ 171879 h 1093788"/>
                  <a:gd name="connsiteX24" fmla="*/ 36284 w 977900"/>
                  <a:gd name="connsiteY24" fmla="*/ 174018 h 1093788"/>
                  <a:gd name="connsiteX25" fmla="*/ 34853 w 977900"/>
                  <a:gd name="connsiteY25" fmla="*/ 176870 h 1093788"/>
                  <a:gd name="connsiteX26" fmla="*/ 34138 w 977900"/>
                  <a:gd name="connsiteY26" fmla="*/ 178296 h 1093788"/>
                  <a:gd name="connsiteX27" fmla="*/ 32708 w 977900"/>
                  <a:gd name="connsiteY27" fmla="*/ 181148 h 1093788"/>
                  <a:gd name="connsiteX28" fmla="*/ 31993 w 977900"/>
                  <a:gd name="connsiteY28" fmla="*/ 182574 h 1093788"/>
                  <a:gd name="connsiteX29" fmla="*/ 31278 w 977900"/>
                  <a:gd name="connsiteY29" fmla="*/ 186138 h 1093788"/>
                  <a:gd name="connsiteX30" fmla="*/ 30563 w 977900"/>
                  <a:gd name="connsiteY30" fmla="*/ 187564 h 1093788"/>
                  <a:gd name="connsiteX31" fmla="*/ 29848 w 977900"/>
                  <a:gd name="connsiteY31" fmla="*/ 190416 h 1093788"/>
                  <a:gd name="connsiteX32" fmla="*/ 29133 w 977900"/>
                  <a:gd name="connsiteY32" fmla="*/ 191842 h 1093788"/>
                  <a:gd name="connsiteX33" fmla="*/ 28417 w 977900"/>
                  <a:gd name="connsiteY33" fmla="*/ 195407 h 1093788"/>
                  <a:gd name="connsiteX34" fmla="*/ 28417 w 977900"/>
                  <a:gd name="connsiteY34" fmla="*/ 196833 h 1093788"/>
                  <a:gd name="connsiteX35" fmla="*/ 27702 w 977900"/>
                  <a:gd name="connsiteY35" fmla="*/ 199685 h 1093788"/>
                  <a:gd name="connsiteX36" fmla="*/ 27702 w 977900"/>
                  <a:gd name="connsiteY36" fmla="*/ 201823 h 1093788"/>
                  <a:gd name="connsiteX37" fmla="*/ 26987 w 977900"/>
                  <a:gd name="connsiteY37" fmla="*/ 203962 h 1093788"/>
                  <a:gd name="connsiteX38" fmla="*/ 26987 w 977900"/>
                  <a:gd name="connsiteY38" fmla="*/ 208953 h 1093788"/>
                  <a:gd name="connsiteX39" fmla="*/ 26987 w 977900"/>
                  <a:gd name="connsiteY39" fmla="*/ 210379 h 1093788"/>
                  <a:gd name="connsiteX40" fmla="*/ 26987 w 977900"/>
                  <a:gd name="connsiteY40" fmla="*/ 211092 h 1093788"/>
                  <a:gd name="connsiteX41" fmla="*/ 26987 w 977900"/>
                  <a:gd name="connsiteY41" fmla="*/ 211805 h 1093788"/>
                  <a:gd name="connsiteX42" fmla="*/ 26987 w 977900"/>
                  <a:gd name="connsiteY42" fmla="*/ 215370 h 1093788"/>
                  <a:gd name="connsiteX43" fmla="*/ 27702 w 977900"/>
                  <a:gd name="connsiteY43" fmla="*/ 217508 h 1093788"/>
                  <a:gd name="connsiteX44" fmla="*/ 27702 w 977900"/>
                  <a:gd name="connsiteY44" fmla="*/ 876280 h 1093788"/>
                  <a:gd name="connsiteX45" fmla="*/ 26987 w 977900"/>
                  <a:gd name="connsiteY45" fmla="*/ 878419 h 1093788"/>
                  <a:gd name="connsiteX46" fmla="*/ 26987 w 977900"/>
                  <a:gd name="connsiteY46" fmla="*/ 881983 h 1093788"/>
                  <a:gd name="connsiteX47" fmla="*/ 26987 w 977900"/>
                  <a:gd name="connsiteY47" fmla="*/ 882696 h 1093788"/>
                  <a:gd name="connsiteX48" fmla="*/ 26987 w 977900"/>
                  <a:gd name="connsiteY48" fmla="*/ 883409 h 1093788"/>
                  <a:gd name="connsiteX49" fmla="*/ 26987 w 977900"/>
                  <a:gd name="connsiteY49" fmla="*/ 884835 h 1093788"/>
                  <a:gd name="connsiteX50" fmla="*/ 26987 w 977900"/>
                  <a:gd name="connsiteY50" fmla="*/ 889826 h 1093788"/>
                  <a:gd name="connsiteX51" fmla="*/ 27702 w 977900"/>
                  <a:gd name="connsiteY51" fmla="*/ 891965 h 1093788"/>
                  <a:gd name="connsiteX52" fmla="*/ 27702 w 977900"/>
                  <a:gd name="connsiteY52" fmla="*/ 894104 h 1093788"/>
                  <a:gd name="connsiteX53" fmla="*/ 28417 w 977900"/>
                  <a:gd name="connsiteY53" fmla="*/ 896956 h 1093788"/>
                  <a:gd name="connsiteX54" fmla="*/ 28417 w 977900"/>
                  <a:gd name="connsiteY54" fmla="*/ 898381 h 1093788"/>
                  <a:gd name="connsiteX55" fmla="*/ 29133 w 977900"/>
                  <a:gd name="connsiteY55" fmla="*/ 901946 h 1093788"/>
                  <a:gd name="connsiteX56" fmla="*/ 29848 w 977900"/>
                  <a:gd name="connsiteY56" fmla="*/ 903372 h 1093788"/>
                  <a:gd name="connsiteX57" fmla="*/ 30563 w 977900"/>
                  <a:gd name="connsiteY57" fmla="*/ 906224 h 1093788"/>
                  <a:gd name="connsiteX58" fmla="*/ 31278 w 977900"/>
                  <a:gd name="connsiteY58" fmla="*/ 907650 h 1093788"/>
                  <a:gd name="connsiteX59" fmla="*/ 31993 w 977900"/>
                  <a:gd name="connsiteY59" fmla="*/ 911215 h 1093788"/>
                  <a:gd name="connsiteX60" fmla="*/ 32708 w 977900"/>
                  <a:gd name="connsiteY60" fmla="*/ 912641 h 1093788"/>
                  <a:gd name="connsiteX61" fmla="*/ 34138 w 977900"/>
                  <a:gd name="connsiteY61" fmla="*/ 915492 h 1093788"/>
                  <a:gd name="connsiteX62" fmla="*/ 34853 w 977900"/>
                  <a:gd name="connsiteY62" fmla="*/ 916918 h 1093788"/>
                  <a:gd name="connsiteX63" fmla="*/ 36284 w 977900"/>
                  <a:gd name="connsiteY63" fmla="*/ 919770 h 1093788"/>
                  <a:gd name="connsiteX64" fmla="*/ 36999 w 977900"/>
                  <a:gd name="connsiteY64" fmla="*/ 921909 h 1093788"/>
                  <a:gd name="connsiteX65" fmla="*/ 38429 w 977900"/>
                  <a:gd name="connsiteY65" fmla="*/ 924048 h 1093788"/>
                  <a:gd name="connsiteX66" fmla="*/ 39859 w 977900"/>
                  <a:gd name="connsiteY66" fmla="*/ 926187 h 1093788"/>
                  <a:gd name="connsiteX67" fmla="*/ 41289 w 977900"/>
                  <a:gd name="connsiteY67" fmla="*/ 928326 h 1093788"/>
                  <a:gd name="connsiteX68" fmla="*/ 43435 w 977900"/>
                  <a:gd name="connsiteY68" fmla="*/ 931890 h 1093788"/>
                  <a:gd name="connsiteX69" fmla="*/ 44150 w 977900"/>
                  <a:gd name="connsiteY69" fmla="*/ 931890 h 1093788"/>
                  <a:gd name="connsiteX70" fmla="*/ 47726 w 977900"/>
                  <a:gd name="connsiteY70" fmla="*/ 936881 h 1093788"/>
                  <a:gd name="connsiteX71" fmla="*/ 49156 w 977900"/>
                  <a:gd name="connsiteY71" fmla="*/ 939020 h 1093788"/>
                  <a:gd name="connsiteX72" fmla="*/ 50586 w 977900"/>
                  <a:gd name="connsiteY72" fmla="*/ 940446 h 1093788"/>
                  <a:gd name="connsiteX73" fmla="*/ 142835 w 977900"/>
                  <a:gd name="connsiteY73" fmla="*/ 1002473 h 1093788"/>
                  <a:gd name="connsiteX74" fmla="*/ 144981 w 977900"/>
                  <a:gd name="connsiteY74" fmla="*/ 1003899 h 1093788"/>
                  <a:gd name="connsiteX75" fmla="*/ 149271 w 977900"/>
                  <a:gd name="connsiteY75" fmla="*/ 1005325 h 1093788"/>
                  <a:gd name="connsiteX76" fmla="*/ 157138 w 977900"/>
                  <a:gd name="connsiteY76" fmla="*/ 1008890 h 1093788"/>
                  <a:gd name="connsiteX77" fmla="*/ 162859 w 977900"/>
                  <a:gd name="connsiteY77" fmla="*/ 1011029 h 1093788"/>
                  <a:gd name="connsiteX78" fmla="*/ 164289 w 977900"/>
                  <a:gd name="connsiteY78" fmla="*/ 1011741 h 1093788"/>
                  <a:gd name="connsiteX79" fmla="*/ 172155 w 977900"/>
                  <a:gd name="connsiteY79" fmla="*/ 1014593 h 1093788"/>
                  <a:gd name="connsiteX80" fmla="*/ 172870 w 977900"/>
                  <a:gd name="connsiteY80" fmla="*/ 1015306 h 1093788"/>
                  <a:gd name="connsiteX81" fmla="*/ 477508 w 977900"/>
                  <a:gd name="connsiteY81" fmla="*/ 1065213 h 1093788"/>
                  <a:gd name="connsiteX82" fmla="*/ 486089 w 977900"/>
                  <a:gd name="connsiteY82" fmla="*/ 1065213 h 1093788"/>
                  <a:gd name="connsiteX83" fmla="*/ 488950 w 977900"/>
                  <a:gd name="connsiteY83" fmla="*/ 1065213 h 1093788"/>
                  <a:gd name="connsiteX84" fmla="*/ 491810 w 977900"/>
                  <a:gd name="connsiteY84" fmla="*/ 1065213 h 1093788"/>
                  <a:gd name="connsiteX85" fmla="*/ 500392 w 977900"/>
                  <a:gd name="connsiteY85" fmla="*/ 1065213 h 1093788"/>
                  <a:gd name="connsiteX86" fmla="*/ 805029 w 977900"/>
                  <a:gd name="connsiteY86" fmla="*/ 1015306 h 1093788"/>
                  <a:gd name="connsiteX87" fmla="*/ 805744 w 977900"/>
                  <a:gd name="connsiteY87" fmla="*/ 1014593 h 1093788"/>
                  <a:gd name="connsiteX88" fmla="*/ 813611 w 977900"/>
                  <a:gd name="connsiteY88" fmla="*/ 1011741 h 1093788"/>
                  <a:gd name="connsiteX89" fmla="*/ 814326 w 977900"/>
                  <a:gd name="connsiteY89" fmla="*/ 1011741 h 1093788"/>
                  <a:gd name="connsiteX90" fmla="*/ 820762 w 977900"/>
                  <a:gd name="connsiteY90" fmla="*/ 1008890 h 1093788"/>
                  <a:gd name="connsiteX91" fmla="*/ 828628 w 977900"/>
                  <a:gd name="connsiteY91" fmla="*/ 1005325 h 1093788"/>
                  <a:gd name="connsiteX92" fmla="*/ 832919 w 977900"/>
                  <a:gd name="connsiteY92" fmla="*/ 1003899 h 1093788"/>
                  <a:gd name="connsiteX93" fmla="*/ 835064 w 977900"/>
                  <a:gd name="connsiteY93" fmla="*/ 1002473 h 1093788"/>
                  <a:gd name="connsiteX94" fmla="*/ 927314 w 977900"/>
                  <a:gd name="connsiteY94" fmla="*/ 940446 h 1093788"/>
                  <a:gd name="connsiteX95" fmla="*/ 928744 w 977900"/>
                  <a:gd name="connsiteY95" fmla="*/ 939020 h 1093788"/>
                  <a:gd name="connsiteX96" fmla="*/ 930174 w 977900"/>
                  <a:gd name="connsiteY96" fmla="*/ 936881 h 1093788"/>
                  <a:gd name="connsiteX97" fmla="*/ 933750 w 977900"/>
                  <a:gd name="connsiteY97" fmla="*/ 931890 h 1093788"/>
                  <a:gd name="connsiteX98" fmla="*/ 934465 w 977900"/>
                  <a:gd name="connsiteY98" fmla="*/ 931890 h 1093788"/>
                  <a:gd name="connsiteX99" fmla="*/ 936610 w 977900"/>
                  <a:gd name="connsiteY99" fmla="*/ 928326 h 1093788"/>
                  <a:gd name="connsiteX100" fmla="*/ 938040 w 977900"/>
                  <a:gd name="connsiteY100" fmla="*/ 926187 h 1093788"/>
                  <a:gd name="connsiteX101" fmla="*/ 939470 w 977900"/>
                  <a:gd name="connsiteY101" fmla="*/ 924048 h 1093788"/>
                  <a:gd name="connsiteX102" fmla="*/ 940901 w 977900"/>
                  <a:gd name="connsiteY102" fmla="*/ 921909 h 1093788"/>
                  <a:gd name="connsiteX103" fmla="*/ 941616 w 977900"/>
                  <a:gd name="connsiteY103" fmla="*/ 919770 h 1093788"/>
                  <a:gd name="connsiteX104" fmla="*/ 943046 w 977900"/>
                  <a:gd name="connsiteY104" fmla="*/ 916918 h 1093788"/>
                  <a:gd name="connsiteX105" fmla="*/ 943761 w 977900"/>
                  <a:gd name="connsiteY105" fmla="*/ 915492 h 1093788"/>
                  <a:gd name="connsiteX106" fmla="*/ 945191 w 977900"/>
                  <a:gd name="connsiteY106" fmla="*/ 912641 h 1093788"/>
                  <a:gd name="connsiteX107" fmla="*/ 945906 w 977900"/>
                  <a:gd name="connsiteY107" fmla="*/ 911215 h 1093788"/>
                  <a:gd name="connsiteX108" fmla="*/ 946622 w 977900"/>
                  <a:gd name="connsiteY108" fmla="*/ 907650 h 1093788"/>
                  <a:gd name="connsiteX109" fmla="*/ 947337 w 977900"/>
                  <a:gd name="connsiteY109" fmla="*/ 906224 h 1093788"/>
                  <a:gd name="connsiteX110" fmla="*/ 948052 w 977900"/>
                  <a:gd name="connsiteY110" fmla="*/ 903372 h 1093788"/>
                  <a:gd name="connsiteX111" fmla="*/ 948767 w 977900"/>
                  <a:gd name="connsiteY111" fmla="*/ 901946 h 1093788"/>
                  <a:gd name="connsiteX112" fmla="*/ 949482 w 977900"/>
                  <a:gd name="connsiteY112" fmla="*/ 898381 h 1093788"/>
                  <a:gd name="connsiteX113" fmla="*/ 949482 w 977900"/>
                  <a:gd name="connsiteY113" fmla="*/ 896956 h 1093788"/>
                  <a:gd name="connsiteX114" fmla="*/ 950197 w 977900"/>
                  <a:gd name="connsiteY114" fmla="*/ 894104 h 1093788"/>
                  <a:gd name="connsiteX115" fmla="*/ 950197 w 977900"/>
                  <a:gd name="connsiteY115" fmla="*/ 891965 h 1093788"/>
                  <a:gd name="connsiteX116" fmla="*/ 950912 w 977900"/>
                  <a:gd name="connsiteY116" fmla="*/ 889826 h 1093788"/>
                  <a:gd name="connsiteX117" fmla="*/ 950912 w 977900"/>
                  <a:gd name="connsiteY117" fmla="*/ 884835 h 1093788"/>
                  <a:gd name="connsiteX118" fmla="*/ 950912 w 977900"/>
                  <a:gd name="connsiteY118" fmla="*/ 208240 h 1093788"/>
                  <a:gd name="connsiteX119" fmla="*/ 950912 w 977900"/>
                  <a:gd name="connsiteY119" fmla="*/ 206101 h 1093788"/>
                  <a:gd name="connsiteX120" fmla="*/ 950912 w 977900"/>
                  <a:gd name="connsiteY120" fmla="*/ 203249 h 1093788"/>
                  <a:gd name="connsiteX121" fmla="*/ 950197 w 977900"/>
                  <a:gd name="connsiteY121" fmla="*/ 200398 h 1093788"/>
                  <a:gd name="connsiteX122" fmla="*/ 949482 w 977900"/>
                  <a:gd name="connsiteY122" fmla="*/ 196833 h 1093788"/>
                  <a:gd name="connsiteX123" fmla="*/ 949482 w 977900"/>
                  <a:gd name="connsiteY123" fmla="*/ 195407 h 1093788"/>
                  <a:gd name="connsiteX124" fmla="*/ 948767 w 977900"/>
                  <a:gd name="connsiteY124" fmla="*/ 192555 h 1093788"/>
                  <a:gd name="connsiteX125" fmla="*/ 885122 w 977900"/>
                  <a:gd name="connsiteY125" fmla="*/ 117695 h 1093788"/>
                  <a:gd name="connsiteX126" fmla="*/ 880831 w 977900"/>
                  <a:gd name="connsiteY126" fmla="*/ 114843 h 1093788"/>
                  <a:gd name="connsiteX127" fmla="*/ 879401 w 977900"/>
                  <a:gd name="connsiteY127" fmla="*/ 114130 h 1093788"/>
                  <a:gd name="connsiteX128" fmla="*/ 875110 w 977900"/>
                  <a:gd name="connsiteY128" fmla="*/ 111278 h 1093788"/>
                  <a:gd name="connsiteX129" fmla="*/ 873680 w 977900"/>
                  <a:gd name="connsiteY129" fmla="*/ 110565 h 1093788"/>
                  <a:gd name="connsiteX130" fmla="*/ 870105 w 977900"/>
                  <a:gd name="connsiteY130" fmla="*/ 108426 h 1093788"/>
                  <a:gd name="connsiteX131" fmla="*/ 867959 w 977900"/>
                  <a:gd name="connsiteY131" fmla="*/ 107000 h 1093788"/>
                  <a:gd name="connsiteX132" fmla="*/ 864384 w 977900"/>
                  <a:gd name="connsiteY132" fmla="*/ 104861 h 1093788"/>
                  <a:gd name="connsiteX133" fmla="*/ 861523 w 977900"/>
                  <a:gd name="connsiteY133" fmla="*/ 103436 h 1093788"/>
                  <a:gd name="connsiteX134" fmla="*/ 858663 w 977900"/>
                  <a:gd name="connsiteY134" fmla="*/ 102010 h 1093788"/>
                  <a:gd name="connsiteX135" fmla="*/ 855087 w 977900"/>
                  <a:gd name="connsiteY135" fmla="*/ 99871 h 1093788"/>
                  <a:gd name="connsiteX136" fmla="*/ 852227 w 977900"/>
                  <a:gd name="connsiteY136" fmla="*/ 98445 h 1093788"/>
                  <a:gd name="connsiteX137" fmla="*/ 848651 w 977900"/>
                  <a:gd name="connsiteY137" fmla="*/ 97019 h 1093788"/>
                  <a:gd name="connsiteX138" fmla="*/ 845791 w 977900"/>
                  <a:gd name="connsiteY138" fmla="*/ 95593 h 1093788"/>
                  <a:gd name="connsiteX139" fmla="*/ 841500 w 977900"/>
                  <a:gd name="connsiteY139" fmla="*/ 93454 h 1093788"/>
                  <a:gd name="connsiteX140" fmla="*/ 839355 w 977900"/>
                  <a:gd name="connsiteY140" fmla="*/ 92028 h 1093788"/>
                  <a:gd name="connsiteX141" fmla="*/ 834349 w 977900"/>
                  <a:gd name="connsiteY141" fmla="*/ 90602 h 1093788"/>
                  <a:gd name="connsiteX142" fmla="*/ 830773 w 977900"/>
                  <a:gd name="connsiteY142" fmla="*/ 88463 h 1093788"/>
                  <a:gd name="connsiteX143" fmla="*/ 827198 w 977900"/>
                  <a:gd name="connsiteY143" fmla="*/ 87038 h 1093788"/>
                  <a:gd name="connsiteX144" fmla="*/ 821477 w 977900"/>
                  <a:gd name="connsiteY144" fmla="*/ 84899 h 1093788"/>
                  <a:gd name="connsiteX145" fmla="*/ 820047 w 977900"/>
                  <a:gd name="connsiteY145" fmla="*/ 84186 h 1093788"/>
                  <a:gd name="connsiteX146" fmla="*/ 812180 w 977900"/>
                  <a:gd name="connsiteY146" fmla="*/ 80621 h 1093788"/>
                  <a:gd name="connsiteX147" fmla="*/ 795733 w 977900"/>
                  <a:gd name="connsiteY147" fmla="*/ 74917 h 1093788"/>
                  <a:gd name="connsiteX148" fmla="*/ 795018 w 977900"/>
                  <a:gd name="connsiteY148" fmla="*/ 74917 h 1093788"/>
                  <a:gd name="connsiteX149" fmla="*/ 778570 w 977900"/>
                  <a:gd name="connsiteY149" fmla="*/ 69214 h 1093788"/>
                  <a:gd name="connsiteX150" fmla="*/ 777855 w 977900"/>
                  <a:gd name="connsiteY150" fmla="*/ 68501 h 1093788"/>
                  <a:gd name="connsiteX151" fmla="*/ 760692 w 977900"/>
                  <a:gd name="connsiteY151" fmla="*/ 63510 h 1093788"/>
                  <a:gd name="connsiteX152" fmla="*/ 759977 w 977900"/>
                  <a:gd name="connsiteY152" fmla="*/ 63510 h 1093788"/>
                  <a:gd name="connsiteX153" fmla="*/ 742815 w 977900"/>
                  <a:gd name="connsiteY153" fmla="*/ 58519 h 1093788"/>
                  <a:gd name="connsiteX154" fmla="*/ 741384 w 977900"/>
                  <a:gd name="connsiteY154" fmla="*/ 58519 h 1093788"/>
                  <a:gd name="connsiteX155" fmla="*/ 723507 w 977900"/>
                  <a:gd name="connsiteY155" fmla="*/ 54242 h 1093788"/>
                  <a:gd name="connsiteX156" fmla="*/ 722076 w 977900"/>
                  <a:gd name="connsiteY156" fmla="*/ 53529 h 1093788"/>
                  <a:gd name="connsiteX157" fmla="*/ 704198 w 977900"/>
                  <a:gd name="connsiteY157" fmla="*/ 49251 h 1093788"/>
                  <a:gd name="connsiteX158" fmla="*/ 702768 w 977900"/>
                  <a:gd name="connsiteY158" fmla="*/ 49251 h 1093788"/>
                  <a:gd name="connsiteX159" fmla="*/ 684175 w 977900"/>
                  <a:gd name="connsiteY159" fmla="*/ 45686 h 1093788"/>
                  <a:gd name="connsiteX160" fmla="*/ 682745 w 977900"/>
                  <a:gd name="connsiteY160" fmla="*/ 45686 h 1093788"/>
                  <a:gd name="connsiteX161" fmla="*/ 664152 w 977900"/>
                  <a:gd name="connsiteY161" fmla="*/ 42121 h 1093788"/>
                  <a:gd name="connsiteX162" fmla="*/ 662007 w 977900"/>
                  <a:gd name="connsiteY162" fmla="*/ 42121 h 1093788"/>
                  <a:gd name="connsiteX163" fmla="*/ 643414 w 977900"/>
                  <a:gd name="connsiteY163" fmla="*/ 39269 h 1093788"/>
                  <a:gd name="connsiteX164" fmla="*/ 641984 w 977900"/>
                  <a:gd name="connsiteY164" fmla="*/ 38557 h 1093788"/>
                  <a:gd name="connsiteX165" fmla="*/ 621961 w 977900"/>
                  <a:gd name="connsiteY165" fmla="*/ 36418 h 1093788"/>
                  <a:gd name="connsiteX166" fmla="*/ 620530 w 977900"/>
                  <a:gd name="connsiteY166" fmla="*/ 35705 h 1093788"/>
                  <a:gd name="connsiteX167" fmla="*/ 600507 w 977900"/>
                  <a:gd name="connsiteY167" fmla="*/ 33566 h 1093788"/>
                  <a:gd name="connsiteX168" fmla="*/ 599792 w 977900"/>
                  <a:gd name="connsiteY168" fmla="*/ 33566 h 1093788"/>
                  <a:gd name="connsiteX169" fmla="*/ 578339 w 977900"/>
                  <a:gd name="connsiteY169" fmla="*/ 32140 h 1093788"/>
                  <a:gd name="connsiteX170" fmla="*/ 577624 w 977900"/>
                  <a:gd name="connsiteY170" fmla="*/ 32140 h 1093788"/>
                  <a:gd name="connsiteX171" fmla="*/ 556170 w 977900"/>
                  <a:gd name="connsiteY171" fmla="*/ 30714 h 1093788"/>
                  <a:gd name="connsiteX172" fmla="*/ 534002 w 977900"/>
                  <a:gd name="connsiteY172" fmla="*/ 29288 h 1093788"/>
                  <a:gd name="connsiteX173" fmla="*/ 488950 w 977900"/>
                  <a:gd name="connsiteY173" fmla="*/ 28575 h 1093788"/>
                  <a:gd name="connsiteX174" fmla="*/ 477508 w 977900"/>
                  <a:gd name="connsiteY174" fmla="*/ 28575 h 1093788"/>
                  <a:gd name="connsiteX175" fmla="*/ 488950 w 977900"/>
                  <a:gd name="connsiteY175" fmla="*/ 0 h 1093788"/>
                  <a:gd name="connsiteX176" fmla="*/ 821579 w 977900"/>
                  <a:gd name="connsiteY176" fmla="*/ 54903 h 1093788"/>
                  <a:gd name="connsiteX177" fmla="*/ 976473 w 977900"/>
                  <a:gd name="connsiteY177" fmla="*/ 192518 h 1093788"/>
                  <a:gd name="connsiteX178" fmla="*/ 977900 w 977900"/>
                  <a:gd name="connsiteY178" fmla="*/ 198935 h 1093788"/>
                  <a:gd name="connsiteX179" fmla="*/ 977900 w 977900"/>
                  <a:gd name="connsiteY179" fmla="*/ 884870 h 1093788"/>
                  <a:gd name="connsiteX180" fmla="*/ 488950 w 977900"/>
                  <a:gd name="connsiteY180" fmla="*/ 1093788 h 1093788"/>
                  <a:gd name="connsiteX181" fmla="*/ 0 w 977900"/>
                  <a:gd name="connsiteY181" fmla="*/ 884870 h 1093788"/>
                  <a:gd name="connsiteX182" fmla="*/ 714 w 977900"/>
                  <a:gd name="connsiteY182" fmla="*/ 873462 h 1093788"/>
                  <a:gd name="connsiteX183" fmla="*/ 714 w 977900"/>
                  <a:gd name="connsiteY183" fmla="*/ 220326 h 1093788"/>
                  <a:gd name="connsiteX184" fmla="*/ 0 w 977900"/>
                  <a:gd name="connsiteY184" fmla="*/ 208918 h 1093788"/>
                  <a:gd name="connsiteX185" fmla="*/ 488950 w 977900"/>
                  <a:gd name="connsiteY185" fmla="*/ 0 h 10937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</a:cxnLst>
                <a:rect l="l" t="t" r="r" b="b"/>
                <a:pathLst>
                  <a:path w="977900" h="1093788">
                    <a:moveTo>
                      <a:pt x="488514" y="61912"/>
                    </a:moveTo>
                    <a:cubicBezTo>
                      <a:pt x="725213" y="61912"/>
                      <a:pt x="917575" y="132511"/>
                      <a:pt x="917575" y="219512"/>
                    </a:cubicBezTo>
                    <a:cubicBezTo>
                      <a:pt x="917575" y="306513"/>
                      <a:pt x="725213" y="377825"/>
                      <a:pt x="488514" y="377825"/>
                    </a:cubicBezTo>
                    <a:cubicBezTo>
                      <a:pt x="255390" y="377825"/>
                      <a:pt x="65173" y="308652"/>
                      <a:pt x="58737" y="224504"/>
                    </a:cubicBezTo>
                    <a:cubicBezTo>
                      <a:pt x="58737" y="224504"/>
                      <a:pt x="58737" y="224504"/>
                      <a:pt x="58737" y="215233"/>
                    </a:cubicBezTo>
                    <a:cubicBezTo>
                      <a:pt x="65173" y="129659"/>
                      <a:pt x="255390" y="61912"/>
                      <a:pt x="488514" y="61912"/>
                    </a:cubicBezTo>
                    <a:close/>
                    <a:moveTo>
                      <a:pt x="477508" y="28575"/>
                    </a:moveTo>
                    <a:cubicBezTo>
                      <a:pt x="361660" y="30001"/>
                      <a:pt x="254393" y="48538"/>
                      <a:pt x="173585" y="78482"/>
                    </a:cubicBezTo>
                    <a:cubicBezTo>
                      <a:pt x="173585" y="78482"/>
                      <a:pt x="172870" y="78482"/>
                      <a:pt x="172155" y="79195"/>
                    </a:cubicBezTo>
                    <a:cubicBezTo>
                      <a:pt x="170010" y="79908"/>
                      <a:pt x="167864" y="80621"/>
                      <a:pt x="165719" y="81334"/>
                    </a:cubicBezTo>
                    <a:cubicBezTo>
                      <a:pt x="165719" y="81334"/>
                      <a:pt x="165004" y="82047"/>
                      <a:pt x="164289" y="82047"/>
                    </a:cubicBezTo>
                    <a:cubicBezTo>
                      <a:pt x="162143" y="82760"/>
                      <a:pt x="159283" y="84186"/>
                      <a:pt x="157138" y="84899"/>
                    </a:cubicBezTo>
                    <a:cubicBezTo>
                      <a:pt x="154277" y="86325"/>
                      <a:pt x="151417" y="87038"/>
                      <a:pt x="149271" y="88463"/>
                    </a:cubicBezTo>
                    <a:cubicBezTo>
                      <a:pt x="147841" y="89176"/>
                      <a:pt x="146411" y="89176"/>
                      <a:pt x="144981" y="89889"/>
                    </a:cubicBezTo>
                    <a:cubicBezTo>
                      <a:pt x="144266" y="90602"/>
                      <a:pt x="143551" y="90602"/>
                      <a:pt x="142835" y="91315"/>
                    </a:cubicBezTo>
                    <a:cubicBezTo>
                      <a:pt x="102074" y="109139"/>
                      <a:pt x="70609" y="130528"/>
                      <a:pt x="50586" y="153342"/>
                    </a:cubicBezTo>
                    <a:cubicBezTo>
                      <a:pt x="49871" y="154055"/>
                      <a:pt x="49871" y="154768"/>
                      <a:pt x="49156" y="154768"/>
                    </a:cubicBezTo>
                    <a:cubicBezTo>
                      <a:pt x="48441" y="155481"/>
                      <a:pt x="47726" y="156194"/>
                      <a:pt x="47726" y="156907"/>
                    </a:cubicBezTo>
                    <a:cubicBezTo>
                      <a:pt x="46295" y="158333"/>
                      <a:pt x="44865" y="159759"/>
                      <a:pt x="44150" y="161185"/>
                    </a:cubicBezTo>
                    <a:cubicBezTo>
                      <a:pt x="44150" y="161898"/>
                      <a:pt x="43435" y="161898"/>
                      <a:pt x="43435" y="161898"/>
                    </a:cubicBezTo>
                    <a:cubicBezTo>
                      <a:pt x="42720" y="163324"/>
                      <a:pt x="42005" y="164750"/>
                      <a:pt x="41289" y="165463"/>
                    </a:cubicBezTo>
                    <a:cubicBezTo>
                      <a:pt x="40574" y="166176"/>
                      <a:pt x="40574" y="166889"/>
                      <a:pt x="39859" y="167602"/>
                    </a:cubicBezTo>
                    <a:cubicBezTo>
                      <a:pt x="39859" y="168315"/>
                      <a:pt x="39144" y="169027"/>
                      <a:pt x="38429" y="169740"/>
                    </a:cubicBezTo>
                    <a:cubicBezTo>
                      <a:pt x="38429" y="170453"/>
                      <a:pt x="37714" y="171166"/>
                      <a:pt x="36999" y="171879"/>
                    </a:cubicBezTo>
                    <a:cubicBezTo>
                      <a:pt x="36999" y="172592"/>
                      <a:pt x="36284" y="173305"/>
                      <a:pt x="36284" y="174018"/>
                    </a:cubicBezTo>
                    <a:cubicBezTo>
                      <a:pt x="35569" y="174731"/>
                      <a:pt x="35569" y="176157"/>
                      <a:pt x="34853" y="176870"/>
                    </a:cubicBezTo>
                    <a:cubicBezTo>
                      <a:pt x="34853" y="177583"/>
                      <a:pt x="34138" y="177583"/>
                      <a:pt x="34138" y="178296"/>
                    </a:cubicBezTo>
                    <a:cubicBezTo>
                      <a:pt x="33423" y="179722"/>
                      <a:pt x="33423" y="180435"/>
                      <a:pt x="32708" y="181148"/>
                    </a:cubicBezTo>
                    <a:cubicBezTo>
                      <a:pt x="32708" y="181861"/>
                      <a:pt x="32708" y="182574"/>
                      <a:pt x="31993" y="182574"/>
                    </a:cubicBezTo>
                    <a:cubicBezTo>
                      <a:pt x="31993" y="184000"/>
                      <a:pt x="31278" y="184712"/>
                      <a:pt x="31278" y="186138"/>
                    </a:cubicBezTo>
                    <a:cubicBezTo>
                      <a:pt x="31278" y="186138"/>
                      <a:pt x="30563" y="186851"/>
                      <a:pt x="30563" y="187564"/>
                    </a:cubicBezTo>
                    <a:cubicBezTo>
                      <a:pt x="30563" y="188277"/>
                      <a:pt x="29848" y="189703"/>
                      <a:pt x="29848" y="190416"/>
                    </a:cubicBezTo>
                    <a:cubicBezTo>
                      <a:pt x="29848" y="191129"/>
                      <a:pt x="29133" y="191129"/>
                      <a:pt x="29133" y="191842"/>
                    </a:cubicBezTo>
                    <a:cubicBezTo>
                      <a:pt x="29133" y="193268"/>
                      <a:pt x="29133" y="193981"/>
                      <a:pt x="28417" y="195407"/>
                    </a:cubicBezTo>
                    <a:cubicBezTo>
                      <a:pt x="28417" y="195407"/>
                      <a:pt x="28417" y="196120"/>
                      <a:pt x="28417" y="196833"/>
                    </a:cubicBezTo>
                    <a:cubicBezTo>
                      <a:pt x="28417" y="197546"/>
                      <a:pt x="27702" y="198972"/>
                      <a:pt x="27702" y="199685"/>
                    </a:cubicBezTo>
                    <a:cubicBezTo>
                      <a:pt x="27702" y="200398"/>
                      <a:pt x="27702" y="201110"/>
                      <a:pt x="27702" y="201823"/>
                    </a:cubicBezTo>
                    <a:cubicBezTo>
                      <a:pt x="27702" y="202536"/>
                      <a:pt x="27702" y="203249"/>
                      <a:pt x="26987" y="203962"/>
                    </a:cubicBezTo>
                    <a:cubicBezTo>
                      <a:pt x="26987" y="206101"/>
                      <a:pt x="26987" y="207527"/>
                      <a:pt x="26987" y="208953"/>
                    </a:cubicBezTo>
                    <a:cubicBezTo>
                      <a:pt x="26987" y="209666"/>
                      <a:pt x="26987" y="209666"/>
                      <a:pt x="26987" y="210379"/>
                    </a:cubicBezTo>
                    <a:cubicBezTo>
                      <a:pt x="26987" y="211092"/>
                      <a:pt x="26987" y="211092"/>
                      <a:pt x="26987" y="211092"/>
                    </a:cubicBezTo>
                    <a:cubicBezTo>
                      <a:pt x="26987" y="211092"/>
                      <a:pt x="26987" y="211805"/>
                      <a:pt x="26987" y="211805"/>
                    </a:cubicBezTo>
                    <a:cubicBezTo>
                      <a:pt x="26987" y="211805"/>
                      <a:pt x="26987" y="211805"/>
                      <a:pt x="26987" y="215370"/>
                    </a:cubicBezTo>
                    <a:cubicBezTo>
                      <a:pt x="26987" y="215370"/>
                      <a:pt x="26987" y="215370"/>
                      <a:pt x="27702" y="217508"/>
                    </a:cubicBezTo>
                    <a:cubicBezTo>
                      <a:pt x="27702" y="217508"/>
                      <a:pt x="27702" y="217508"/>
                      <a:pt x="27702" y="876280"/>
                    </a:cubicBezTo>
                    <a:cubicBezTo>
                      <a:pt x="27702" y="876280"/>
                      <a:pt x="27702" y="876280"/>
                      <a:pt x="26987" y="878419"/>
                    </a:cubicBezTo>
                    <a:cubicBezTo>
                      <a:pt x="26987" y="878419"/>
                      <a:pt x="26987" y="878419"/>
                      <a:pt x="26987" y="881983"/>
                    </a:cubicBezTo>
                    <a:cubicBezTo>
                      <a:pt x="26987" y="881983"/>
                      <a:pt x="26987" y="882696"/>
                      <a:pt x="26987" y="882696"/>
                    </a:cubicBezTo>
                    <a:cubicBezTo>
                      <a:pt x="26987" y="882696"/>
                      <a:pt x="26987" y="882696"/>
                      <a:pt x="26987" y="883409"/>
                    </a:cubicBezTo>
                    <a:cubicBezTo>
                      <a:pt x="26987" y="884122"/>
                      <a:pt x="26987" y="884122"/>
                      <a:pt x="26987" y="884835"/>
                    </a:cubicBezTo>
                    <a:cubicBezTo>
                      <a:pt x="26987" y="886261"/>
                      <a:pt x="26987" y="887687"/>
                      <a:pt x="26987" y="889826"/>
                    </a:cubicBezTo>
                    <a:cubicBezTo>
                      <a:pt x="27702" y="890539"/>
                      <a:pt x="27702" y="891252"/>
                      <a:pt x="27702" y="891965"/>
                    </a:cubicBezTo>
                    <a:cubicBezTo>
                      <a:pt x="27702" y="892678"/>
                      <a:pt x="27702" y="893391"/>
                      <a:pt x="27702" y="894104"/>
                    </a:cubicBezTo>
                    <a:cubicBezTo>
                      <a:pt x="27702" y="894817"/>
                      <a:pt x="28417" y="896243"/>
                      <a:pt x="28417" y="896956"/>
                    </a:cubicBezTo>
                    <a:cubicBezTo>
                      <a:pt x="28417" y="897669"/>
                      <a:pt x="28417" y="898381"/>
                      <a:pt x="28417" y="898381"/>
                    </a:cubicBezTo>
                    <a:cubicBezTo>
                      <a:pt x="29133" y="899807"/>
                      <a:pt x="29133" y="900520"/>
                      <a:pt x="29133" y="901946"/>
                    </a:cubicBezTo>
                    <a:cubicBezTo>
                      <a:pt x="29133" y="902659"/>
                      <a:pt x="29848" y="902659"/>
                      <a:pt x="29848" y="903372"/>
                    </a:cubicBezTo>
                    <a:cubicBezTo>
                      <a:pt x="29848" y="904085"/>
                      <a:pt x="30563" y="905511"/>
                      <a:pt x="30563" y="906224"/>
                    </a:cubicBezTo>
                    <a:cubicBezTo>
                      <a:pt x="30563" y="906937"/>
                      <a:pt x="31278" y="907650"/>
                      <a:pt x="31278" y="907650"/>
                    </a:cubicBezTo>
                    <a:cubicBezTo>
                      <a:pt x="31278" y="909076"/>
                      <a:pt x="31993" y="909789"/>
                      <a:pt x="31993" y="911215"/>
                    </a:cubicBezTo>
                    <a:cubicBezTo>
                      <a:pt x="32708" y="911215"/>
                      <a:pt x="32708" y="911928"/>
                      <a:pt x="32708" y="912641"/>
                    </a:cubicBezTo>
                    <a:cubicBezTo>
                      <a:pt x="33423" y="913354"/>
                      <a:pt x="33423" y="914066"/>
                      <a:pt x="34138" y="915492"/>
                    </a:cubicBezTo>
                    <a:cubicBezTo>
                      <a:pt x="34138" y="916205"/>
                      <a:pt x="34853" y="916205"/>
                      <a:pt x="34853" y="916918"/>
                    </a:cubicBezTo>
                    <a:cubicBezTo>
                      <a:pt x="35569" y="917631"/>
                      <a:pt x="35569" y="919057"/>
                      <a:pt x="36284" y="919770"/>
                    </a:cubicBezTo>
                    <a:cubicBezTo>
                      <a:pt x="36284" y="920483"/>
                      <a:pt x="36999" y="921196"/>
                      <a:pt x="36999" y="921909"/>
                    </a:cubicBezTo>
                    <a:cubicBezTo>
                      <a:pt x="37714" y="922622"/>
                      <a:pt x="38429" y="923335"/>
                      <a:pt x="38429" y="924048"/>
                    </a:cubicBezTo>
                    <a:cubicBezTo>
                      <a:pt x="39144" y="924761"/>
                      <a:pt x="39859" y="925474"/>
                      <a:pt x="39859" y="926187"/>
                    </a:cubicBezTo>
                    <a:cubicBezTo>
                      <a:pt x="40574" y="926900"/>
                      <a:pt x="40574" y="927613"/>
                      <a:pt x="41289" y="928326"/>
                    </a:cubicBezTo>
                    <a:cubicBezTo>
                      <a:pt x="42005" y="929039"/>
                      <a:pt x="42720" y="930464"/>
                      <a:pt x="43435" y="931890"/>
                    </a:cubicBezTo>
                    <a:cubicBezTo>
                      <a:pt x="43435" y="931890"/>
                      <a:pt x="44150" y="931890"/>
                      <a:pt x="44150" y="931890"/>
                    </a:cubicBezTo>
                    <a:cubicBezTo>
                      <a:pt x="44865" y="934029"/>
                      <a:pt x="46295" y="935455"/>
                      <a:pt x="47726" y="936881"/>
                    </a:cubicBezTo>
                    <a:cubicBezTo>
                      <a:pt x="47726" y="937594"/>
                      <a:pt x="48441" y="938307"/>
                      <a:pt x="49156" y="939020"/>
                    </a:cubicBezTo>
                    <a:cubicBezTo>
                      <a:pt x="49871" y="939020"/>
                      <a:pt x="49871" y="939733"/>
                      <a:pt x="50586" y="940446"/>
                    </a:cubicBezTo>
                    <a:cubicBezTo>
                      <a:pt x="70609" y="963260"/>
                      <a:pt x="102074" y="984649"/>
                      <a:pt x="142835" y="1002473"/>
                    </a:cubicBezTo>
                    <a:cubicBezTo>
                      <a:pt x="143551" y="1003186"/>
                      <a:pt x="144266" y="1003186"/>
                      <a:pt x="144981" y="1003899"/>
                    </a:cubicBezTo>
                    <a:cubicBezTo>
                      <a:pt x="146411" y="1004612"/>
                      <a:pt x="147841" y="1005325"/>
                      <a:pt x="149271" y="1005325"/>
                    </a:cubicBezTo>
                    <a:cubicBezTo>
                      <a:pt x="151417" y="1006751"/>
                      <a:pt x="154277" y="1008177"/>
                      <a:pt x="157138" y="1008890"/>
                    </a:cubicBezTo>
                    <a:cubicBezTo>
                      <a:pt x="159283" y="1009603"/>
                      <a:pt x="160713" y="1010316"/>
                      <a:pt x="162859" y="1011029"/>
                    </a:cubicBezTo>
                    <a:cubicBezTo>
                      <a:pt x="163574" y="1011741"/>
                      <a:pt x="163574" y="1011741"/>
                      <a:pt x="164289" y="1011741"/>
                    </a:cubicBezTo>
                    <a:cubicBezTo>
                      <a:pt x="167149" y="1013167"/>
                      <a:pt x="170010" y="1013880"/>
                      <a:pt x="172155" y="1014593"/>
                    </a:cubicBezTo>
                    <a:cubicBezTo>
                      <a:pt x="172870" y="1015306"/>
                      <a:pt x="172870" y="1015306"/>
                      <a:pt x="172870" y="1015306"/>
                    </a:cubicBezTo>
                    <a:cubicBezTo>
                      <a:pt x="253678" y="1045250"/>
                      <a:pt x="360945" y="1063787"/>
                      <a:pt x="477508" y="1065213"/>
                    </a:cubicBezTo>
                    <a:cubicBezTo>
                      <a:pt x="480368" y="1065213"/>
                      <a:pt x="483229" y="1065213"/>
                      <a:pt x="486089" y="1065213"/>
                    </a:cubicBezTo>
                    <a:cubicBezTo>
                      <a:pt x="486804" y="1065213"/>
                      <a:pt x="488235" y="1065213"/>
                      <a:pt x="488950" y="1065213"/>
                    </a:cubicBezTo>
                    <a:cubicBezTo>
                      <a:pt x="489665" y="1065213"/>
                      <a:pt x="491095" y="1065213"/>
                      <a:pt x="491810" y="1065213"/>
                    </a:cubicBezTo>
                    <a:cubicBezTo>
                      <a:pt x="494671" y="1065213"/>
                      <a:pt x="497531" y="1065213"/>
                      <a:pt x="500392" y="1065213"/>
                    </a:cubicBezTo>
                    <a:cubicBezTo>
                      <a:pt x="616955" y="1063787"/>
                      <a:pt x="724222" y="1045250"/>
                      <a:pt x="805029" y="1015306"/>
                    </a:cubicBezTo>
                    <a:cubicBezTo>
                      <a:pt x="805029" y="1015306"/>
                      <a:pt x="805029" y="1015306"/>
                      <a:pt x="805744" y="1014593"/>
                    </a:cubicBezTo>
                    <a:cubicBezTo>
                      <a:pt x="807890" y="1013880"/>
                      <a:pt x="810750" y="1013167"/>
                      <a:pt x="813611" y="1011741"/>
                    </a:cubicBezTo>
                    <a:cubicBezTo>
                      <a:pt x="813611" y="1011741"/>
                      <a:pt x="814326" y="1011741"/>
                      <a:pt x="814326" y="1011741"/>
                    </a:cubicBezTo>
                    <a:cubicBezTo>
                      <a:pt x="816471" y="1010316"/>
                      <a:pt x="818616" y="1009603"/>
                      <a:pt x="820762" y="1008890"/>
                    </a:cubicBezTo>
                    <a:cubicBezTo>
                      <a:pt x="823622" y="1008177"/>
                      <a:pt x="826483" y="1006751"/>
                      <a:pt x="828628" y="1005325"/>
                    </a:cubicBezTo>
                    <a:cubicBezTo>
                      <a:pt x="830058" y="1005325"/>
                      <a:pt x="831488" y="1004612"/>
                      <a:pt x="832919" y="1003899"/>
                    </a:cubicBezTo>
                    <a:cubicBezTo>
                      <a:pt x="833634" y="1003186"/>
                      <a:pt x="834349" y="1003186"/>
                      <a:pt x="835064" y="1002473"/>
                    </a:cubicBezTo>
                    <a:cubicBezTo>
                      <a:pt x="875825" y="984649"/>
                      <a:pt x="907290" y="963260"/>
                      <a:pt x="927314" y="940446"/>
                    </a:cubicBezTo>
                    <a:cubicBezTo>
                      <a:pt x="928029" y="939733"/>
                      <a:pt x="928029" y="939020"/>
                      <a:pt x="928744" y="939020"/>
                    </a:cubicBezTo>
                    <a:cubicBezTo>
                      <a:pt x="929459" y="938307"/>
                      <a:pt x="930174" y="937594"/>
                      <a:pt x="930174" y="936881"/>
                    </a:cubicBezTo>
                    <a:cubicBezTo>
                      <a:pt x="931604" y="935455"/>
                      <a:pt x="933034" y="934029"/>
                      <a:pt x="933750" y="931890"/>
                    </a:cubicBezTo>
                    <a:cubicBezTo>
                      <a:pt x="933750" y="931890"/>
                      <a:pt x="934465" y="931890"/>
                      <a:pt x="934465" y="931890"/>
                    </a:cubicBezTo>
                    <a:cubicBezTo>
                      <a:pt x="935180" y="930464"/>
                      <a:pt x="935895" y="929039"/>
                      <a:pt x="936610" y="928326"/>
                    </a:cubicBezTo>
                    <a:cubicBezTo>
                      <a:pt x="937325" y="927613"/>
                      <a:pt x="937325" y="926900"/>
                      <a:pt x="938040" y="926187"/>
                    </a:cubicBezTo>
                    <a:cubicBezTo>
                      <a:pt x="938040" y="925474"/>
                      <a:pt x="938755" y="924761"/>
                      <a:pt x="939470" y="924048"/>
                    </a:cubicBezTo>
                    <a:cubicBezTo>
                      <a:pt x="939470" y="923335"/>
                      <a:pt x="940186" y="922622"/>
                      <a:pt x="940901" y="921909"/>
                    </a:cubicBezTo>
                    <a:cubicBezTo>
                      <a:pt x="940901" y="921196"/>
                      <a:pt x="941616" y="920483"/>
                      <a:pt x="941616" y="919770"/>
                    </a:cubicBezTo>
                    <a:cubicBezTo>
                      <a:pt x="942331" y="919057"/>
                      <a:pt x="942331" y="917631"/>
                      <a:pt x="943046" y="916918"/>
                    </a:cubicBezTo>
                    <a:cubicBezTo>
                      <a:pt x="943046" y="916205"/>
                      <a:pt x="943761" y="916205"/>
                      <a:pt x="943761" y="915492"/>
                    </a:cubicBezTo>
                    <a:cubicBezTo>
                      <a:pt x="944476" y="914066"/>
                      <a:pt x="944476" y="913354"/>
                      <a:pt x="945191" y="912641"/>
                    </a:cubicBezTo>
                    <a:cubicBezTo>
                      <a:pt x="945191" y="911928"/>
                      <a:pt x="945191" y="911215"/>
                      <a:pt x="945906" y="911215"/>
                    </a:cubicBezTo>
                    <a:cubicBezTo>
                      <a:pt x="945906" y="909789"/>
                      <a:pt x="946622" y="909076"/>
                      <a:pt x="946622" y="907650"/>
                    </a:cubicBezTo>
                    <a:cubicBezTo>
                      <a:pt x="946622" y="907650"/>
                      <a:pt x="947337" y="906937"/>
                      <a:pt x="947337" y="906224"/>
                    </a:cubicBezTo>
                    <a:cubicBezTo>
                      <a:pt x="947337" y="905511"/>
                      <a:pt x="948052" y="904085"/>
                      <a:pt x="948052" y="903372"/>
                    </a:cubicBezTo>
                    <a:cubicBezTo>
                      <a:pt x="948052" y="902659"/>
                      <a:pt x="948767" y="902659"/>
                      <a:pt x="948767" y="901946"/>
                    </a:cubicBezTo>
                    <a:cubicBezTo>
                      <a:pt x="948767" y="900520"/>
                      <a:pt x="948767" y="899807"/>
                      <a:pt x="949482" y="898381"/>
                    </a:cubicBezTo>
                    <a:cubicBezTo>
                      <a:pt x="949482" y="898381"/>
                      <a:pt x="949482" y="897669"/>
                      <a:pt x="949482" y="896956"/>
                    </a:cubicBezTo>
                    <a:cubicBezTo>
                      <a:pt x="949482" y="896243"/>
                      <a:pt x="950197" y="894817"/>
                      <a:pt x="950197" y="894104"/>
                    </a:cubicBezTo>
                    <a:cubicBezTo>
                      <a:pt x="950197" y="893391"/>
                      <a:pt x="950197" y="892678"/>
                      <a:pt x="950197" y="891965"/>
                    </a:cubicBezTo>
                    <a:cubicBezTo>
                      <a:pt x="950197" y="891252"/>
                      <a:pt x="950197" y="890539"/>
                      <a:pt x="950912" y="889826"/>
                    </a:cubicBezTo>
                    <a:cubicBezTo>
                      <a:pt x="950912" y="887687"/>
                      <a:pt x="950912" y="886261"/>
                      <a:pt x="950912" y="884835"/>
                    </a:cubicBezTo>
                    <a:cubicBezTo>
                      <a:pt x="950912" y="884835"/>
                      <a:pt x="950912" y="879132"/>
                      <a:pt x="950912" y="208240"/>
                    </a:cubicBezTo>
                    <a:cubicBezTo>
                      <a:pt x="950912" y="207527"/>
                      <a:pt x="950912" y="206814"/>
                      <a:pt x="950912" y="206101"/>
                    </a:cubicBezTo>
                    <a:cubicBezTo>
                      <a:pt x="950912" y="205388"/>
                      <a:pt x="950912" y="203962"/>
                      <a:pt x="950912" y="203249"/>
                    </a:cubicBezTo>
                    <a:cubicBezTo>
                      <a:pt x="950912" y="201823"/>
                      <a:pt x="950912" y="201110"/>
                      <a:pt x="950197" y="200398"/>
                    </a:cubicBezTo>
                    <a:cubicBezTo>
                      <a:pt x="950197" y="198972"/>
                      <a:pt x="949482" y="197546"/>
                      <a:pt x="949482" y="196833"/>
                    </a:cubicBezTo>
                    <a:cubicBezTo>
                      <a:pt x="949482" y="196120"/>
                      <a:pt x="949482" y="196120"/>
                      <a:pt x="949482" y="195407"/>
                    </a:cubicBezTo>
                    <a:cubicBezTo>
                      <a:pt x="948767" y="194694"/>
                      <a:pt x="948767" y="193268"/>
                      <a:pt x="948767" y="192555"/>
                    </a:cubicBezTo>
                    <a:cubicBezTo>
                      <a:pt x="942331" y="166176"/>
                      <a:pt x="920162" y="140509"/>
                      <a:pt x="885122" y="117695"/>
                    </a:cubicBezTo>
                    <a:cubicBezTo>
                      <a:pt x="883692" y="116982"/>
                      <a:pt x="882261" y="115556"/>
                      <a:pt x="880831" y="114843"/>
                    </a:cubicBezTo>
                    <a:cubicBezTo>
                      <a:pt x="880116" y="114130"/>
                      <a:pt x="880116" y="114130"/>
                      <a:pt x="879401" y="114130"/>
                    </a:cubicBezTo>
                    <a:cubicBezTo>
                      <a:pt x="877971" y="113417"/>
                      <a:pt x="876541" y="111991"/>
                      <a:pt x="875110" y="111278"/>
                    </a:cubicBezTo>
                    <a:cubicBezTo>
                      <a:pt x="875110" y="111278"/>
                      <a:pt x="874395" y="110565"/>
                      <a:pt x="873680" y="110565"/>
                    </a:cubicBezTo>
                    <a:cubicBezTo>
                      <a:pt x="872250" y="109852"/>
                      <a:pt x="871535" y="109139"/>
                      <a:pt x="870105" y="108426"/>
                    </a:cubicBezTo>
                    <a:cubicBezTo>
                      <a:pt x="869389" y="107713"/>
                      <a:pt x="868674" y="107713"/>
                      <a:pt x="867959" y="107000"/>
                    </a:cubicBezTo>
                    <a:cubicBezTo>
                      <a:pt x="866529" y="106287"/>
                      <a:pt x="865814" y="105574"/>
                      <a:pt x="864384" y="104861"/>
                    </a:cubicBezTo>
                    <a:cubicBezTo>
                      <a:pt x="863669" y="104861"/>
                      <a:pt x="862238" y="104148"/>
                      <a:pt x="861523" y="103436"/>
                    </a:cubicBezTo>
                    <a:cubicBezTo>
                      <a:pt x="860808" y="102723"/>
                      <a:pt x="859378" y="102723"/>
                      <a:pt x="858663" y="102010"/>
                    </a:cubicBezTo>
                    <a:cubicBezTo>
                      <a:pt x="857233" y="101297"/>
                      <a:pt x="856517" y="100584"/>
                      <a:pt x="855087" y="99871"/>
                    </a:cubicBezTo>
                    <a:cubicBezTo>
                      <a:pt x="854372" y="99871"/>
                      <a:pt x="852942" y="99158"/>
                      <a:pt x="852227" y="98445"/>
                    </a:cubicBezTo>
                    <a:cubicBezTo>
                      <a:pt x="850797" y="98445"/>
                      <a:pt x="849366" y="97732"/>
                      <a:pt x="848651" y="97019"/>
                    </a:cubicBezTo>
                    <a:cubicBezTo>
                      <a:pt x="847221" y="96306"/>
                      <a:pt x="846506" y="96306"/>
                      <a:pt x="845791" y="95593"/>
                    </a:cubicBezTo>
                    <a:cubicBezTo>
                      <a:pt x="844360" y="94880"/>
                      <a:pt x="842930" y="94167"/>
                      <a:pt x="841500" y="93454"/>
                    </a:cubicBezTo>
                    <a:cubicBezTo>
                      <a:pt x="840785" y="93454"/>
                      <a:pt x="840070" y="92741"/>
                      <a:pt x="839355" y="92028"/>
                    </a:cubicBezTo>
                    <a:cubicBezTo>
                      <a:pt x="837209" y="91315"/>
                      <a:pt x="835779" y="90602"/>
                      <a:pt x="834349" y="90602"/>
                    </a:cubicBezTo>
                    <a:cubicBezTo>
                      <a:pt x="833634" y="89889"/>
                      <a:pt x="832204" y="89176"/>
                      <a:pt x="830773" y="88463"/>
                    </a:cubicBezTo>
                    <a:cubicBezTo>
                      <a:pt x="830058" y="88463"/>
                      <a:pt x="828628" y="87750"/>
                      <a:pt x="827198" y="87038"/>
                    </a:cubicBezTo>
                    <a:cubicBezTo>
                      <a:pt x="825768" y="86325"/>
                      <a:pt x="823622" y="85612"/>
                      <a:pt x="821477" y="84899"/>
                    </a:cubicBezTo>
                    <a:cubicBezTo>
                      <a:pt x="820762" y="84186"/>
                      <a:pt x="820762" y="84186"/>
                      <a:pt x="820047" y="84186"/>
                    </a:cubicBezTo>
                    <a:cubicBezTo>
                      <a:pt x="817186" y="82760"/>
                      <a:pt x="815041" y="82047"/>
                      <a:pt x="812180" y="80621"/>
                    </a:cubicBezTo>
                    <a:cubicBezTo>
                      <a:pt x="806460" y="78482"/>
                      <a:pt x="801454" y="77056"/>
                      <a:pt x="795733" y="74917"/>
                    </a:cubicBezTo>
                    <a:cubicBezTo>
                      <a:pt x="795733" y="74917"/>
                      <a:pt x="795733" y="74917"/>
                      <a:pt x="795018" y="74917"/>
                    </a:cubicBezTo>
                    <a:cubicBezTo>
                      <a:pt x="790012" y="72778"/>
                      <a:pt x="784291" y="70640"/>
                      <a:pt x="778570" y="69214"/>
                    </a:cubicBezTo>
                    <a:cubicBezTo>
                      <a:pt x="778570" y="69214"/>
                      <a:pt x="777855" y="69214"/>
                      <a:pt x="777855" y="68501"/>
                    </a:cubicBezTo>
                    <a:cubicBezTo>
                      <a:pt x="772134" y="67075"/>
                      <a:pt x="766413" y="65649"/>
                      <a:pt x="760692" y="63510"/>
                    </a:cubicBezTo>
                    <a:cubicBezTo>
                      <a:pt x="760692" y="63510"/>
                      <a:pt x="759977" y="63510"/>
                      <a:pt x="759977" y="63510"/>
                    </a:cubicBezTo>
                    <a:cubicBezTo>
                      <a:pt x="754256" y="61371"/>
                      <a:pt x="748535" y="59945"/>
                      <a:pt x="742815" y="58519"/>
                    </a:cubicBezTo>
                    <a:cubicBezTo>
                      <a:pt x="742099" y="58519"/>
                      <a:pt x="741384" y="58519"/>
                      <a:pt x="741384" y="58519"/>
                    </a:cubicBezTo>
                    <a:cubicBezTo>
                      <a:pt x="735663" y="56380"/>
                      <a:pt x="729227" y="54954"/>
                      <a:pt x="723507" y="54242"/>
                    </a:cubicBezTo>
                    <a:cubicBezTo>
                      <a:pt x="722791" y="53529"/>
                      <a:pt x="722791" y="53529"/>
                      <a:pt x="722076" y="53529"/>
                    </a:cubicBezTo>
                    <a:cubicBezTo>
                      <a:pt x="716355" y="52103"/>
                      <a:pt x="709919" y="50677"/>
                      <a:pt x="704198" y="49251"/>
                    </a:cubicBezTo>
                    <a:cubicBezTo>
                      <a:pt x="703483" y="49251"/>
                      <a:pt x="703483" y="49251"/>
                      <a:pt x="702768" y="49251"/>
                    </a:cubicBezTo>
                    <a:cubicBezTo>
                      <a:pt x="696332" y="47825"/>
                      <a:pt x="690611" y="47112"/>
                      <a:pt x="684175" y="45686"/>
                    </a:cubicBezTo>
                    <a:cubicBezTo>
                      <a:pt x="683460" y="45686"/>
                      <a:pt x="683460" y="45686"/>
                      <a:pt x="682745" y="45686"/>
                    </a:cubicBezTo>
                    <a:cubicBezTo>
                      <a:pt x="676309" y="44260"/>
                      <a:pt x="670588" y="42834"/>
                      <a:pt x="664152" y="42121"/>
                    </a:cubicBezTo>
                    <a:cubicBezTo>
                      <a:pt x="663437" y="42121"/>
                      <a:pt x="662722" y="42121"/>
                      <a:pt x="662007" y="42121"/>
                    </a:cubicBezTo>
                    <a:cubicBezTo>
                      <a:pt x="656286" y="40695"/>
                      <a:pt x="649850" y="39982"/>
                      <a:pt x="643414" y="39269"/>
                    </a:cubicBezTo>
                    <a:cubicBezTo>
                      <a:pt x="642699" y="38557"/>
                      <a:pt x="641984" y="38557"/>
                      <a:pt x="641984" y="38557"/>
                    </a:cubicBezTo>
                    <a:cubicBezTo>
                      <a:pt x="635548" y="37844"/>
                      <a:pt x="628397" y="37131"/>
                      <a:pt x="621961" y="36418"/>
                    </a:cubicBezTo>
                    <a:cubicBezTo>
                      <a:pt x="621245" y="36418"/>
                      <a:pt x="621245" y="36418"/>
                      <a:pt x="620530" y="35705"/>
                    </a:cubicBezTo>
                    <a:cubicBezTo>
                      <a:pt x="614094" y="34992"/>
                      <a:pt x="606943" y="34279"/>
                      <a:pt x="600507" y="33566"/>
                    </a:cubicBezTo>
                    <a:cubicBezTo>
                      <a:pt x="599792" y="33566"/>
                      <a:pt x="599792" y="33566"/>
                      <a:pt x="599792" y="33566"/>
                    </a:cubicBezTo>
                    <a:cubicBezTo>
                      <a:pt x="592641" y="32853"/>
                      <a:pt x="585490" y="32140"/>
                      <a:pt x="578339" y="32140"/>
                    </a:cubicBezTo>
                    <a:cubicBezTo>
                      <a:pt x="578339" y="32140"/>
                      <a:pt x="578339" y="32140"/>
                      <a:pt x="577624" y="32140"/>
                    </a:cubicBezTo>
                    <a:cubicBezTo>
                      <a:pt x="570473" y="31427"/>
                      <a:pt x="563321" y="30714"/>
                      <a:pt x="556170" y="30714"/>
                    </a:cubicBezTo>
                    <a:cubicBezTo>
                      <a:pt x="549019" y="30001"/>
                      <a:pt x="541153" y="29288"/>
                      <a:pt x="534002" y="29288"/>
                    </a:cubicBezTo>
                    <a:cubicBezTo>
                      <a:pt x="518984" y="28575"/>
                      <a:pt x="503967" y="28575"/>
                      <a:pt x="488950" y="28575"/>
                    </a:cubicBezTo>
                    <a:cubicBezTo>
                      <a:pt x="485374" y="28575"/>
                      <a:pt x="481083" y="28575"/>
                      <a:pt x="477508" y="28575"/>
                    </a:cubicBezTo>
                    <a:close/>
                    <a:moveTo>
                      <a:pt x="488950" y="0"/>
                    </a:moveTo>
                    <a:cubicBezTo>
                      <a:pt x="613151" y="0"/>
                      <a:pt x="731641" y="19252"/>
                      <a:pt x="821579" y="54903"/>
                    </a:cubicBezTo>
                    <a:cubicBezTo>
                      <a:pt x="912945" y="90555"/>
                      <a:pt x="967193" y="139041"/>
                      <a:pt x="976473" y="192518"/>
                    </a:cubicBezTo>
                    <a:cubicBezTo>
                      <a:pt x="977186" y="193944"/>
                      <a:pt x="977900" y="196083"/>
                      <a:pt x="977900" y="198935"/>
                    </a:cubicBezTo>
                    <a:cubicBezTo>
                      <a:pt x="977900" y="198935"/>
                      <a:pt x="977900" y="198935"/>
                      <a:pt x="977900" y="884870"/>
                    </a:cubicBezTo>
                    <a:cubicBezTo>
                      <a:pt x="977900" y="1001807"/>
                      <a:pt x="763762" y="1093788"/>
                      <a:pt x="488950" y="1093788"/>
                    </a:cubicBezTo>
                    <a:cubicBezTo>
                      <a:pt x="214139" y="1093788"/>
                      <a:pt x="0" y="1001807"/>
                      <a:pt x="0" y="884870"/>
                    </a:cubicBezTo>
                    <a:cubicBezTo>
                      <a:pt x="0" y="881305"/>
                      <a:pt x="0" y="877027"/>
                      <a:pt x="714" y="873462"/>
                    </a:cubicBezTo>
                    <a:cubicBezTo>
                      <a:pt x="714" y="873462"/>
                      <a:pt x="714" y="873462"/>
                      <a:pt x="714" y="220326"/>
                    </a:cubicBezTo>
                    <a:cubicBezTo>
                      <a:pt x="0" y="216761"/>
                      <a:pt x="0" y="212483"/>
                      <a:pt x="0" y="208918"/>
                    </a:cubicBezTo>
                    <a:cubicBezTo>
                      <a:pt x="0" y="91981"/>
                      <a:pt x="214139" y="0"/>
                      <a:pt x="488950" y="0"/>
                    </a:cubicBezTo>
                    <a:close/>
                  </a:path>
                </a:pathLst>
              </a:custGeom>
              <a:solidFill>
                <a:schemeClr val="accent5">
                  <a:lumMod val="50000"/>
                </a:schemeClr>
              </a:solidFill>
              <a:ln>
                <a:noFill/>
              </a:ln>
            </p:spPr>
            <p:txBody>
              <a:bodyPr vert="horz" wrap="square" lIns="73152" tIns="36576" rIns="73152" bIns="36576" numCol="1" anchor="t" anchorCtr="0" compatLnSpc="1">
                <a:prstTxWarp prst="textNoShape">
                  <a:avLst/>
                </a:prstTxWarp>
                <a:noAutofit/>
              </a:bodyPr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200"/>
              </a:p>
            </p:txBody>
          </p:sp>
          <p:sp>
            <p:nvSpPr>
              <p:cNvPr id="147" name="Freeform 18">
                <a:extLst>
                  <a:ext uri="{FF2B5EF4-FFF2-40B4-BE49-F238E27FC236}">
                    <a16:creationId xmlns:a16="http://schemas.microsoft.com/office/drawing/2014/main" id="{68A678C4-0CC9-C533-D161-19F53B7653F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41271" y="2216132"/>
                <a:ext cx="860425" cy="723900"/>
              </a:xfrm>
              <a:custGeom>
                <a:avLst/>
                <a:gdLst>
                  <a:gd name="connsiteX0" fmla="*/ 860425 w 860425"/>
                  <a:gd name="connsiteY0" fmla="*/ 434975 h 723900"/>
                  <a:gd name="connsiteX1" fmla="*/ 860425 w 860425"/>
                  <a:gd name="connsiteY1" fmla="*/ 581935 h 723900"/>
                  <a:gd name="connsiteX2" fmla="*/ 743224 w 860425"/>
                  <a:gd name="connsiteY2" fmla="*/ 679670 h 723900"/>
                  <a:gd name="connsiteX3" fmla="*/ 703919 w 860425"/>
                  <a:gd name="connsiteY3" fmla="*/ 693224 h 723900"/>
                  <a:gd name="connsiteX4" fmla="*/ 430927 w 860425"/>
                  <a:gd name="connsiteY4" fmla="*/ 723900 h 723900"/>
                  <a:gd name="connsiteX5" fmla="*/ 155791 w 860425"/>
                  <a:gd name="connsiteY5" fmla="*/ 693224 h 723900"/>
                  <a:gd name="connsiteX6" fmla="*/ 117201 w 860425"/>
                  <a:gd name="connsiteY6" fmla="*/ 679670 h 723900"/>
                  <a:gd name="connsiteX7" fmla="*/ 0 w 860425"/>
                  <a:gd name="connsiteY7" fmla="*/ 581935 h 723900"/>
                  <a:gd name="connsiteX8" fmla="*/ 0 w 860425"/>
                  <a:gd name="connsiteY8" fmla="*/ 579794 h 723900"/>
                  <a:gd name="connsiteX9" fmla="*/ 715 w 860425"/>
                  <a:gd name="connsiteY9" fmla="*/ 577654 h 723900"/>
                  <a:gd name="connsiteX10" fmla="*/ 715 w 860425"/>
                  <a:gd name="connsiteY10" fmla="*/ 436402 h 723900"/>
                  <a:gd name="connsiteX11" fmla="*/ 430927 w 860425"/>
                  <a:gd name="connsiteY11" fmla="*/ 557679 h 723900"/>
                  <a:gd name="connsiteX12" fmla="*/ 860425 w 860425"/>
                  <a:gd name="connsiteY12" fmla="*/ 434975 h 723900"/>
                  <a:gd name="connsiteX13" fmla="*/ 860425 w 860425"/>
                  <a:gd name="connsiteY13" fmla="*/ 214313 h 723900"/>
                  <a:gd name="connsiteX14" fmla="*/ 860425 w 860425"/>
                  <a:gd name="connsiteY14" fmla="*/ 384562 h 723900"/>
                  <a:gd name="connsiteX15" fmla="*/ 430570 w 860425"/>
                  <a:gd name="connsiteY15" fmla="*/ 511176 h 723900"/>
                  <a:gd name="connsiteX16" fmla="*/ 0 w 860425"/>
                  <a:gd name="connsiteY16" fmla="*/ 385993 h 723900"/>
                  <a:gd name="connsiteX17" fmla="*/ 0 w 860425"/>
                  <a:gd name="connsiteY17" fmla="*/ 215744 h 723900"/>
                  <a:gd name="connsiteX18" fmla="*/ 430570 w 860425"/>
                  <a:gd name="connsiteY18" fmla="*/ 340212 h 723900"/>
                  <a:gd name="connsiteX19" fmla="*/ 860425 w 860425"/>
                  <a:gd name="connsiteY19" fmla="*/ 214313 h 723900"/>
                  <a:gd name="connsiteX20" fmla="*/ 860425 w 860425"/>
                  <a:gd name="connsiteY20" fmla="*/ 0 h 723900"/>
                  <a:gd name="connsiteX21" fmla="*/ 860425 w 860425"/>
                  <a:gd name="connsiteY21" fmla="*/ 165508 h 723900"/>
                  <a:gd name="connsiteX22" fmla="*/ 430570 w 860425"/>
                  <a:gd name="connsiteY22" fmla="*/ 288925 h 723900"/>
                  <a:gd name="connsiteX23" fmla="*/ 0 w 860425"/>
                  <a:gd name="connsiteY23" fmla="*/ 166935 h 723900"/>
                  <a:gd name="connsiteX24" fmla="*/ 0 w 860425"/>
                  <a:gd name="connsiteY24" fmla="*/ 1427 h 723900"/>
                  <a:gd name="connsiteX25" fmla="*/ 430570 w 860425"/>
                  <a:gd name="connsiteY25" fmla="*/ 122704 h 723900"/>
                  <a:gd name="connsiteX26" fmla="*/ 860425 w 860425"/>
                  <a:gd name="connsiteY26" fmla="*/ 0 h 7239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860425" h="723900">
                    <a:moveTo>
                      <a:pt x="860425" y="434975"/>
                    </a:moveTo>
                    <a:cubicBezTo>
                      <a:pt x="860425" y="434975"/>
                      <a:pt x="860425" y="434975"/>
                      <a:pt x="860425" y="581935"/>
                    </a:cubicBezTo>
                    <a:cubicBezTo>
                      <a:pt x="860425" y="614037"/>
                      <a:pt x="815403" y="651847"/>
                      <a:pt x="743224" y="679670"/>
                    </a:cubicBezTo>
                    <a:cubicBezTo>
                      <a:pt x="731076" y="684663"/>
                      <a:pt x="717497" y="688944"/>
                      <a:pt x="703919" y="693224"/>
                    </a:cubicBezTo>
                    <a:cubicBezTo>
                      <a:pt x="629597" y="713199"/>
                      <a:pt x="533835" y="723900"/>
                      <a:pt x="430927" y="723900"/>
                    </a:cubicBezTo>
                    <a:cubicBezTo>
                      <a:pt x="326590" y="723900"/>
                      <a:pt x="230829" y="713199"/>
                      <a:pt x="155791" y="693224"/>
                    </a:cubicBezTo>
                    <a:cubicBezTo>
                      <a:pt x="142213" y="688944"/>
                      <a:pt x="129350" y="684663"/>
                      <a:pt x="117201" y="679670"/>
                    </a:cubicBezTo>
                    <a:cubicBezTo>
                      <a:pt x="45022" y="651847"/>
                      <a:pt x="0" y="614037"/>
                      <a:pt x="0" y="581935"/>
                    </a:cubicBezTo>
                    <a:cubicBezTo>
                      <a:pt x="0" y="581221"/>
                      <a:pt x="0" y="580508"/>
                      <a:pt x="0" y="579794"/>
                    </a:cubicBezTo>
                    <a:cubicBezTo>
                      <a:pt x="0" y="579794"/>
                      <a:pt x="0" y="579794"/>
                      <a:pt x="715" y="577654"/>
                    </a:cubicBezTo>
                    <a:cubicBezTo>
                      <a:pt x="715" y="577654"/>
                      <a:pt x="715" y="577654"/>
                      <a:pt x="715" y="436402"/>
                    </a:cubicBezTo>
                    <a:cubicBezTo>
                      <a:pt x="33588" y="509168"/>
                      <a:pt x="213677" y="557679"/>
                      <a:pt x="430927" y="557679"/>
                    </a:cubicBezTo>
                    <a:cubicBezTo>
                      <a:pt x="648178" y="557679"/>
                      <a:pt x="828981" y="508455"/>
                      <a:pt x="860425" y="434975"/>
                    </a:cubicBezTo>
                    <a:close/>
                    <a:moveTo>
                      <a:pt x="860425" y="214313"/>
                    </a:moveTo>
                    <a:cubicBezTo>
                      <a:pt x="860425" y="214313"/>
                      <a:pt x="860425" y="214313"/>
                      <a:pt x="860425" y="384562"/>
                    </a:cubicBezTo>
                    <a:cubicBezTo>
                      <a:pt x="828955" y="461103"/>
                      <a:pt x="648001" y="511176"/>
                      <a:pt x="430570" y="511176"/>
                    </a:cubicBezTo>
                    <a:cubicBezTo>
                      <a:pt x="213140" y="511176"/>
                      <a:pt x="32901" y="461818"/>
                      <a:pt x="0" y="385993"/>
                    </a:cubicBezTo>
                    <a:cubicBezTo>
                      <a:pt x="0" y="385993"/>
                      <a:pt x="0" y="385993"/>
                      <a:pt x="0" y="215744"/>
                    </a:cubicBezTo>
                    <a:cubicBezTo>
                      <a:pt x="32901" y="290854"/>
                      <a:pt x="213140" y="340212"/>
                      <a:pt x="430570" y="340212"/>
                    </a:cubicBezTo>
                    <a:cubicBezTo>
                      <a:pt x="648001" y="340212"/>
                      <a:pt x="828955" y="290138"/>
                      <a:pt x="860425" y="214313"/>
                    </a:cubicBezTo>
                    <a:close/>
                    <a:moveTo>
                      <a:pt x="860425" y="0"/>
                    </a:moveTo>
                    <a:cubicBezTo>
                      <a:pt x="860425" y="0"/>
                      <a:pt x="860425" y="0"/>
                      <a:pt x="860425" y="165508"/>
                    </a:cubicBezTo>
                    <a:cubicBezTo>
                      <a:pt x="828955" y="239701"/>
                      <a:pt x="648001" y="288925"/>
                      <a:pt x="430570" y="288925"/>
                    </a:cubicBezTo>
                    <a:cubicBezTo>
                      <a:pt x="213140" y="288925"/>
                      <a:pt x="32901" y="240414"/>
                      <a:pt x="0" y="166935"/>
                    </a:cubicBezTo>
                    <a:cubicBezTo>
                      <a:pt x="0" y="166935"/>
                      <a:pt x="0" y="166935"/>
                      <a:pt x="0" y="1427"/>
                    </a:cubicBezTo>
                    <a:cubicBezTo>
                      <a:pt x="32901" y="74193"/>
                      <a:pt x="213140" y="122704"/>
                      <a:pt x="430570" y="122704"/>
                    </a:cubicBezTo>
                    <a:cubicBezTo>
                      <a:pt x="648001" y="122704"/>
                      <a:pt x="828955" y="73480"/>
                      <a:pt x="860425" y="0"/>
                    </a:cubicBezTo>
                    <a:close/>
                  </a:path>
                </a:pathLst>
              </a:custGeom>
              <a:solidFill>
                <a:schemeClr val="accent5"/>
              </a:solidFill>
              <a:ln>
                <a:noFill/>
              </a:ln>
            </p:spPr>
            <p:txBody>
              <a:bodyPr vert="horz" wrap="square" lIns="73152" tIns="36576" rIns="73152" bIns="36576" numCol="1" anchor="t" anchorCtr="0" compatLnSpc="1">
                <a:prstTxWarp prst="textNoShape">
                  <a:avLst/>
                </a:prstTxWarp>
                <a:noAutofit/>
              </a:bodyPr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200"/>
              </a:p>
            </p:txBody>
          </p:sp>
        </p:grpSp>
      </p:grpSp>
      <p:sp>
        <p:nvSpPr>
          <p:cNvPr id="119" name="Pfeil: nach rechts 118">
            <a:extLst>
              <a:ext uri="{FF2B5EF4-FFF2-40B4-BE49-F238E27FC236}">
                <a16:creationId xmlns:a16="http://schemas.microsoft.com/office/drawing/2014/main" id="{3841BC8A-086F-35F3-23F2-8DD61192CC72}"/>
              </a:ext>
            </a:extLst>
          </p:cNvPr>
          <p:cNvSpPr/>
          <p:nvPr/>
        </p:nvSpPr>
        <p:spPr>
          <a:xfrm>
            <a:off x="1097371" y="2158266"/>
            <a:ext cx="372726" cy="143530"/>
          </a:xfrm>
          <a:prstGeom prst="rightArrow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de-DE"/>
          </a:p>
        </p:txBody>
      </p:sp>
      <p:sp>
        <p:nvSpPr>
          <p:cNvPr id="121" name="Textfeld 45">
            <a:extLst>
              <a:ext uri="{FF2B5EF4-FFF2-40B4-BE49-F238E27FC236}">
                <a16:creationId xmlns:a16="http://schemas.microsoft.com/office/drawing/2014/main" id="{75CB6A50-903A-26DB-DCAF-8BFB8E61CBD1}"/>
              </a:ext>
            </a:extLst>
          </p:cNvPr>
          <p:cNvSpPr txBox="1"/>
          <p:nvPr/>
        </p:nvSpPr>
        <p:spPr>
          <a:xfrm>
            <a:off x="116053" y="1457375"/>
            <a:ext cx="2570188" cy="307777"/>
          </a:xfrm>
          <a:prstGeom prst="rect">
            <a:avLst/>
          </a:prstGeom>
          <a:noFill/>
        </p:spPr>
        <p:txBody>
          <a:bodyPr rot="0" spcFirstLastPara="0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400">
                <a:cs typeface="Calibri"/>
              </a:rPr>
              <a:t>Traditional Machine Learning</a:t>
            </a:r>
          </a:p>
        </p:txBody>
      </p:sp>
      <p:grpSp>
        <p:nvGrpSpPr>
          <p:cNvPr id="103" name="Group 23">
            <a:extLst>
              <a:ext uri="{FF2B5EF4-FFF2-40B4-BE49-F238E27FC236}">
                <a16:creationId xmlns:a16="http://schemas.microsoft.com/office/drawing/2014/main" id="{AFD4E663-208C-64B3-0CF1-3D21C8231AF7}"/>
              </a:ext>
            </a:extLst>
          </p:cNvPr>
          <p:cNvGrpSpPr>
            <a:grpSpLocks noChangeAspect="1"/>
          </p:cNvGrpSpPr>
          <p:nvPr/>
        </p:nvGrpSpPr>
        <p:grpSpPr>
          <a:xfrm>
            <a:off x="3705066" y="2301796"/>
            <a:ext cx="594126" cy="576058"/>
            <a:chOff x="8660205" y="3747721"/>
            <a:chExt cx="1646238" cy="1644650"/>
          </a:xfrm>
        </p:grpSpPr>
        <p:sp>
          <p:nvSpPr>
            <p:cNvPr id="105" name="AutoShape 3">
              <a:extLst>
                <a:ext uri="{FF2B5EF4-FFF2-40B4-BE49-F238E27FC236}">
                  <a16:creationId xmlns:a16="http://schemas.microsoft.com/office/drawing/2014/main" id="{9CCEDF21-A1E0-E74E-5611-367E3EFA7DDE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8660205" y="3747721"/>
              <a:ext cx="1646238" cy="16446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200"/>
            </a:p>
          </p:txBody>
        </p:sp>
        <p:grpSp>
          <p:nvGrpSpPr>
            <p:cNvPr id="106" name="Group 25">
              <a:extLst>
                <a:ext uri="{FF2B5EF4-FFF2-40B4-BE49-F238E27FC236}">
                  <a16:creationId xmlns:a16="http://schemas.microsoft.com/office/drawing/2014/main" id="{14702154-FC0F-EAFF-DA25-C36380238A12}"/>
                </a:ext>
              </a:extLst>
            </p:cNvPr>
            <p:cNvGrpSpPr/>
            <p:nvPr/>
          </p:nvGrpSpPr>
          <p:grpSpPr>
            <a:xfrm>
              <a:off x="8995168" y="4022359"/>
              <a:ext cx="977900" cy="1093788"/>
              <a:chOff x="8995168" y="4022359"/>
              <a:chExt cx="977900" cy="1093788"/>
            </a:xfrm>
          </p:grpSpPr>
          <p:sp>
            <p:nvSpPr>
              <p:cNvPr id="107" name="Freeform 17">
                <a:extLst>
                  <a:ext uri="{FF2B5EF4-FFF2-40B4-BE49-F238E27FC236}">
                    <a16:creationId xmlns:a16="http://schemas.microsoft.com/office/drawing/2014/main" id="{84926537-5A50-3BFA-F78C-89026F8751A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995168" y="4022359"/>
                <a:ext cx="977900" cy="1093788"/>
              </a:xfrm>
              <a:custGeom>
                <a:avLst/>
                <a:gdLst>
                  <a:gd name="connsiteX0" fmla="*/ 488514 w 977900"/>
                  <a:gd name="connsiteY0" fmla="*/ 61912 h 1093788"/>
                  <a:gd name="connsiteX1" fmla="*/ 917575 w 977900"/>
                  <a:gd name="connsiteY1" fmla="*/ 219512 h 1093788"/>
                  <a:gd name="connsiteX2" fmla="*/ 488514 w 977900"/>
                  <a:gd name="connsiteY2" fmla="*/ 377825 h 1093788"/>
                  <a:gd name="connsiteX3" fmla="*/ 58737 w 977900"/>
                  <a:gd name="connsiteY3" fmla="*/ 224504 h 1093788"/>
                  <a:gd name="connsiteX4" fmla="*/ 58737 w 977900"/>
                  <a:gd name="connsiteY4" fmla="*/ 215233 h 1093788"/>
                  <a:gd name="connsiteX5" fmla="*/ 488514 w 977900"/>
                  <a:gd name="connsiteY5" fmla="*/ 61912 h 1093788"/>
                  <a:gd name="connsiteX6" fmla="*/ 477508 w 977900"/>
                  <a:gd name="connsiteY6" fmla="*/ 28575 h 1093788"/>
                  <a:gd name="connsiteX7" fmla="*/ 173585 w 977900"/>
                  <a:gd name="connsiteY7" fmla="*/ 78482 h 1093788"/>
                  <a:gd name="connsiteX8" fmla="*/ 172155 w 977900"/>
                  <a:gd name="connsiteY8" fmla="*/ 79195 h 1093788"/>
                  <a:gd name="connsiteX9" fmla="*/ 165719 w 977900"/>
                  <a:gd name="connsiteY9" fmla="*/ 81334 h 1093788"/>
                  <a:gd name="connsiteX10" fmla="*/ 164289 w 977900"/>
                  <a:gd name="connsiteY10" fmla="*/ 82047 h 1093788"/>
                  <a:gd name="connsiteX11" fmla="*/ 157138 w 977900"/>
                  <a:gd name="connsiteY11" fmla="*/ 84899 h 1093788"/>
                  <a:gd name="connsiteX12" fmla="*/ 149271 w 977900"/>
                  <a:gd name="connsiteY12" fmla="*/ 88463 h 1093788"/>
                  <a:gd name="connsiteX13" fmla="*/ 144981 w 977900"/>
                  <a:gd name="connsiteY13" fmla="*/ 89889 h 1093788"/>
                  <a:gd name="connsiteX14" fmla="*/ 142835 w 977900"/>
                  <a:gd name="connsiteY14" fmla="*/ 91315 h 1093788"/>
                  <a:gd name="connsiteX15" fmla="*/ 50586 w 977900"/>
                  <a:gd name="connsiteY15" fmla="*/ 153342 h 1093788"/>
                  <a:gd name="connsiteX16" fmla="*/ 49156 w 977900"/>
                  <a:gd name="connsiteY16" fmla="*/ 154768 h 1093788"/>
                  <a:gd name="connsiteX17" fmla="*/ 47726 w 977900"/>
                  <a:gd name="connsiteY17" fmla="*/ 156907 h 1093788"/>
                  <a:gd name="connsiteX18" fmla="*/ 44150 w 977900"/>
                  <a:gd name="connsiteY18" fmla="*/ 161185 h 1093788"/>
                  <a:gd name="connsiteX19" fmla="*/ 43435 w 977900"/>
                  <a:gd name="connsiteY19" fmla="*/ 161898 h 1093788"/>
                  <a:gd name="connsiteX20" fmla="*/ 41289 w 977900"/>
                  <a:gd name="connsiteY20" fmla="*/ 165463 h 1093788"/>
                  <a:gd name="connsiteX21" fmla="*/ 39859 w 977900"/>
                  <a:gd name="connsiteY21" fmla="*/ 167602 h 1093788"/>
                  <a:gd name="connsiteX22" fmla="*/ 38429 w 977900"/>
                  <a:gd name="connsiteY22" fmla="*/ 169740 h 1093788"/>
                  <a:gd name="connsiteX23" fmla="*/ 36999 w 977900"/>
                  <a:gd name="connsiteY23" fmla="*/ 171879 h 1093788"/>
                  <a:gd name="connsiteX24" fmla="*/ 36284 w 977900"/>
                  <a:gd name="connsiteY24" fmla="*/ 174018 h 1093788"/>
                  <a:gd name="connsiteX25" fmla="*/ 34853 w 977900"/>
                  <a:gd name="connsiteY25" fmla="*/ 176870 h 1093788"/>
                  <a:gd name="connsiteX26" fmla="*/ 34138 w 977900"/>
                  <a:gd name="connsiteY26" fmla="*/ 178296 h 1093788"/>
                  <a:gd name="connsiteX27" fmla="*/ 32708 w 977900"/>
                  <a:gd name="connsiteY27" fmla="*/ 181148 h 1093788"/>
                  <a:gd name="connsiteX28" fmla="*/ 31993 w 977900"/>
                  <a:gd name="connsiteY28" fmla="*/ 182574 h 1093788"/>
                  <a:gd name="connsiteX29" fmla="*/ 31278 w 977900"/>
                  <a:gd name="connsiteY29" fmla="*/ 186138 h 1093788"/>
                  <a:gd name="connsiteX30" fmla="*/ 30563 w 977900"/>
                  <a:gd name="connsiteY30" fmla="*/ 187564 h 1093788"/>
                  <a:gd name="connsiteX31" fmla="*/ 29848 w 977900"/>
                  <a:gd name="connsiteY31" fmla="*/ 190416 h 1093788"/>
                  <a:gd name="connsiteX32" fmla="*/ 29133 w 977900"/>
                  <a:gd name="connsiteY32" fmla="*/ 191842 h 1093788"/>
                  <a:gd name="connsiteX33" fmla="*/ 28417 w 977900"/>
                  <a:gd name="connsiteY33" fmla="*/ 195407 h 1093788"/>
                  <a:gd name="connsiteX34" fmla="*/ 28417 w 977900"/>
                  <a:gd name="connsiteY34" fmla="*/ 196833 h 1093788"/>
                  <a:gd name="connsiteX35" fmla="*/ 27702 w 977900"/>
                  <a:gd name="connsiteY35" fmla="*/ 199685 h 1093788"/>
                  <a:gd name="connsiteX36" fmla="*/ 27702 w 977900"/>
                  <a:gd name="connsiteY36" fmla="*/ 201823 h 1093788"/>
                  <a:gd name="connsiteX37" fmla="*/ 26987 w 977900"/>
                  <a:gd name="connsiteY37" fmla="*/ 203962 h 1093788"/>
                  <a:gd name="connsiteX38" fmla="*/ 26987 w 977900"/>
                  <a:gd name="connsiteY38" fmla="*/ 208953 h 1093788"/>
                  <a:gd name="connsiteX39" fmla="*/ 26987 w 977900"/>
                  <a:gd name="connsiteY39" fmla="*/ 210379 h 1093788"/>
                  <a:gd name="connsiteX40" fmla="*/ 26987 w 977900"/>
                  <a:gd name="connsiteY40" fmla="*/ 211092 h 1093788"/>
                  <a:gd name="connsiteX41" fmla="*/ 26987 w 977900"/>
                  <a:gd name="connsiteY41" fmla="*/ 211805 h 1093788"/>
                  <a:gd name="connsiteX42" fmla="*/ 26987 w 977900"/>
                  <a:gd name="connsiteY42" fmla="*/ 215370 h 1093788"/>
                  <a:gd name="connsiteX43" fmla="*/ 27702 w 977900"/>
                  <a:gd name="connsiteY43" fmla="*/ 217508 h 1093788"/>
                  <a:gd name="connsiteX44" fmla="*/ 27702 w 977900"/>
                  <a:gd name="connsiteY44" fmla="*/ 876280 h 1093788"/>
                  <a:gd name="connsiteX45" fmla="*/ 26987 w 977900"/>
                  <a:gd name="connsiteY45" fmla="*/ 878419 h 1093788"/>
                  <a:gd name="connsiteX46" fmla="*/ 26987 w 977900"/>
                  <a:gd name="connsiteY46" fmla="*/ 881983 h 1093788"/>
                  <a:gd name="connsiteX47" fmla="*/ 26987 w 977900"/>
                  <a:gd name="connsiteY47" fmla="*/ 882696 h 1093788"/>
                  <a:gd name="connsiteX48" fmla="*/ 26987 w 977900"/>
                  <a:gd name="connsiteY48" fmla="*/ 883409 h 1093788"/>
                  <a:gd name="connsiteX49" fmla="*/ 26987 w 977900"/>
                  <a:gd name="connsiteY49" fmla="*/ 884835 h 1093788"/>
                  <a:gd name="connsiteX50" fmla="*/ 26987 w 977900"/>
                  <a:gd name="connsiteY50" fmla="*/ 889826 h 1093788"/>
                  <a:gd name="connsiteX51" fmla="*/ 27702 w 977900"/>
                  <a:gd name="connsiteY51" fmla="*/ 891965 h 1093788"/>
                  <a:gd name="connsiteX52" fmla="*/ 27702 w 977900"/>
                  <a:gd name="connsiteY52" fmla="*/ 894104 h 1093788"/>
                  <a:gd name="connsiteX53" fmla="*/ 28417 w 977900"/>
                  <a:gd name="connsiteY53" fmla="*/ 896956 h 1093788"/>
                  <a:gd name="connsiteX54" fmla="*/ 28417 w 977900"/>
                  <a:gd name="connsiteY54" fmla="*/ 898381 h 1093788"/>
                  <a:gd name="connsiteX55" fmla="*/ 29133 w 977900"/>
                  <a:gd name="connsiteY55" fmla="*/ 901946 h 1093788"/>
                  <a:gd name="connsiteX56" fmla="*/ 29848 w 977900"/>
                  <a:gd name="connsiteY56" fmla="*/ 903372 h 1093788"/>
                  <a:gd name="connsiteX57" fmla="*/ 30563 w 977900"/>
                  <a:gd name="connsiteY57" fmla="*/ 906224 h 1093788"/>
                  <a:gd name="connsiteX58" fmla="*/ 31278 w 977900"/>
                  <a:gd name="connsiteY58" fmla="*/ 907650 h 1093788"/>
                  <a:gd name="connsiteX59" fmla="*/ 31993 w 977900"/>
                  <a:gd name="connsiteY59" fmla="*/ 911215 h 1093788"/>
                  <a:gd name="connsiteX60" fmla="*/ 32708 w 977900"/>
                  <a:gd name="connsiteY60" fmla="*/ 912641 h 1093788"/>
                  <a:gd name="connsiteX61" fmla="*/ 34138 w 977900"/>
                  <a:gd name="connsiteY61" fmla="*/ 915492 h 1093788"/>
                  <a:gd name="connsiteX62" fmla="*/ 34853 w 977900"/>
                  <a:gd name="connsiteY62" fmla="*/ 916918 h 1093788"/>
                  <a:gd name="connsiteX63" fmla="*/ 36284 w 977900"/>
                  <a:gd name="connsiteY63" fmla="*/ 919770 h 1093788"/>
                  <a:gd name="connsiteX64" fmla="*/ 36999 w 977900"/>
                  <a:gd name="connsiteY64" fmla="*/ 921909 h 1093788"/>
                  <a:gd name="connsiteX65" fmla="*/ 38429 w 977900"/>
                  <a:gd name="connsiteY65" fmla="*/ 924048 h 1093788"/>
                  <a:gd name="connsiteX66" fmla="*/ 39859 w 977900"/>
                  <a:gd name="connsiteY66" fmla="*/ 926187 h 1093788"/>
                  <a:gd name="connsiteX67" fmla="*/ 41289 w 977900"/>
                  <a:gd name="connsiteY67" fmla="*/ 928326 h 1093788"/>
                  <a:gd name="connsiteX68" fmla="*/ 43435 w 977900"/>
                  <a:gd name="connsiteY68" fmla="*/ 931890 h 1093788"/>
                  <a:gd name="connsiteX69" fmla="*/ 44150 w 977900"/>
                  <a:gd name="connsiteY69" fmla="*/ 931890 h 1093788"/>
                  <a:gd name="connsiteX70" fmla="*/ 47726 w 977900"/>
                  <a:gd name="connsiteY70" fmla="*/ 936881 h 1093788"/>
                  <a:gd name="connsiteX71" fmla="*/ 49156 w 977900"/>
                  <a:gd name="connsiteY71" fmla="*/ 939020 h 1093788"/>
                  <a:gd name="connsiteX72" fmla="*/ 50586 w 977900"/>
                  <a:gd name="connsiteY72" fmla="*/ 940446 h 1093788"/>
                  <a:gd name="connsiteX73" fmla="*/ 142835 w 977900"/>
                  <a:gd name="connsiteY73" fmla="*/ 1002473 h 1093788"/>
                  <a:gd name="connsiteX74" fmla="*/ 144981 w 977900"/>
                  <a:gd name="connsiteY74" fmla="*/ 1003899 h 1093788"/>
                  <a:gd name="connsiteX75" fmla="*/ 149271 w 977900"/>
                  <a:gd name="connsiteY75" fmla="*/ 1005325 h 1093788"/>
                  <a:gd name="connsiteX76" fmla="*/ 157138 w 977900"/>
                  <a:gd name="connsiteY76" fmla="*/ 1008890 h 1093788"/>
                  <a:gd name="connsiteX77" fmla="*/ 162859 w 977900"/>
                  <a:gd name="connsiteY77" fmla="*/ 1011029 h 1093788"/>
                  <a:gd name="connsiteX78" fmla="*/ 164289 w 977900"/>
                  <a:gd name="connsiteY78" fmla="*/ 1011741 h 1093788"/>
                  <a:gd name="connsiteX79" fmla="*/ 172155 w 977900"/>
                  <a:gd name="connsiteY79" fmla="*/ 1014593 h 1093788"/>
                  <a:gd name="connsiteX80" fmla="*/ 172870 w 977900"/>
                  <a:gd name="connsiteY80" fmla="*/ 1015306 h 1093788"/>
                  <a:gd name="connsiteX81" fmla="*/ 477508 w 977900"/>
                  <a:gd name="connsiteY81" fmla="*/ 1065213 h 1093788"/>
                  <a:gd name="connsiteX82" fmla="*/ 486089 w 977900"/>
                  <a:gd name="connsiteY82" fmla="*/ 1065213 h 1093788"/>
                  <a:gd name="connsiteX83" fmla="*/ 488950 w 977900"/>
                  <a:gd name="connsiteY83" fmla="*/ 1065213 h 1093788"/>
                  <a:gd name="connsiteX84" fmla="*/ 491810 w 977900"/>
                  <a:gd name="connsiteY84" fmla="*/ 1065213 h 1093788"/>
                  <a:gd name="connsiteX85" fmla="*/ 500392 w 977900"/>
                  <a:gd name="connsiteY85" fmla="*/ 1065213 h 1093788"/>
                  <a:gd name="connsiteX86" fmla="*/ 805029 w 977900"/>
                  <a:gd name="connsiteY86" fmla="*/ 1015306 h 1093788"/>
                  <a:gd name="connsiteX87" fmla="*/ 805744 w 977900"/>
                  <a:gd name="connsiteY87" fmla="*/ 1014593 h 1093788"/>
                  <a:gd name="connsiteX88" fmla="*/ 813611 w 977900"/>
                  <a:gd name="connsiteY88" fmla="*/ 1011741 h 1093788"/>
                  <a:gd name="connsiteX89" fmla="*/ 814326 w 977900"/>
                  <a:gd name="connsiteY89" fmla="*/ 1011741 h 1093788"/>
                  <a:gd name="connsiteX90" fmla="*/ 820762 w 977900"/>
                  <a:gd name="connsiteY90" fmla="*/ 1008890 h 1093788"/>
                  <a:gd name="connsiteX91" fmla="*/ 828628 w 977900"/>
                  <a:gd name="connsiteY91" fmla="*/ 1005325 h 1093788"/>
                  <a:gd name="connsiteX92" fmla="*/ 832919 w 977900"/>
                  <a:gd name="connsiteY92" fmla="*/ 1003899 h 1093788"/>
                  <a:gd name="connsiteX93" fmla="*/ 835064 w 977900"/>
                  <a:gd name="connsiteY93" fmla="*/ 1002473 h 1093788"/>
                  <a:gd name="connsiteX94" fmla="*/ 927314 w 977900"/>
                  <a:gd name="connsiteY94" fmla="*/ 940446 h 1093788"/>
                  <a:gd name="connsiteX95" fmla="*/ 928744 w 977900"/>
                  <a:gd name="connsiteY95" fmla="*/ 939020 h 1093788"/>
                  <a:gd name="connsiteX96" fmla="*/ 930174 w 977900"/>
                  <a:gd name="connsiteY96" fmla="*/ 936881 h 1093788"/>
                  <a:gd name="connsiteX97" fmla="*/ 933750 w 977900"/>
                  <a:gd name="connsiteY97" fmla="*/ 931890 h 1093788"/>
                  <a:gd name="connsiteX98" fmla="*/ 934465 w 977900"/>
                  <a:gd name="connsiteY98" fmla="*/ 931890 h 1093788"/>
                  <a:gd name="connsiteX99" fmla="*/ 936610 w 977900"/>
                  <a:gd name="connsiteY99" fmla="*/ 928326 h 1093788"/>
                  <a:gd name="connsiteX100" fmla="*/ 938040 w 977900"/>
                  <a:gd name="connsiteY100" fmla="*/ 926187 h 1093788"/>
                  <a:gd name="connsiteX101" fmla="*/ 939470 w 977900"/>
                  <a:gd name="connsiteY101" fmla="*/ 924048 h 1093788"/>
                  <a:gd name="connsiteX102" fmla="*/ 940901 w 977900"/>
                  <a:gd name="connsiteY102" fmla="*/ 921909 h 1093788"/>
                  <a:gd name="connsiteX103" fmla="*/ 941616 w 977900"/>
                  <a:gd name="connsiteY103" fmla="*/ 919770 h 1093788"/>
                  <a:gd name="connsiteX104" fmla="*/ 943046 w 977900"/>
                  <a:gd name="connsiteY104" fmla="*/ 916918 h 1093788"/>
                  <a:gd name="connsiteX105" fmla="*/ 943761 w 977900"/>
                  <a:gd name="connsiteY105" fmla="*/ 915492 h 1093788"/>
                  <a:gd name="connsiteX106" fmla="*/ 945191 w 977900"/>
                  <a:gd name="connsiteY106" fmla="*/ 912641 h 1093788"/>
                  <a:gd name="connsiteX107" fmla="*/ 945906 w 977900"/>
                  <a:gd name="connsiteY107" fmla="*/ 911215 h 1093788"/>
                  <a:gd name="connsiteX108" fmla="*/ 946622 w 977900"/>
                  <a:gd name="connsiteY108" fmla="*/ 907650 h 1093788"/>
                  <a:gd name="connsiteX109" fmla="*/ 947337 w 977900"/>
                  <a:gd name="connsiteY109" fmla="*/ 906224 h 1093788"/>
                  <a:gd name="connsiteX110" fmla="*/ 948052 w 977900"/>
                  <a:gd name="connsiteY110" fmla="*/ 903372 h 1093788"/>
                  <a:gd name="connsiteX111" fmla="*/ 948767 w 977900"/>
                  <a:gd name="connsiteY111" fmla="*/ 901946 h 1093788"/>
                  <a:gd name="connsiteX112" fmla="*/ 949482 w 977900"/>
                  <a:gd name="connsiteY112" fmla="*/ 898381 h 1093788"/>
                  <a:gd name="connsiteX113" fmla="*/ 949482 w 977900"/>
                  <a:gd name="connsiteY113" fmla="*/ 896956 h 1093788"/>
                  <a:gd name="connsiteX114" fmla="*/ 950197 w 977900"/>
                  <a:gd name="connsiteY114" fmla="*/ 894104 h 1093788"/>
                  <a:gd name="connsiteX115" fmla="*/ 950197 w 977900"/>
                  <a:gd name="connsiteY115" fmla="*/ 891965 h 1093788"/>
                  <a:gd name="connsiteX116" fmla="*/ 950912 w 977900"/>
                  <a:gd name="connsiteY116" fmla="*/ 889826 h 1093788"/>
                  <a:gd name="connsiteX117" fmla="*/ 950912 w 977900"/>
                  <a:gd name="connsiteY117" fmla="*/ 884835 h 1093788"/>
                  <a:gd name="connsiteX118" fmla="*/ 950912 w 977900"/>
                  <a:gd name="connsiteY118" fmla="*/ 208240 h 1093788"/>
                  <a:gd name="connsiteX119" fmla="*/ 950912 w 977900"/>
                  <a:gd name="connsiteY119" fmla="*/ 206101 h 1093788"/>
                  <a:gd name="connsiteX120" fmla="*/ 950912 w 977900"/>
                  <a:gd name="connsiteY120" fmla="*/ 203249 h 1093788"/>
                  <a:gd name="connsiteX121" fmla="*/ 950197 w 977900"/>
                  <a:gd name="connsiteY121" fmla="*/ 200398 h 1093788"/>
                  <a:gd name="connsiteX122" fmla="*/ 949482 w 977900"/>
                  <a:gd name="connsiteY122" fmla="*/ 196833 h 1093788"/>
                  <a:gd name="connsiteX123" fmla="*/ 949482 w 977900"/>
                  <a:gd name="connsiteY123" fmla="*/ 195407 h 1093788"/>
                  <a:gd name="connsiteX124" fmla="*/ 948767 w 977900"/>
                  <a:gd name="connsiteY124" fmla="*/ 192555 h 1093788"/>
                  <a:gd name="connsiteX125" fmla="*/ 885122 w 977900"/>
                  <a:gd name="connsiteY125" fmla="*/ 117695 h 1093788"/>
                  <a:gd name="connsiteX126" fmla="*/ 880831 w 977900"/>
                  <a:gd name="connsiteY126" fmla="*/ 114843 h 1093788"/>
                  <a:gd name="connsiteX127" fmla="*/ 879401 w 977900"/>
                  <a:gd name="connsiteY127" fmla="*/ 114130 h 1093788"/>
                  <a:gd name="connsiteX128" fmla="*/ 875110 w 977900"/>
                  <a:gd name="connsiteY128" fmla="*/ 111278 h 1093788"/>
                  <a:gd name="connsiteX129" fmla="*/ 873680 w 977900"/>
                  <a:gd name="connsiteY129" fmla="*/ 110565 h 1093788"/>
                  <a:gd name="connsiteX130" fmla="*/ 870105 w 977900"/>
                  <a:gd name="connsiteY130" fmla="*/ 108426 h 1093788"/>
                  <a:gd name="connsiteX131" fmla="*/ 867959 w 977900"/>
                  <a:gd name="connsiteY131" fmla="*/ 107000 h 1093788"/>
                  <a:gd name="connsiteX132" fmla="*/ 864384 w 977900"/>
                  <a:gd name="connsiteY132" fmla="*/ 104861 h 1093788"/>
                  <a:gd name="connsiteX133" fmla="*/ 861523 w 977900"/>
                  <a:gd name="connsiteY133" fmla="*/ 103436 h 1093788"/>
                  <a:gd name="connsiteX134" fmla="*/ 858663 w 977900"/>
                  <a:gd name="connsiteY134" fmla="*/ 102010 h 1093788"/>
                  <a:gd name="connsiteX135" fmla="*/ 855087 w 977900"/>
                  <a:gd name="connsiteY135" fmla="*/ 99871 h 1093788"/>
                  <a:gd name="connsiteX136" fmla="*/ 852227 w 977900"/>
                  <a:gd name="connsiteY136" fmla="*/ 98445 h 1093788"/>
                  <a:gd name="connsiteX137" fmla="*/ 848651 w 977900"/>
                  <a:gd name="connsiteY137" fmla="*/ 97019 h 1093788"/>
                  <a:gd name="connsiteX138" fmla="*/ 845791 w 977900"/>
                  <a:gd name="connsiteY138" fmla="*/ 95593 h 1093788"/>
                  <a:gd name="connsiteX139" fmla="*/ 841500 w 977900"/>
                  <a:gd name="connsiteY139" fmla="*/ 93454 h 1093788"/>
                  <a:gd name="connsiteX140" fmla="*/ 839355 w 977900"/>
                  <a:gd name="connsiteY140" fmla="*/ 92028 h 1093788"/>
                  <a:gd name="connsiteX141" fmla="*/ 834349 w 977900"/>
                  <a:gd name="connsiteY141" fmla="*/ 90602 h 1093788"/>
                  <a:gd name="connsiteX142" fmla="*/ 830773 w 977900"/>
                  <a:gd name="connsiteY142" fmla="*/ 88463 h 1093788"/>
                  <a:gd name="connsiteX143" fmla="*/ 827198 w 977900"/>
                  <a:gd name="connsiteY143" fmla="*/ 87038 h 1093788"/>
                  <a:gd name="connsiteX144" fmla="*/ 821477 w 977900"/>
                  <a:gd name="connsiteY144" fmla="*/ 84899 h 1093788"/>
                  <a:gd name="connsiteX145" fmla="*/ 820047 w 977900"/>
                  <a:gd name="connsiteY145" fmla="*/ 84186 h 1093788"/>
                  <a:gd name="connsiteX146" fmla="*/ 812180 w 977900"/>
                  <a:gd name="connsiteY146" fmla="*/ 80621 h 1093788"/>
                  <a:gd name="connsiteX147" fmla="*/ 795733 w 977900"/>
                  <a:gd name="connsiteY147" fmla="*/ 74917 h 1093788"/>
                  <a:gd name="connsiteX148" fmla="*/ 795018 w 977900"/>
                  <a:gd name="connsiteY148" fmla="*/ 74917 h 1093788"/>
                  <a:gd name="connsiteX149" fmla="*/ 778570 w 977900"/>
                  <a:gd name="connsiteY149" fmla="*/ 69214 h 1093788"/>
                  <a:gd name="connsiteX150" fmla="*/ 777855 w 977900"/>
                  <a:gd name="connsiteY150" fmla="*/ 68501 h 1093788"/>
                  <a:gd name="connsiteX151" fmla="*/ 760692 w 977900"/>
                  <a:gd name="connsiteY151" fmla="*/ 63510 h 1093788"/>
                  <a:gd name="connsiteX152" fmla="*/ 759977 w 977900"/>
                  <a:gd name="connsiteY152" fmla="*/ 63510 h 1093788"/>
                  <a:gd name="connsiteX153" fmla="*/ 742815 w 977900"/>
                  <a:gd name="connsiteY153" fmla="*/ 58519 h 1093788"/>
                  <a:gd name="connsiteX154" fmla="*/ 741384 w 977900"/>
                  <a:gd name="connsiteY154" fmla="*/ 58519 h 1093788"/>
                  <a:gd name="connsiteX155" fmla="*/ 723507 w 977900"/>
                  <a:gd name="connsiteY155" fmla="*/ 54242 h 1093788"/>
                  <a:gd name="connsiteX156" fmla="*/ 722076 w 977900"/>
                  <a:gd name="connsiteY156" fmla="*/ 53529 h 1093788"/>
                  <a:gd name="connsiteX157" fmla="*/ 704198 w 977900"/>
                  <a:gd name="connsiteY157" fmla="*/ 49251 h 1093788"/>
                  <a:gd name="connsiteX158" fmla="*/ 702768 w 977900"/>
                  <a:gd name="connsiteY158" fmla="*/ 49251 h 1093788"/>
                  <a:gd name="connsiteX159" fmla="*/ 684175 w 977900"/>
                  <a:gd name="connsiteY159" fmla="*/ 45686 h 1093788"/>
                  <a:gd name="connsiteX160" fmla="*/ 682745 w 977900"/>
                  <a:gd name="connsiteY160" fmla="*/ 45686 h 1093788"/>
                  <a:gd name="connsiteX161" fmla="*/ 664152 w 977900"/>
                  <a:gd name="connsiteY161" fmla="*/ 42121 h 1093788"/>
                  <a:gd name="connsiteX162" fmla="*/ 662007 w 977900"/>
                  <a:gd name="connsiteY162" fmla="*/ 42121 h 1093788"/>
                  <a:gd name="connsiteX163" fmla="*/ 643414 w 977900"/>
                  <a:gd name="connsiteY163" fmla="*/ 39269 h 1093788"/>
                  <a:gd name="connsiteX164" fmla="*/ 641984 w 977900"/>
                  <a:gd name="connsiteY164" fmla="*/ 38557 h 1093788"/>
                  <a:gd name="connsiteX165" fmla="*/ 621961 w 977900"/>
                  <a:gd name="connsiteY165" fmla="*/ 36418 h 1093788"/>
                  <a:gd name="connsiteX166" fmla="*/ 620530 w 977900"/>
                  <a:gd name="connsiteY166" fmla="*/ 35705 h 1093788"/>
                  <a:gd name="connsiteX167" fmla="*/ 600507 w 977900"/>
                  <a:gd name="connsiteY167" fmla="*/ 33566 h 1093788"/>
                  <a:gd name="connsiteX168" fmla="*/ 599792 w 977900"/>
                  <a:gd name="connsiteY168" fmla="*/ 33566 h 1093788"/>
                  <a:gd name="connsiteX169" fmla="*/ 578339 w 977900"/>
                  <a:gd name="connsiteY169" fmla="*/ 32140 h 1093788"/>
                  <a:gd name="connsiteX170" fmla="*/ 577624 w 977900"/>
                  <a:gd name="connsiteY170" fmla="*/ 32140 h 1093788"/>
                  <a:gd name="connsiteX171" fmla="*/ 556170 w 977900"/>
                  <a:gd name="connsiteY171" fmla="*/ 30714 h 1093788"/>
                  <a:gd name="connsiteX172" fmla="*/ 534002 w 977900"/>
                  <a:gd name="connsiteY172" fmla="*/ 29288 h 1093788"/>
                  <a:gd name="connsiteX173" fmla="*/ 488950 w 977900"/>
                  <a:gd name="connsiteY173" fmla="*/ 28575 h 1093788"/>
                  <a:gd name="connsiteX174" fmla="*/ 477508 w 977900"/>
                  <a:gd name="connsiteY174" fmla="*/ 28575 h 1093788"/>
                  <a:gd name="connsiteX175" fmla="*/ 488950 w 977900"/>
                  <a:gd name="connsiteY175" fmla="*/ 0 h 1093788"/>
                  <a:gd name="connsiteX176" fmla="*/ 821579 w 977900"/>
                  <a:gd name="connsiteY176" fmla="*/ 54903 h 1093788"/>
                  <a:gd name="connsiteX177" fmla="*/ 976473 w 977900"/>
                  <a:gd name="connsiteY177" fmla="*/ 192518 h 1093788"/>
                  <a:gd name="connsiteX178" fmla="*/ 977900 w 977900"/>
                  <a:gd name="connsiteY178" fmla="*/ 198935 h 1093788"/>
                  <a:gd name="connsiteX179" fmla="*/ 977900 w 977900"/>
                  <a:gd name="connsiteY179" fmla="*/ 884870 h 1093788"/>
                  <a:gd name="connsiteX180" fmla="*/ 488950 w 977900"/>
                  <a:gd name="connsiteY180" fmla="*/ 1093788 h 1093788"/>
                  <a:gd name="connsiteX181" fmla="*/ 0 w 977900"/>
                  <a:gd name="connsiteY181" fmla="*/ 884870 h 1093788"/>
                  <a:gd name="connsiteX182" fmla="*/ 714 w 977900"/>
                  <a:gd name="connsiteY182" fmla="*/ 873462 h 1093788"/>
                  <a:gd name="connsiteX183" fmla="*/ 714 w 977900"/>
                  <a:gd name="connsiteY183" fmla="*/ 220326 h 1093788"/>
                  <a:gd name="connsiteX184" fmla="*/ 0 w 977900"/>
                  <a:gd name="connsiteY184" fmla="*/ 208918 h 1093788"/>
                  <a:gd name="connsiteX185" fmla="*/ 488950 w 977900"/>
                  <a:gd name="connsiteY185" fmla="*/ 0 h 10937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</a:cxnLst>
                <a:rect l="l" t="t" r="r" b="b"/>
                <a:pathLst>
                  <a:path w="977900" h="1093788">
                    <a:moveTo>
                      <a:pt x="488514" y="61912"/>
                    </a:moveTo>
                    <a:cubicBezTo>
                      <a:pt x="725213" y="61912"/>
                      <a:pt x="917575" y="132511"/>
                      <a:pt x="917575" y="219512"/>
                    </a:cubicBezTo>
                    <a:cubicBezTo>
                      <a:pt x="917575" y="306513"/>
                      <a:pt x="725213" y="377825"/>
                      <a:pt x="488514" y="377825"/>
                    </a:cubicBezTo>
                    <a:cubicBezTo>
                      <a:pt x="255390" y="377825"/>
                      <a:pt x="65173" y="308652"/>
                      <a:pt x="58737" y="224504"/>
                    </a:cubicBezTo>
                    <a:cubicBezTo>
                      <a:pt x="58737" y="224504"/>
                      <a:pt x="58737" y="224504"/>
                      <a:pt x="58737" y="215233"/>
                    </a:cubicBezTo>
                    <a:cubicBezTo>
                      <a:pt x="65173" y="129659"/>
                      <a:pt x="255390" y="61912"/>
                      <a:pt x="488514" y="61912"/>
                    </a:cubicBezTo>
                    <a:close/>
                    <a:moveTo>
                      <a:pt x="477508" y="28575"/>
                    </a:moveTo>
                    <a:cubicBezTo>
                      <a:pt x="361660" y="30001"/>
                      <a:pt x="254393" y="48538"/>
                      <a:pt x="173585" y="78482"/>
                    </a:cubicBezTo>
                    <a:cubicBezTo>
                      <a:pt x="173585" y="78482"/>
                      <a:pt x="172870" y="78482"/>
                      <a:pt x="172155" y="79195"/>
                    </a:cubicBezTo>
                    <a:cubicBezTo>
                      <a:pt x="170010" y="79908"/>
                      <a:pt x="167864" y="80621"/>
                      <a:pt x="165719" y="81334"/>
                    </a:cubicBezTo>
                    <a:cubicBezTo>
                      <a:pt x="165719" y="81334"/>
                      <a:pt x="165004" y="82047"/>
                      <a:pt x="164289" y="82047"/>
                    </a:cubicBezTo>
                    <a:cubicBezTo>
                      <a:pt x="162143" y="82760"/>
                      <a:pt x="159283" y="84186"/>
                      <a:pt x="157138" y="84899"/>
                    </a:cubicBezTo>
                    <a:cubicBezTo>
                      <a:pt x="154277" y="86325"/>
                      <a:pt x="151417" y="87038"/>
                      <a:pt x="149271" y="88463"/>
                    </a:cubicBezTo>
                    <a:cubicBezTo>
                      <a:pt x="147841" y="89176"/>
                      <a:pt x="146411" y="89176"/>
                      <a:pt x="144981" y="89889"/>
                    </a:cubicBezTo>
                    <a:cubicBezTo>
                      <a:pt x="144266" y="90602"/>
                      <a:pt x="143551" y="90602"/>
                      <a:pt x="142835" y="91315"/>
                    </a:cubicBezTo>
                    <a:cubicBezTo>
                      <a:pt x="102074" y="109139"/>
                      <a:pt x="70609" y="130528"/>
                      <a:pt x="50586" y="153342"/>
                    </a:cubicBezTo>
                    <a:cubicBezTo>
                      <a:pt x="49871" y="154055"/>
                      <a:pt x="49871" y="154768"/>
                      <a:pt x="49156" y="154768"/>
                    </a:cubicBezTo>
                    <a:cubicBezTo>
                      <a:pt x="48441" y="155481"/>
                      <a:pt x="47726" y="156194"/>
                      <a:pt x="47726" y="156907"/>
                    </a:cubicBezTo>
                    <a:cubicBezTo>
                      <a:pt x="46295" y="158333"/>
                      <a:pt x="44865" y="159759"/>
                      <a:pt x="44150" y="161185"/>
                    </a:cubicBezTo>
                    <a:cubicBezTo>
                      <a:pt x="44150" y="161898"/>
                      <a:pt x="43435" y="161898"/>
                      <a:pt x="43435" y="161898"/>
                    </a:cubicBezTo>
                    <a:cubicBezTo>
                      <a:pt x="42720" y="163324"/>
                      <a:pt x="42005" y="164750"/>
                      <a:pt x="41289" y="165463"/>
                    </a:cubicBezTo>
                    <a:cubicBezTo>
                      <a:pt x="40574" y="166176"/>
                      <a:pt x="40574" y="166889"/>
                      <a:pt x="39859" y="167602"/>
                    </a:cubicBezTo>
                    <a:cubicBezTo>
                      <a:pt x="39859" y="168315"/>
                      <a:pt x="39144" y="169027"/>
                      <a:pt x="38429" y="169740"/>
                    </a:cubicBezTo>
                    <a:cubicBezTo>
                      <a:pt x="38429" y="170453"/>
                      <a:pt x="37714" y="171166"/>
                      <a:pt x="36999" y="171879"/>
                    </a:cubicBezTo>
                    <a:cubicBezTo>
                      <a:pt x="36999" y="172592"/>
                      <a:pt x="36284" y="173305"/>
                      <a:pt x="36284" y="174018"/>
                    </a:cubicBezTo>
                    <a:cubicBezTo>
                      <a:pt x="35569" y="174731"/>
                      <a:pt x="35569" y="176157"/>
                      <a:pt x="34853" y="176870"/>
                    </a:cubicBezTo>
                    <a:cubicBezTo>
                      <a:pt x="34853" y="177583"/>
                      <a:pt x="34138" y="177583"/>
                      <a:pt x="34138" y="178296"/>
                    </a:cubicBezTo>
                    <a:cubicBezTo>
                      <a:pt x="33423" y="179722"/>
                      <a:pt x="33423" y="180435"/>
                      <a:pt x="32708" y="181148"/>
                    </a:cubicBezTo>
                    <a:cubicBezTo>
                      <a:pt x="32708" y="181861"/>
                      <a:pt x="32708" y="182574"/>
                      <a:pt x="31993" y="182574"/>
                    </a:cubicBezTo>
                    <a:cubicBezTo>
                      <a:pt x="31993" y="184000"/>
                      <a:pt x="31278" y="184712"/>
                      <a:pt x="31278" y="186138"/>
                    </a:cubicBezTo>
                    <a:cubicBezTo>
                      <a:pt x="31278" y="186138"/>
                      <a:pt x="30563" y="186851"/>
                      <a:pt x="30563" y="187564"/>
                    </a:cubicBezTo>
                    <a:cubicBezTo>
                      <a:pt x="30563" y="188277"/>
                      <a:pt x="29848" y="189703"/>
                      <a:pt x="29848" y="190416"/>
                    </a:cubicBezTo>
                    <a:cubicBezTo>
                      <a:pt x="29848" y="191129"/>
                      <a:pt x="29133" y="191129"/>
                      <a:pt x="29133" y="191842"/>
                    </a:cubicBezTo>
                    <a:cubicBezTo>
                      <a:pt x="29133" y="193268"/>
                      <a:pt x="29133" y="193981"/>
                      <a:pt x="28417" y="195407"/>
                    </a:cubicBezTo>
                    <a:cubicBezTo>
                      <a:pt x="28417" y="195407"/>
                      <a:pt x="28417" y="196120"/>
                      <a:pt x="28417" y="196833"/>
                    </a:cubicBezTo>
                    <a:cubicBezTo>
                      <a:pt x="28417" y="197546"/>
                      <a:pt x="27702" y="198972"/>
                      <a:pt x="27702" y="199685"/>
                    </a:cubicBezTo>
                    <a:cubicBezTo>
                      <a:pt x="27702" y="200398"/>
                      <a:pt x="27702" y="201110"/>
                      <a:pt x="27702" y="201823"/>
                    </a:cubicBezTo>
                    <a:cubicBezTo>
                      <a:pt x="27702" y="202536"/>
                      <a:pt x="27702" y="203249"/>
                      <a:pt x="26987" y="203962"/>
                    </a:cubicBezTo>
                    <a:cubicBezTo>
                      <a:pt x="26987" y="206101"/>
                      <a:pt x="26987" y="207527"/>
                      <a:pt x="26987" y="208953"/>
                    </a:cubicBezTo>
                    <a:cubicBezTo>
                      <a:pt x="26987" y="209666"/>
                      <a:pt x="26987" y="209666"/>
                      <a:pt x="26987" y="210379"/>
                    </a:cubicBezTo>
                    <a:cubicBezTo>
                      <a:pt x="26987" y="211092"/>
                      <a:pt x="26987" y="211092"/>
                      <a:pt x="26987" y="211092"/>
                    </a:cubicBezTo>
                    <a:cubicBezTo>
                      <a:pt x="26987" y="211092"/>
                      <a:pt x="26987" y="211805"/>
                      <a:pt x="26987" y="211805"/>
                    </a:cubicBezTo>
                    <a:cubicBezTo>
                      <a:pt x="26987" y="211805"/>
                      <a:pt x="26987" y="211805"/>
                      <a:pt x="26987" y="215370"/>
                    </a:cubicBezTo>
                    <a:cubicBezTo>
                      <a:pt x="26987" y="215370"/>
                      <a:pt x="26987" y="215370"/>
                      <a:pt x="27702" y="217508"/>
                    </a:cubicBezTo>
                    <a:cubicBezTo>
                      <a:pt x="27702" y="217508"/>
                      <a:pt x="27702" y="217508"/>
                      <a:pt x="27702" y="876280"/>
                    </a:cubicBezTo>
                    <a:cubicBezTo>
                      <a:pt x="27702" y="876280"/>
                      <a:pt x="27702" y="876280"/>
                      <a:pt x="26987" y="878419"/>
                    </a:cubicBezTo>
                    <a:cubicBezTo>
                      <a:pt x="26987" y="878419"/>
                      <a:pt x="26987" y="878419"/>
                      <a:pt x="26987" y="881983"/>
                    </a:cubicBezTo>
                    <a:cubicBezTo>
                      <a:pt x="26987" y="881983"/>
                      <a:pt x="26987" y="882696"/>
                      <a:pt x="26987" y="882696"/>
                    </a:cubicBezTo>
                    <a:cubicBezTo>
                      <a:pt x="26987" y="882696"/>
                      <a:pt x="26987" y="882696"/>
                      <a:pt x="26987" y="883409"/>
                    </a:cubicBezTo>
                    <a:cubicBezTo>
                      <a:pt x="26987" y="884122"/>
                      <a:pt x="26987" y="884122"/>
                      <a:pt x="26987" y="884835"/>
                    </a:cubicBezTo>
                    <a:cubicBezTo>
                      <a:pt x="26987" y="886261"/>
                      <a:pt x="26987" y="887687"/>
                      <a:pt x="26987" y="889826"/>
                    </a:cubicBezTo>
                    <a:cubicBezTo>
                      <a:pt x="27702" y="890539"/>
                      <a:pt x="27702" y="891252"/>
                      <a:pt x="27702" y="891965"/>
                    </a:cubicBezTo>
                    <a:cubicBezTo>
                      <a:pt x="27702" y="892678"/>
                      <a:pt x="27702" y="893391"/>
                      <a:pt x="27702" y="894104"/>
                    </a:cubicBezTo>
                    <a:cubicBezTo>
                      <a:pt x="27702" y="894817"/>
                      <a:pt x="28417" y="896243"/>
                      <a:pt x="28417" y="896956"/>
                    </a:cubicBezTo>
                    <a:cubicBezTo>
                      <a:pt x="28417" y="897669"/>
                      <a:pt x="28417" y="898381"/>
                      <a:pt x="28417" y="898381"/>
                    </a:cubicBezTo>
                    <a:cubicBezTo>
                      <a:pt x="29133" y="899807"/>
                      <a:pt x="29133" y="900520"/>
                      <a:pt x="29133" y="901946"/>
                    </a:cubicBezTo>
                    <a:cubicBezTo>
                      <a:pt x="29133" y="902659"/>
                      <a:pt x="29848" y="902659"/>
                      <a:pt x="29848" y="903372"/>
                    </a:cubicBezTo>
                    <a:cubicBezTo>
                      <a:pt x="29848" y="904085"/>
                      <a:pt x="30563" y="905511"/>
                      <a:pt x="30563" y="906224"/>
                    </a:cubicBezTo>
                    <a:cubicBezTo>
                      <a:pt x="30563" y="906937"/>
                      <a:pt x="31278" y="907650"/>
                      <a:pt x="31278" y="907650"/>
                    </a:cubicBezTo>
                    <a:cubicBezTo>
                      <a:pt x="31278" y="909076"/>
                      <a:pt x="31993" y="909789"/>
                      <a:pt x="31993" y="911215"/>
                    </a:cubicBezTo>
                    <a:cubicBezTo>
                      <a:pt x="32708" y="911215"/>
                      <a:pt x="32708" y="911928"/>
                      <a:pt x="32708" y="912641"/>
                    </a:cubicBezTo>
                    <a:cubicBezTo>
                      <a:pt x="33423" y="913354"/>
                      <a:pt x="33423" y="914066"/>
                      <a:pt x="34138" y="915492"/>
                    </a:cubicBezTo>
                    <a:cubicBezTo>
                      <a:pt x="34138" y="916205"/>
                      <a:pt x="34853" y="916205"/>
                      <a:pt x="34853" y="916918"/>
                    </a:cubicBezTo>
                    <a:cubicBezTo>
                      <a:pt x="35569" y="917631"/>
                      <a:pt x="35569" y="919057"/>
                      <a:pt x="36284" y="919770"/>
                    </a:cubicBezTo>
                    <a:cubicBezTo>
                      <a:pt x="36284" y="920483"/>
                      <a:pt x="36999" y="921196"/>
                      <a:pt x="36999" y="921909"/>
                    </a:cubicBezTo>
                    <a:cubicBezTo>
                      <a:pt x="37714" y="922622"/>
                      <a:pt x="38429" y="923335"/>
                      <a:pt x="38429" y="924048"/>
                    </a:cubicBezTo>
                    <a:cubicBezTo>
                      <a:pt x="39144" y="924761"/>
                      <a:pt x="39859" y="925474"/>
                      <a:pt x="39859" y="926187"/>
                    </a:cubicBezTo>
                    <a:cubicBezTo>
                      <a:pt x="40574" y="926900"/>
                      <a:pt x="40574" y="927613"/>
                      <a:pt x="41289" y="928326"/>
                    </a:cubicBezTo>
                    <a:cubicBezTo>
                      <a:pt x="42005" y="929039"/>
                      <a:pt x="42720" y="930464"/>
                      <a:pt x="43435" y="931890"/>
                    </a:cubicBezTo>
                    <a:cubicBezTo>
                      <a:pt x="43435" y="931890"/>
                      <a:pt x="44150" y="931890"/>
                      <a:pt x="44150" y="931890"/>
                    </a:cubicBezTo>
                    <a:cubicBezTo>
                      <a:pt x="44865" y="934029"/>
                      <a:pt x="46295" y="935455"/>
                      <a:pt x="47726" y="936881"/>
                    </a:cubicBezTo>
                    <a:cubicBezTo>
                      <a:pt x="47726" y="937594"/>
                      <a:pt x="48441" y="938307"/>
                      <a:pt x="49156" y="939020"/>
                    </a:cubicBezTo>
                    <a:cubicBezTo>
                      <a:pt x="49871" y="939020"/>
                      <a:pt x="49871" y="939733"/>
                      <a:pt x="50586" y="940446"/>
                    </a:cubicBezTo>
                    <a:cubicBezTo>
                      <a:pt x="70609" y="963260"/>
                      <a:pt x="102074" y="984649"/>
                      <a:pt x="142835" y="1002473"/>
                    </a:cubicBezTo>
                    <a:cubicBezTo>
                      <a:pt x="143551" y="1003186"/>
                      <a:pt x="144266" y="1003186"/>
                      <a:pt x="144981" y="1003899"/>
                    </a:cubicBezTo>
                    <a:cubicBezTo>
                      <a:pt x="146411" y="1004612"/>
                      <a:pt x="147841" y="1005325"/>
                      <a:pt x="149271" y="1005325"/>
                    </a:cubicBezTo>
                    <a:cubicBezTo>
                      <a:pt x="151417" y="1006751"/>
                      <a:pt x="154277" y="1008177"/>
                      <a:pt x="157138" y="1008890"/>
                    </a:cubicBezTo>
                    <a:cubicBezTo>
                      <a:pt x="159283" y="1009603"/>
                      <a:pt x="160713" y="1010316"/>
                      <a:pt x="162859" y="1011029"/>
                    </a:cubicBezTo>
                    <a:cubicBezTo>
                      <a:pt x="163574" y="1011741"/>
                      <a:pt x="163574" y="1011741"/>
                      <a:pt x="164289" y="1011741"/>
                    </a:cubicBezTo>
                    <a:cubicBezTo>
                      <a:pt x="167149" y="1013167"/>
                      <a:pt x="170010" y="1013880"/>
                      <a:pt x="172155" y="1014593"/>
                    </a:cubicBezTo>
                    <a:cubicBezTo>
                      <a:pt x="172870" y="1015306"/>
                      <a:pt x="172870" y="1015306"/>
                      <a:pt x="172870" y="1015306"/>
                    </a:cubicBezTo>
                    <a:cubicBezTo>
                      <a:pt x="253678" y="1045250"/>
                      <a:pt x="360945" y="1063787"/>
                      <a:pt x="477508" y="1065213"/>
                    </a:cubicBezTo>
                    <a:cubicBezTo>
                      <a:pt x="480368" y="1065213"/>
                      <a:pt x="483229" y="1065213"/>
                      <a:pt x="486089" y="1065213"/>
                    </a:cubicBezTo>
                    <a:cubicBezTo>
                      <a:pt x="486804" y="1065213"/>
                      <a:pt x="488235" y="1065213"/>
                      <a:pt x="488950" y="1065213"/>
                    </a:cubicBezTo>
                    <a:cubicBezTo>
                      <a:pt x="489665" y="1065213"/>
                      <a:pt x="491095" y="1065213"/>
                      <a:pt x="491810" y="1065213"/>
                    </a:cubicBezTo>
                    <a:cubicBezTo>
                      <a:pt x="494671" y="1065213"/>
                      <a:pt x="497531" y="1065213"/>
                      <a:pt x="500392" y="1065213"/>
                    </a:cubicBezTo>
                    <a:cubicBezTo>
                      <a:pt x="616955" y="1063787"/>
                      <a:pt x="724222" y="1045250"/>
                      <a:pt x="805029" y="1015306"/>
                    </a:cubicBezTo>
                    <a:cubicBezTo>
                      <a:pt x="805029" y="1015306"/>
                      <a:pt x="805029" y="1015306"/>
                      <a:pt x="805744" y="1014593"/>
                    </a:cubicBezTo>
                    <a:cubicBezTo>
                      <a:pt x="807890" y="1013880"/>
                      <a:pt x="810750" y="1013167"/>
                      <a:pt x="813611" y="1011741"/>
                    </a:cubicBezTo>
                    <a:cubicBezTo>
                      <a:pt x="813611" y="1011741"/>
                      <a:pt x="814326" y="1011741"/>
                      <a:pt x="814326" y="1011741"/>
                    </a:cubicBezTo>
                    <a:cubicBezTo>
                      <a:pt x="816471" y="1010316"/>
                      <a:pt x="818616" y="1009603"/>
                      <a:pt x="820762" y="1008890"/>
                    </a:cubicBezTo>
                    <a:cubicBezTo>
                      <a:pt x="823622" y="1008177"/>
                      <a:pt x="826483" y="1006751"/>
                      <a:pt x="828628" y="1005325"/>
                    </a:cubicBezTo>
                    <a:cubicBezTo>
                      <a:pt x="830058" y="1005325"/>
                      <a:pt x="831488" y="1004612"/>
                      <a:pt x="832919" y="1003899"/>
                    </a:cubicBezTo>
                    <a:cubicBezTo>
                      <a:pt x="833634" y="1003186"/>
                      <a:pt x="834349" y="1003186"/>
                      <a:pt x="835064" y="1002473"/>
                    </a:cubicBezTo>
                    <a:cubicBezTo>
                      <a:pt x="875825" y="984649"/>
                      <a:pt x="907290" y="963260"/>
                      <a:pt x="927314" y="940446"/>
                    </a:cubicBezTo>
                    <a:cubicBezTo>
                      <a:pt x="928029" y="939733"/>
                      <a:pt x="928029" y="939020"/>
                      <a:pt x="928744" y="939020"/>
                    </a:cubicBezTo>
                    <a:cubicBezTo>
                      <a:pt x="929459" y="938307"/>
                      <a:pt x="930174" y="937594"/>
                      <a:pt x="930174" y="936881"/>
                    </a:cubicBezTo>
                    <a:cubicBezTo>
                      <a:pt x="931604" y="935455"/>
                      <a:pt x="933034" y="934029"/>
                      <a:pt x="933750" y="931890"/>
                    </a:cubicBezTo>
                    <a:cubicBezTo>
                      <a:pt x="933750" y="931890"/>
                      <a:pt x="934465" y="931890"/>
                      <a:pt x="934465" y="931890"/>
                    </a:cubicBezTo>
                    <a:cubicBezTo>
                      <a:pt x="935180" y="930464"/>
                      <a:pt x="935895" y="929039"/>
                      <a:pt x="936610" y="928326"/>
                    </a:cubicBezTo>
                    <a:cubicBezTo>
                      <a:pt x="937325" y="927613"/>
                      <a:pt x="937325" y="926900"/>
                      <a:pt x="938040" y="926187"/>
                    </a:cubicBezTo>
                    <a:cubicBezTo>
                      <a:pt x="938040" y="925474"/>
                      <a:pt x="938755" y="924761"/>
                      <a:pt x="939470" y="924048"/>
                    </a:cubicBezTo>
                    <a:cubicBezTo>
                      <a:pt x="939470" y="923335"/>
                      <a:pt x="940186" y="922622"/>
                      <a:pt x="940901" y="921909"/>
                    </a:cubicBezTo>
                    <a:cubicBezTo>
                      <a:pt x="940901" y="921196"/>
                      <a:pt x="941616" y="920483"/>
                      <a:pt x="941616" y="919770"/>
                    </a:cubicBezTo>
                    <a:cubicBezTo>
                      <a:pt x="942331" y="919057"/>
                      <a:pt x="942331" y="917631"/>
                      <a:pt x="943046" y="916918"/>
                    </a:cubicBezTo>
                    <a:cubicBezTo>
                      <a:pt x="943046" y="916205"/>
                      <a:pt x="943761" y="916205"/>
                      <a:pt x="943761" y="915492"/>
                    </a:cubicBezTo>
                    <a:cubicBezTo>
                      <a:pt x="944476" y="914066"/>
                      <a:pt x="944476" y="913354"/>
                      <a:pt x="945191" y="912641"/>
                    </a:cubicBezTo>
                    <a:cubicBezTo>
                      <a:pt x="945191" y="911928"/>
                      <a:pt x="945191" y="911215"/>
                      <a:pt x="945906" y="911215"/>
                    </a:cubicBezTo>
                    <a:cubicBezTo>
                      <a:pt x="945906" y="909789"/>
                      <a:pt x="946622" y="909076"/>
                      <a:pt x="946622" y="907650"/>
                    </a:cubicBezTo>
                    <a:cubicBezTo>
                      <a:pt x="946622" y="907650"/>
                      <a:pt x="947337" y="906937"/>
                      <a:pt x="947337" y="906224"/>
                    </a:cubicBezTo>
                    <a:cubicBezTo>
                      <a:pt x="947337" y="905511"/>
                      <a:pt x="948052" y="904085"/>
                      <a:pt x="948052" y="903372"/>
                    </a:cubicBezTo>
                    <a:cubicBezTo>
                      <a:pt x="948052" y="902659"/>
                      <a:pt x="948767" y="902659"/>
                      <a:pt x="948767" y="901946"/>
                    </a:cubicBezTo>
                    <a:cubicBezTo>
                      <a:pt x="948767" y="900520"/>
                      <a:pt x="948767" y="899807"/>
                      <a:pt x="949482" y="898381"/>
                    </a:cubicBezTo>
                    <a:cubicBezTo>
                      <a:pt x="949482" y="898381"/>
                      <a:pt x="949482" y="897669"/>
                      <a:pt x="949482" y="896956"/>
                    </a:cubicBezTo>
                    <a:cubicBezTo>
                      <a:pt x="949482" y="896243"/>
                      <a:pt x="950197" y="894817"/>
                      <a:pt x="950197" y="894104"/>
                    </a:cubicBezTo>
                    <a:cubicBezTo>
                      <a:pt x="950197" y="893391"/>
                      <a:pt x="950197" y="892678"/>
                      <a:pt x="950197" y="891965"/>
                    </a:cubicBezTo>
                    <a:cubicBezTo>
                      <a:pt x="950197" y="891252"/>
                      <a:pt x="950197" y="890539"/>
                      <a:pt x="950912" y="889826"/>
                    </a:cubicBezTo>
                    <a:cubicBezTo>
                      <a:pt x="950912" y="887687"/>
                      <a:pt x="950912" y="886261"/>
                      <a:pt x="950912" y="884835"/>
                    </a:cubicBezTo>
                    <a:cubicBezTo>
                      <a:pt x="950912" y="884835"/>
                      <a:pt x="950912" y="879132"/>
                      <a:pt x="950912" y="208240"/>
                    </a:cubicBezTo>
                    <a:cubicBezTo>
                      <a:pt x="950912" y="207527"/>
                      <a:pt x="950912" y="206814"/>
                      <a:pt x="950912" y="206101"/>
                    </a:cubicBezTo>
                    <a:cubicBezTo>
                      <a:pt x="950912" y="205388"/>
                      <a:pt x="950912" y="203962"/>
                      <a:pt x="950912" y="203249"/>
                    </a:cubicBezTo>
                    <a:cubicBezTo>
                      <a:pt x="950912" y="201823"/>
                      <a:pt x="950912" y="201110"/>
                      <a:pt x="950197" y="200398"/>
                    </a:cubicBezTo>
                    <a:cubicBezTo>
                      <a:pt x="950197" y="198972"/>
                      <a:pt x="949482" y="197546"/>
                      <a:pt x="949482" y="196833"/>
                    </a:cubicBezTo>
                    <a:cubicBezTo>
                      <a:pt x="949482" y="196120"/>
                      <a:pt x="949482" y="196120"/>
                      <a:pt x="949482" y="195407"/>
                    </a:cubicBezTo>
                    <a:cubicBezTo>
                      <a:pt x="948767" y="194694"/>
                      <a:pt x="948767" y="193268"/>
                      <a:pt x="948767" y="192555"/>
                    </a:cubicBezTo>
                    <a:cubicBezTo>
                      <a:pt x="942331" y="166176"/>
                      <a:pt x="920162" y="140509"/>
                      <a:pt x="885122" y="117695"/>
                    </a:cubicBezTo>
                    <a:cubicBezTo>
                      <a:pt x="883692" y="116982"/>
                      <a:pt x="882261" y="115556"/>
                      <a:pt x="880831" y="114843"/>
                    </a:cubicBezTo>
                    <a:cubicBezTo>
                      <a:pt x="880116" y="114130"/>
                      <a:pt x="880116" y="114130"/>
                      <a:pt x="879401" y="114130"/>
                    </a:cubicBezTo>
                    <a:cubicBezTo>
                      <a:pt x="877971" y="113417"/>
                      <a:pt x="876541" y="111991"/>
                      <a:pt x="875110" y="111278"/>
                    </a:cubicBezTo>
                    <a:cubicBezTo>
                      <a:pt x="875110" y="111278"/>
                      <a:pt x="874395" y="110565"/>
                      <a:pt x="873680" y="110565"/>
                    </a:cubicBezTo>
                    <a:cubicBezTo>
                      <a:pt x="872250" y="109852"/>
                      <a:pt x="871535" y="109139"/>
                      <a:pt x="870105" y="108426"/>
                    </a:cubicBezTo>
                    <a:cubicBezTo>
                      <a:pt x="869389" y="107713"/>
                      <a:pt x="868674" y="107713"/>
                      <a:pt x="867959" y="107000"/>
                    </a:cubicBezTo>
                    <a:cubicBezTo>
                      <a:pt x="866529" y="106287"/>
                      <a:pt x="865814" y="105574"/>
                      <a:pt x="864384" y="104861"/>
                    </a:cubicBezTo>
                    <a:cubicBezTo>
                      <a:pt x="863669" y="104861"/>
                      <a:pt x="862238" y="104148"/>
                      <a:pt x="861523" y="103436"/>
                    </a:cubicBezTo>
                    <a:cubicBezTo>
                      <a:pt x="860808" y="102723"/>
                      <a:pt x="859378" y="102723"/>
                      <a:pt x="858663" y="102010"/>
                    </a:cubicBezTo>
                    <a:cubicBezTo>
                      <a:pt x="857233" y="101297"/>
                      <a:pt x="856517" y="100584"/>
                      <a:pt x="855087" y="99871"/>
                    </a:cubicBezTo>
                    <a:cubicBezTo>
                      <a:pt x="854372" y="99871"/>
                      <a:pt x="852942" y="99158"/>
                      <a:pt x="852227" y="98445"/>
                    </a:cubicBezTo>
                    <a:cubicBezTo>
                      <a:pt x="850797" y="98445"/>
                      <a:pt x="849366" y="97732"/>
                      <a:pt x="848651" y="97019"/>
                    </a:cubicBezTo>
                    <a:cubicBezTo>
                      <a:pt x="847221" y="96306"/>
                      <a:pt x="846506" y="96306"/>
                      <a:pt x="845791" y="95593"/>
                    </a:cubicBezTo>
                    <a:cubicBezTo>
                      <a:pt x="844360" y="94880"/>
                      <a:pt x="842930" y="94167"/>
                      <a:pt x="841500" y="93454"/>
                    </a:cubicBezTo>
                    <a:cubicBezTo>
                      <a:pt x="840785" y="93454"/>
                      <a:pt x="840070" y="92741"/>
                      <a:pt x="839355" y="92028"/>
                    </a:cubicBezTo>
                    <a:cubicBezTo>
                      <a:pt x="837209" y="91315"/>
                      <a:pt x="835779" y="90602"/>
                      <a:pt x="834349" y="90602"/>
                    </a:cubicBezTo>
                    <a:cubicBezTo>
                      <a:pt x="833634" y="89889"/>
                      <a:pt x="832204" y="89176"/>
                      <a:pt x="830773" y="88463"/>
                    </a:cubicBezTo>
                    <a:cubicBezTo>
                      <a:pt x="830058" y="88463"/>
                      <a:pt x="828628" y="87750"/>
                      <a:pt x="827198" y="87038"/>
                    </a:cubicBezTo>
                    <a:cubicBezTo>
                      <a:pt x="825768" y="86325"/>
                      <a:pt x="823622" y="85612"/>
                      <a:pt x="821477" y="84899"/>
                    </a:cubicBezTo>
                    <a:cubicBezTo>
                      <a:pt x="820762" y="84186"/>
                      <a:pt x="820762" y="84186"/>
                      <a:pt x="820047" y="84186"/>
                    </a:cubicBezTo>
                    <a:cubicBezTo>
                      <a:pt x="817186" y="82760"/>
                      <a:pt x="815041" y="82047"/>
                      <a:pt x="812180" y="80621"/>
                    </a:cubicBezTo>
                    <a:cubicBezTo>
                      <a:pt x="806460" y="78482"/>
                      <a:pt x="801454" y="77056"/>
                      <a:pt x="795733" y="74917"/>
                    </a:cubicBezTo>
                    <a:cubicBezTo>
                      <a:pt x="795733" y="74917"/>
                      <a:pt x="795733" y="74917"/>
                      <a:pt x="795018" y="74917"/>
                    </a:cubicBezTo>
                    <a:cubicBezTo>
                      <a:pt x="790012" y="72778"/>
                      <a:pt x="784291" y="70640"/>
                      <a:pt x="778570" y="69214"/>
                    </a:cubicBezTo>
                    <a:cubicBezTo>
                      <a:pt x="778570" y="69214"/>
                      <a:pt x="777855" y="69214"/>
                      <a:pt x="777855" y="68501"/>
                    </a:cubicBezTo>
                    <a:cubicBezTo>
                      <a:pt x="772134" y="67075"/>
                      <a:pt x="766413" y="65649"/>
                      <a:pt x="760692" y="63510"/>
                    </a:cubicBezTo>
                    <a:cubicBezTo>
                      <a:pt x="760692" y="63510"/>
                      <a:pt x="759977" y="63510"/>
                      <a:pt x="759977" y="63510"/>
                    </a:cubicBezTo>
                    <a:cubicBezTo>
                      <a:pt x="754256" y="61371"/>
                      <a:pt x="748535" y="59945"/>
                      <a:pt x="742815" y="58519"/>
                    </a:cubicBezTo>
                    <a:cubicBezTo>
                      <a:pt x="742099" y="58519"/>
                      <a:pt x="741384" y="58519"/>
                      <a:pt x="741384" y="58519"/>
                    </a:cubicBezTo>
                    <a:cubicBezTo>
                      <a:pt x="735663" y="56380"/>
                      <a:pt x="729227" y="54954"/>
                      <a:pt x="723507" y="54242"/>
                    </a:cubicBezTo>
                    <a:cubicBezTo>
                      <a:pt x="722791" y="53529"/>
                      <a:pt x="722791" y="53529"/>
                      <a:pt x="722076" y="53529"/>
                    </a:cubicBezTo>
                    <a:cubicBezTo>
                      <a:pt x="716355" y="52103"/>
                      <a:pt x="709919" y="50677"/>
                      <a:pt x="704198" y="49251"/>
                    </a:cubicBezTo>
                    <a:cubicBezTo>
                      <a:pt x="703483" y="49251"/>
                      <a:pt x="703483" y="49251"/>
                      <a:pt x="702768" y="49251"/>
                    </a:cubicBezTo>
                    <a:cubicBezTo>
                      <a:pt x="696332" y="47825"/>
                      <a:pt x="690611" y="47112"/>
                      <a:pt x="684175" y="45686"/>
                    </a:cubicBezTo>
                    <a:cubicBezTo>
                      <a:pt x="683460" y="45686"/>
                      <a:pt x="683460" y="45686"/>
                      <a:pt x="682745" y="45686"/>
                    </a:cubicBezTo>
                    <a:cubicBezTo>
                      <a:pt x="676309" y="44260"/>
                      <a:pt x="670588" y="42834"/>
                      <a:pt x="664152" y="42121"/>
                    </a:cubicBezTo>
                    <a:cubicBezTo>
                      <a:pt x="663437" y="42121"/>
                      <a:pt x="662722" y="42121"/>
                      <a:pt x="662007" y="42121"/>
                    </a:cubicBezTo>
                    <a:cubicBezTo>
                      <a:pt x="656286" y="40695"/>
                      <a:pt x="649850" y="39982"/>
                      <a:pt x="643414" y="39269"/>
                    </a:cubicBezTo>
                    <a:cubicBezTo>
                      <a:pt x="642699" y="38557"/>
                      <a:pt x="641984" y="38557"/>
                      <a:pt x="641984" y="38557"/>
                    </a:cubicBezTo>
                    <a:cubicBezTo>
                      <a:pt x="635548" y="37844"/>
                      <a:pt x="628397" y="37131"/>
                      <a:pt x="621961" y="36418"/>
                    </a:cubicBezTo>
                    <a:cubicBezTo>
                      <a:pt x="621245" y="36418"/>
                      <a:pt x="621245" y="36418"/>
                      <a:pt x="620530" y="35705"/>
                    </a:cubicBezTo>
                    <a:cubicBezTo>
                      <a:pt x="614094" y="34992"/>
                      <a:pt x="606943" y="34279"/>
                      <a:pt x="600507" y="33566"/>
                    </a:cubicBezTo>
                    <a:cubicBezTo>
                      <a:pt x="599792" y="33566"/>
                      <a:pt x="599792" y="33566"/>
                      <a:pt x="599792" y="33566"/>
                    </a:cubicBezTo>
                    <a:cubicBezTo>
                      <a:pt x="592641" y="32853"/>
                      <a:pt x="585490" y="32140"/>
                      <a:pt x="578339" y="32140"/>
                    </a:cubicBezTo>
                    <a:cubicBezTo>
                      <a:pt x="578339" y="32140"/>
                      <a:pt x="578339" y="32140"/>
                      <a:pt x="577624" y="32140"/>
                    </a:cubicBezTo>
                    <a:cubicBezTo>
                      <a:pt x="570473" y="31427"/>
                      <a:pt x="563321" y="30714"/>
                      <a:pt x="556170" y="30714"/>
                    </a:cubicBezTo>
                    <a:cubicBezTo>
                      <a:pt x="549019" y="30001"/>
                      <a:pt x="541153" y="29288"/>
                      <a:pt x="534002" y="29288"/>
                    </a:cubicBezTo>
                    <a:cubicBezTo>
                      <a:pt x="518984" y="28575"/>
                      <a:pt x="503967" y="28575"/>
                      <a:pt x="488950" y="28575"/>
                    </a:cubicBezTo>
                    <a:cubicBezTo>
                      <a:pt x="485374" y="28575"/>
                      <a:pt x="481083" y="28575"/>
                      <a:pt x="477508" y="28575"/>
                    </a:cubicBezTo>
                    <a:close/>
                    <a:moveTo>
                      <a:pt x="488950" y="0"/>
                    </a:moveTo>
                    <a:cubicBezTo>
                      <a:pt x="613151" y="0"/>
                      <a:pt x="731641" y="19252"/>
                      <a:pt x="821579" y="54903"/>
                    </a:cubicBezTo>
                    <a:cubicBezTo>
                      <a:pt x="912945" y="90555"/>
                      <a:pt x="967193" y="139041"/>
                      <a:pt x="976473" y="192518"/>
                    </a:cubicBezTo>
                    <a:cubicBezTo>
                      <a:pt x="977186" y="193944"/>
                      <a:pt x="977900" y="196083"/>
                      <a:pt x="977900" y="198935"/>
                    </a:cubicBezTo>
                    <a:cubicBezTo>
                      <a:pt x="977900" y="198935"/>
                      <a:pt x="977900" y="198935"/>
                      <a:pt x="977900" y="884870"/>
                    </a:cubicBezTo>
                    <a:cubicBezTo>
                      <a:pt x="977900" y="1001807"/>
                      <a:pt x="763762" y="1093788"/>
                      <a:pt x="488950" y="1093788"/>
                    </a:cubicBezTo>
                    <a:cubicBezTo>
                      <a:pt x="214139" y="1093788"/>
                      <a:pt x="0" y="1001807"/>
                      <a:pt x="0" y="884870"/>
                    </a:cubicBezTo>
                    <a:cubicBezTo>
                      <a:pt x="0" y="881305"/>
                      <a:pt x="0" y="877027"/>
                      <a:pt x="714" y="873462"/>
                    </a:cubicBezTo>
                    <a:cubicBezTo>
                      <a:pt x="714" y="873462"/>
                      <a:pt x="714" y="873462"/>
                      <a:pt x="714" y="220326"/>
                    </a:cubicBezTo>
                    <a:cubicBezTo>
                      <a:pt x="0" y="216761"/>
                      <a:pt x="0" y="212483"/>
                      <a:pt x="0" y="208918"/>
                    </a:cubicBezTo>
                    <a:cubicBezTo>
                      <a:pt x="0" y="91981"/>
                      <a:pt x="214139" y="0"/>
                      <a:pt x="488950" y="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vert="horz" wrap="square" lIns="73152" tIns="36576" rIns="73152" bIns="36576" numCol="1" anchor="t" anchorCtr="0" compatLnSpc="1">
                <a:prstTxWarp prst="textNoShape">
                  <a:avLst/>
                </a:prstTxWarp>
                <a:noAutofit/>
              </a:bodyPr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200"/>
              </a:p>
            </p:txBody>
          </p:sp>
          <p:sp>
            <p:nvSpPr>
              <p:cNvPr id="108" name="Freeform 18">
                <a:extLst>
                  <a:ext uri="{FF2B5EF4-FFF2-40B4-BE49-F238E27FC236}">
                    <a16:creationId xmlns:a16="http://schemas.microsoft.com/office/drawing/2014/main" id="{0F4A91AF-B2FD-DBC7-5476-04B7F107C2D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053905" y="4325570"/>
                <a:ext cx="860425" cy="723900"/>
              </a:xfrm>
              <a:custGeom>
                <a:avLst/>
                <a:gdLst>
                  <a:gd name="connsiteX0" fmla="*/ 860425 w 860425"/>
                  <a:gd name="connsiteY0" fmla="*/ 434975 h 723900"/>
                  <a:gd name="connsiteX1" fmla="*/ 860425 w 860425"/>
                  <a:gd name="connsiteY1" fmla="*/ 581935 h 723900"/>
                  <a:gd name="connsiteX2" fmla="*/ 743224 w 860425"/>
                  <a:gd name="connsiteY2" fmla="*/ 679670 h 723900"/>
                  <a:gd name="connsiteX3" fmla="*/ 703919 w 860425"/>
                  <a:gd name="connsiteY3" fmla="*/ 693224 h 723900"/>
                  <a:gd name="connsiteX4" fmla="*/ 430927 w 860425"/>
                  <a:gd name="connsiteY4" fmla="*/ 723900 h 723900"/>
                  <a:gd name="connsiteX5" fmla="*/ 155791 w 860425"/>
                  <a:gd name="connsiteY5" fmla="*/ 693224 h 723900"/>
                  <a:gd name="connsiteX6" fmla="*/ 117201 w 860425"/>
                  <a:gd name="connsiteY6" fmla="*/ 679670 h 723900"/>
                  <a:gd name="connsiteX7" fmla="*/ 0 w 860425"/>
                  <a:gd name="connsiteY7" fmla="*/ 581935 h 723900"/>
                  <a:gd name="connsiteX8" fmla="*/ 0 w 860425"/>
                  <a:gd name="connsiteY8" fmla="*/ 579794 h 723900"/>
                  <a:gd name="connsiteX9" fmla="*/ 715 w 860425"/>
                  <a:gd name="connsiteY9" fmla="*/ 577654 h 723900"/>
                  <a:gd name="connsiteX10" fmla="*/ 715 w 860425"/>
                  <a:gd name="connsiteY10" fmla="*/ 436402 h 723900"/>
                  <a:gd name="connsiteX11" fmla="*/ 430927 w 860425"/>
                  <a:gd name="connsiteY11" fmla="*/ 557679 h 723900"/>
                  <a:gd name="connsiteX12" fmla="*/ 860425 w 860425"/>
                  <a:gd name="connsiteY12" fmla="*/ 434975 h 723900"/>
                  <a:gd name="connsiteX13" fmla="*/ 860425 w 860425"/>
                  <a:gd name="connsiteY13" fmla="*/ 214313 h 723900"/>
                  <a:gd name="connsiteX14" fmla="*/ 860425 w 860425"/>
                  <a:gd name="connsiteY14" fmla="*/ 384562 h 723900"/>
                  <a:gd name="connsiteX15" fmla="*/ 430570 w 860425"/>
                  <a:gd name="connsiteY15" fmla="*/ 511176 h 723900"/>
                  <a:gd name="connsiteX16" fmla="*/ 0 w 860425"/>
                  <a:gd name="connsiteY16" fmla="*/ 385993 h 723900"/>
                  <a:gd name="connsiteX17" fmla="*/ 0 w 860425"/>
                  <a:gd name="connsiteY17" fmla="*/ 215744 h 723900"/>
                  <a:gd name="connsiteX18" fmla="*/ 430570 w 860425"/>
                  <a:gd name="connsiteY18" fmla="*/ 340212 h 723900"/>
                  <a:gd name="connsiteX19" fmla="*/ 860425 w 860425"/>
                  <a:gd name="connsiteY19" fmla="*/ 214313 h 723900"/>
                  <a:gd name="connsiteX20" fmla="*/ 860425 w 860425"/>
                  <a:gd name="connsiteY20" fmla="*/ 0 h 723900"/>
                  <a:gd name="connsiteX21" fmla="*/ 860425 w 860425"/>
                  <a:gd name="connsiteY21" fmla="*/ 165508 h 723900"/>
                  <a:gd name="connsiteX22" fmla="*/ 430570 w 860425"/>
                  <a:gd name="connsiteY22" fmla="*/ 288925 h 723900"/>
                  <a:gd name="connsiteX23" fmla="*/ 0 w 860425"/>
                  <a:gd name="connsiteY23" fmla="*/ 166935 h 723900"/>
                  <a:gd name="connsiteX24" fmla="*/ 0 w 860425"/>
                  <a:gd name="connsiteY24" fmla="*/ 1427 h 723900"/>
                  <a:gd name="connsiteX25" fmla="*/ 430570 w 860425"/>
                  <a:gd name="connsiteY25" fmla="*/ 122704 h 723900"/>
                  <a:gd name="connsiteX26" fmla="*/ 860425 w 860425"/>
                  <a:gd name="connsiteY26" fmla="*/ 0 h 7239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860425" h="723900">
                    <a:moveTo>
                      <a:pt x="860425" y="434975"/>
                    </a:moveTo>
                    <a:cubicBezTo>
                      <a:pt x="860425" y="434975"/>
                      <a:pt x="860425" y="434975"/>
                      <a:pt x="860425" y="581935"/>
                    </a:cubicBezTo>
                    <a:cubicBezTo>
                      <a:pt x="860425" y="614037"/>
                      <a:pt x="815403" y="651847"/>
                      <a:pt x="743224" y="679670"/>
                    </a:cubicBezTo>
                    <a:cubicBezTo>
                      <a:pt x="731076" y="684663"/>
                      <a:pt x="717497" y="688944"/>
                      <a:pt x="703919" y="693224"/>
                    </a:cubicBezTo>
                    <a:cubicBezTo>
                      <a:pt x="629597" y="713199"/>
                      <a:pt x="533835" y="723900"/>
                      <a:pt x="430927" y="723900"/>
                    </a:cubicBezTo>
                    <a:cubicBezTo>
                      <a:pt x="326590" y="723900"/>
                      <a:pt x="230829" y="713199"/>
                      <a:pt x="155791" y="693224"/>
                    </a:cubicBezTo>
                    <a:cubicBezTo>
                      <a:pt x="142213" y="688944"/>
                      <a:pt x="129350" y="684663"/>
                      <a:pt x="117201" y="679670"/>
                    </a:cubicBezTo>
                    <a:cubicBezTo>
                      <a:pt x="45022" y="651847"/>
                      <a:pt x="0" y="614037"/>
                      <a:pt x="0" y="581935"/>
                    </a:cubicBezTo>
                    <a:cubicBezTo>
                      <a:pt x="0" y="581221"/>
                      <a:pt x="0" y="580508"/>
                      <a:pt x="0" y="579794"/>
                    </a:cubicBezTo>
                    <a:cubicBezTo>
                      <a:pt x="0" y="579794"/>
                      <a:pt x="0" y="579794"/>
                      <a:pt x="715" y="577654"/>
                    </a:cubicBezTo>
                    <a:cubicBezTo>
                      <a:pt x="715" y="577654"/>
                      <a:pt x="715" y="577654"/>
                      <a:pt x="715" y="436402"/>
                    </a:cubicBezTo>
                    <a:cubicBezTo>
                      <a:pt x="33588" y="509168"/>
                      <a:pt x="213677" y="557679"/>
                      <a:pt x="430927" y="557679"/>
                    </a:cubicBezTo>
                    <a:cubicBezTo>
                      <a:pt x="648178" y="557679"/>
                      <a:pt x="828981" y="508455"/>
                      <a:pt x="860425" y="434975"/>
                    </a:cubicBezTo>
                    <a:close/>
                    <a:moveTo>
                      <a:pt x="860425" y="214313"/>
                    </a:moveTo>
                    <a:cubicBezTo>
                      <a:pt x="860425" y="214313"/>
                      <a:pt x="860425" y="214313"/>
                      <a:pt x="860425" y="384562"/>
                    </a:cubicBezTo>
                    <a:cubicBezTo>
                      <a:pt x="828955" y="461103"/>
                      <a:pt x="648001" y="511176"/>
                      <a:pt x="430570" y="511176"/>
                    </a:cubicBezTo>
                    <a:cubicBezTo>
                      <a:pt x="213140" y="511176"/>
                      <a:pt x="32901" y="461818"/>
                      <a:pt x="0" y="385993"/>
                    </a:cubicBezTo>
                    <a:cubicBezTo>
                      <a:pt x="0" y="385993"/>
                      <a:pt x="0" y="385993"/>
                      <a:pt x="0" y="215744"/>
                    </a:cubicBezTo>
                    <a:cubicBezTo>
                      <a:pt x="32901" y="290854"/>
                      <a:pt x="213140" y="340212"/>
                      <a:pt x="430570" y="340212"/>
                    </a:cubicBezTo>
                    <a:cubicBezTo>
                      <a:pt x="648001" y="340212"/>
                      <a:pt x="828955" y="290138"/>
                      <a:pt x="860425" y="214313"/>
                    </a:cubicBezTo>
                    <a:close/>
                    <a:moveTo>
                      <a:pt x="860425" y="0"/>
                    </a:moveTo>
                    <a:cubicBezTo>
                      <a:pt x="860425" y="0"/>
                      <a:pt x="860425" y="0"/>
                      <a:pt x="860425" y="165508"/>
                    </a:cubicBezTo>
                    <a:cubicBezTo>
                      <a:pt x="828955" y="239701"/>
                      <a:pt x="648001" y="288925"/>
                      <a:pt x="430570" y="288925"/>
                    </a:cubicBezTo>
                    <a:cubicBezTo>
                      <a:pt x="213140" y="288925"/>
                      <a:pt x="32901" y="240414"/>
                      <a:pt x="0" y="166935"/>
                    </a:cubicBezTo>
                    <a:cubicBezTo>
                      <a:pt x="0" y="166935"/>
                      <a:pt x="0" y="166935"/>
                      <a:pt x="0" y="1427"/>
                    </a:cubicBezTo>
                    <a:cubicBezTo>
                      <a:pt x="32901" y="74193"/>
                      <a:pt x="213140" y="122704"/>
                      <a:pt x="430570" y="122704"/>
                    </a:cubicBezTo>
                    <a:cubicBezTo>
                      <a:pt x="648001" y="122704"/>
                      <a:pt x="828955" y="73480"/>
                      <a:pt x="860425" y="0"/>
                    </a:cubicBez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</p:spPr>
            <p:txBody>
              <a:bodyPr vert="horz" wrap="square" lIns="73152" tIns="36576" rIns="73152" bIns="36576" numCol="1" anchor="t" anchorCtr="0" compatLnSpc="1">
                <a:prstTxWarp prst="textNoShape">
                  <a:avLst/>
                </a:prstTxWarp>
                <a:noAutofit/>
              </a:bodyPr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200"/>
              </a:p>
            </p:txBody>
          </p:sp>
        </p:grpSp>
      </p:grpSp>
      <p:sp>
        <p:nvSpPr>
          <p:cNvPr id="88" name="Textfeld 12">
            <a:extLst>
              <a:ext uri="{FF2B5EF4-FFF2-40B4-BE49-F238E27FC236}">
                <a16:creationId xmlns:a16="http://schemas.microsoft.com/office/drawing/2014/main" id="{AA79578D-D961-CDCE-4DB8-CF4246D5539F}"/>
              </a:ext>
            </a:extLst>
          </p:cNvPr>
          <p:cNvSpPr txBox="1"/>
          <p:nvPr/>
        </p:nvSpPr>
        <p:spPr>
          <a:xfrm>
            <a:off x="3157127" y="1462352"/>
            <a:ext cx="1581654" cy="307777"/>
          </a:xfrm>
          <a:prstGeom prst="rect">
            <a:avLst/>
          </a:prstGeom>
          <a:noFill/>
        </p:spPr>
        <p:txBody>
          <a:bodyPr rot="0" spcFirstLastPara="0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400">
                <a:cs typeface="Calibri"/>
              </a:rPr>
              <a:t>Transfer Learning</a:t>
            </a:r>
            <a:endParaRPr lang="de-DE" sz="1400">
              <a:cs typeface="Arial"/>
            </a:endParaRPr>
          </a:p>
        </p:txBody>
      </p:sp>
      <p:sp>
        <p:nvSpPr>
          <p:cNvPr id="158" name="Textfeld 157">
            <a:extLst>
              <a:ext uri="{FF2B5EF4-FFF2-40B4-BE49-F238E27FC236}">
                <a16:creationId xmlns:a16="http://schemas.microsoft.com/office/drawing/2014/main" id="{C5A0E40A-CF25-7EE5-8614-672E865894CA}"/>
              </a:ext>
            </a:extLst>
          </p:cNvPr>
          <p:cNvSpPr txBox="1"/>
          <p:nvPr/>
        </p:nvSpPr>
        <p:spPr>
          <a:xfrm>
            <a:off x="988681" y="1926782"/>
            <a:ext cx="590106" cy="19300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>
              <a:lnSpc>
                <a:spcPct val="114000"/>
              </a:lnSpc>
            </a:pPr>
            <a:r>
              <a:rPr lang="de-DE" sz="1200">
                <a:latin typeface="+mn-lt"/>
                <a:cs typeface="Arial"/>
              </a:rPr>
              <a:t>train</a:t>
            </a:r>
            <a:endParaRPr lang="de-DE" sz="1200">
              <a:latin typeface="+mn-lt"/>
            </a:endParaRPr>
          </a:p>
        </p:txBody>
      </p:sp>
      <p:pic>
        <p:nvPicPr>
          <p:cNvPr id="149" name="Grafik 2" descr="countdown.gif">
            <a:extLst>
              <a:ext uri="{FF2B5EF4-FFF2-40B4-BE49-F238E27FC236}">
                <a16:creationId xmlns:a16="http://schemas.microsoft.com/office/drawing/2014/main" id="{F97B99A0-AA8E-4CB1-8A66-299C18DF7128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85113" y="4575685"/>
            <a:ext cx="1258887" cy="571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7" name="Group 16">
            <a:extLst>
              <a:ext uri="{FF2B5EF4-FFF2-40B4-BE49-F238E27FC236}">
                <a16:creationId xmlns:a16="http://schemas.microsoft.com/office/drawing/2014/main" id="{E36C30E1-C5A7-4A7E-9C9B-B87E0968407B}"/>
              </a:ext>
            </a:extLst>
          </p:cNvPr>
          <p:cNvGrpSpPr/>
          <p:nvPr/>
        </p:nvGrpSpPr>
        <p:grpSpPr>
          <a:xfrm>
            <a:off x="221792" y="1962634"/>
            <a:ext cx="733584" cy="534794"/>
            <a:chOff x="221792" y="1890210"/>
            <a:chExt cx="733584" cy="534794"/>
          </a:xfrm>
        </p:grpSpPr>
        <p:sp>
          <p:nvSpPr>
            <p:cNvPr id="159" name="Oval 158">
              <a:extLst>
                <a:ext uri="{FF2B5EF4-FFF2-40B4-BE49-F238E27FC236}">
                  <a16:creationId xmlns:a16="http://schemas.microsoft.com/office/drawing/2014/main" id="{BF0E4A13-E80E-F65E-9457-4482FE8FC319}"/>
                </a:ext>
              </a:extLst>
            </p:cNvPr>
            <p:cNvSpPr/>
            <p:nvPr/>
          </p:nvSpPr>
          <p:spPr>
            <a:xfrm>
              <a:off x="221792" y="1966435"/>
              <a:ext cx="144000" cy="144000"/>
            </a:xfrm>
            <a:prstGeom prst="ellipse">
              <a:avLst/>
            </a:prstGeom>
            <a:ln w="12700"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14000"/>
                </a:lnSpc>
              </a:pPr>
              <a:endParaRPr lang="en-US"/>
            </a:p>
          </p:txBody>
        </p:sp>
        <p:sp>
          <p:nvSpPr>
            <p:cNvPr id="160" name="Oval 159">
              <a:extLst>
                <a:ext uri="{FF2B5EF4-FFF2-40B4-BE49-F238E27FC236}">
                  <a16:creationId xmlns:a16="http://schemas.microsoft.com/office/drawing/2014/main" id="{DA8D974F-0D3E-3887-F469-E088F3C65E95}"/>
                </a:ext>
              </a:extLst>
            </p:cNvPr>
            <p:cNvSpPr/>
            <p:nvPr/>
          </p:nvSpPr>
          <p:spPr>
            <a:xfrm>
              <a:off x="221792" y="2230891"/>
              <a:ext cx="144000" cy="144000"/>
            </a:xfrm>
            <a:prstGeom prst="ellipse">
              <a:avLst/>
            </a:prstGeom>
            <a:ln w="12700"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14000"/>
                </a:lnSpc>
              </a:pPr>
              <a:endParaRPr lang="en-US"/>
            </a:p>
          </p:txBody>
        </p:sp>
        <p:sp>
          <p:nvSpPr>
            <p:cNvPr id="164" name="Oval 163">
              <a:extLst>
                <a:ext uri="{FF2B5EF4-FFF2-40B4-BE49-F238E27FC236}">
                  <a16:creationId xmlns:a16="http://schemas.microsoft.com/office/drawing/2014/main" id="{EF2A8F4F-984D-59E8-9CDB-9A157C5E9BF0}"/>
                </a:ext>
              </a:extLst>
            </p:cNvPr>
            <p:cNvSpPr/>
            <p:nvPr/>
          </p:nvSpPr>
          <p:spPr>
            <a:xfrm>
              <a:off x="507948" y="1890210"/>
              <a:ext cx="144000" cy="144000"/>
            </a:xfrm>
            <a:prstGeom prst="ellipse">
              <a:avLst/>
            </a:prstGeom>
            <a:ln w="12700"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14000"/>
                </a:lnSpc>
              </a:pPr>
              <a:endParaRPr lang="en-US"/>
            </a:p>
          </p:txBody>
        </p:sp>
        <p:sp>
          <p:nvSpPr>
            <p:cNvPr id="165" name="Oval 164">
              <a:extLst>
                <a:ext uri="{FF2B5EF4-FFF2-40B4-BE49-F238E27FC236}">
                  <a16:creationId xmlns:a16="http://schemas.microsoft.com/office/drawing/2014/main" id="{6A4D45E3-BCD9-A841-B849-1C2C76ADD5D1}"/>
                </a:ext>
              </a:extLst>
            </p:cNvPr>
            <p:cNvSpPr/>
            <p:nvPr/>
          </p:nvSpPr>
          <p:spPr>
            <a:xfrm>
              <a:off x="511079" y="2080070"/>
              <a:ext cx="144000" cy="144000"/>
            </a:xfrm>
            <a:prstGeom prst="ellipse">
              <a:avLst/>
            </a:prstGeom>
            <a:ln w="12700"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14000"/>
                </a:lnSpc>
              </a:pPr>
              <a:endParaRPr lang="en-US"/>
            </a:p>
          </p:txBody>
        </p:sp>
        <p:sp>
          <p:nvSpPr>
            <p:cNvPr id="166" name="Oval 165">
              <a:extLst>
                <a:ext uri="{FF2B5EF4-FFF2-40B4-BE49-F238E27FC236}">
                  <a16:creationId xmlns:a16="http://schemas.microsoft.com/office/drawing/2014/main" id="{40C82AFA-EEB7-7AD2-BEA1-DFDE5DEF15EC}"/>
                </a:ext>
              </a:extLst>
            </p:cNvPr>
            <p:cNvSpPr/>
            <p:nvPr/>
          </p:nvSpPr>
          <p:spPr>
            <a:xfrm>
              <a:off x="510084" y="2281004"/>
              <a:ext cx="144000" cy="144000"/>
            </a:xfrm>
            <a:prstGeom prst="ellipse">
              <a:avLst/>
            </a:prstGeom>
            <a:ln w="12700"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14000"/>
                </a:lnSpc>
              </a:pPr>
              <a:endParaRPr lang="en-US"/>
            </a:p>
          </p:txBody>
        </p:sp>
        <p:sp>
          <p:nvSpPr>
            <p:cNvPr id="167" name="Oval 166">
              <a:extLst>
                <a:ext uri="{FF2B5EF4-FFF2-40B4-BE49-F238E27FC236}">
                  <a16:creationId xmlns:a16="http://schemas.microsoft.com/office/drawing/2014/main" id="{4E80DA79-04DD-B57B-ECBA-09B2556A4379}"/>
                </a:ext>
              </a:extLst>
            </p:cNvPr>
            <p:cNvSpPr/>
            <p:nvPr/>
          </p:nvSpPr>
          <p:spPr>
            <a:xfrm>
              <a:off x="811376" y="1966435"/>
              <a:ext cx="144000" cy="144000"/>
            </a:xfrm>
            <a:prstGeom prst="ellipse">
              <a:avLst/>
            </a:prstGeom>
            <a:ln w="12700"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14000"/>
                </a:lnSpc>
              </a:pPr>
              <a:endParaRPr lang="en-US"/>
            </a:p>
          </p:txBody>
        </p:sp>
        <p:sp>
          <p:nvSpPr>
            <p:cNvPr id="168" name="Oval 167">
              <a:extLst>
                <a:ext uri="{FF2B5EF4-FFF2-40B4-BE49-F238E27FC236}">
                  <a16:creationId xmlns:a16="http://schemas.microsoft.com/office/drawing/2014/main" id="{516C3B4B-A37D-C006-22A3-290C40DBDC36}"/>
                </a:ext>
              </a:extLst>
            </p:cNvPr>
            <p:cNvSpPr/>
            <p:nvPr/>
          </p:nvSpPr>
          <p:spPr>
            <a:xfrm>
              <a:off x="811376" y="2230891"/>
              <a:ext cx="144000" cy="144000"/>
            </a:xfrm>
            <a:prstGeom prst="ellipse">
              <a:avLst/>
            </a:prstGeom>
            <a:ln w="12700"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14000"/>
                </a:lnSpc>
              </a:pPr>
              <a:endParaRPr lang="en-US"/>
            </a:p>
          </p:txBody>
        </p:sp>
        <p:cxnSp>
          <p:nvCxnSpPr>
            <p:cNvPr id="169" name="Straight Connector 168">
              <a:extLst>
                <a:ext uri="{FF2B5EF4-FFF2-40B4-BE49-F238E27FC236}">
                  <a16:creationId xmlns:a16="http://schemas.microsoft.com/office/drawing/2014/main" id="{4B662A90-A632-F632-64C6-5105EEAAF007}"/>
                </a:ext>
              </a:extLst>
            </p:cNvPr>
            <p:cNvCxnSpPr>
              <a:cxnSpLocks/>
              <a:stCxn id="159" idx="6"/>
              <a:endCxn id="166" idx="2"/>
            </p:cNvCxnSpPr>
            <p:nvPr/>
          </p:nvCxnSpPr>
          <p:spPr>
            <a:xfrm>
              <a:off x="365792" y="2038435"/>
              <a:ext cx="144292" cy="314569"/>
            </a:xfrm>
            <a:prstGeom prst="line">
              <a:avLst/>
            </a:prstGeom>
            <a:ln w="12700" cmpd="sng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0" name="Straight Connector 169">
              <a:extLst>
                <a:ext uri="{FF2B5EF4-FFF2-40B4-BE49-F238E27FC236}">
                  <a16:creationId xmlns:a16="http://schemas.microsoft.com/office/drawing/2014/main" id="{39952B37-BDC4-6063-1CB2-961E2C9C2FF7}"/>
                </a:ext>
              </a:extLst>
            </p:cNvPr>
            <p:cNvCxnSpPr>
              <a:cxnSpLocks/>
              <a:stCxn id="160" idx="6"/>
              <a:endCxn id="165" idx="2"/>
            </p:cNvCxnSpPr>
            <p:nvPr/>
          </p:nvCxnSpPr>
          <p:spPr>
            <a:xfrm flipV="1">
              <a:off x="365792" y="2152070"/>
              <a:ext cx="145287" cy="150821"/>
            </a:xfrm>
            <a:prstGeom prst="line">
              <a:avLst/>
            </a:prstGeom>
            <a:ln w="12700" cmpd="sng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1" name="Straight Connector 170">
              <a:extLst>
                <a:ext uri="{FF2B5EF4-FFF2-40B4-BE49-F238E27FC236}">
                  <a16:creationId xmlns:a16="http://schemas.microsoft.com/office/drawing/2014/main" id="{602A64A6-CA26-08E0-47C4-F5A1F6ED3710}"/>
                </a:ext>
              </a:extLst>
            </p:cNvPr>
            <p:cNvCxnSpPr>
              <a:cxnSpLocks/>
              <a:stCxn id="160" idx="6"/>
              <a:endCxn id="166" idx="2"/>
            </p:cNvCxnSpPr>
            <p:nvPr/>
          </p:nvCxnSpPr>
          <p:spPr>
            <a:xfrm>
              <a:off x="365792" y="2302891"/>
              <a:ext cx="144292" cy="50113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2" name="Straight Connector 171">
              <a:extLst>
                <a:ext uri="{FF2B5EF4-FFF2-40B4-BE49-F238E27FC236}">
                  <a16:creationId xmlns:a16="http://schemas.microsoft.com/office/drawing/2014/main" id="{2EED1D08-9F5F-0061-4CC5-20AA8F83FBCB}"/>
                </a:ext>
              </a:extLst>
            </p:cNvPr>
            <p:cNvCxnSpPr>
              <a:cxnSpLocks/>
              <a:stCxn id="164" idx="6"/>
              <a:endCxn id="167" idx="2"/>
            </p:cNvCxnSpPr>
            <p:nvPr/>
          </p:nvCxnSpPr>
          <p:spPr>
            <a:xfrm>
              <a:off x="651948" y="1962210"/>
              <a:ext cx="159428" cy="76225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3" name="Straight Connector 172">
              <a:extLst>
                <a:ext uri="{FF2B5EF4-FFF2-40B4-BE49-F238E27FC236}">
                  <a16:creationId xmlns:a16="http://schemas.microsoft.com/office/drawing/2014/main" id="{19AE0D23-7091-A026-A85E-4A37468DC9CF}"/>
                </a:ext>
              </a:extLst>
            </p:cNvPr>
            <p:cNvCxnSpPr>
              <a:cxnSpLocks/>
              <a:stCxn id="165" idx="6"/>
              <a:endCxn id="167" idx="2"/>
            </p:cNvCxnSpPr>
            <p:nvPr/>
          </p:nvCxnSpPr>
          <p:spPr>
            <a:xfrm flipV="1">
              <a:off x="655079" y="2038435"/>
              <a:ext cx="156297" cy="113635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4" name="Straight Connector 173">
              <a:extLst>
                <a:ext uri="{FF2B5EF4-FFF2-40B4-BE49-F238E27FC236}">
                  <a16:creationId xmlns:a16="http://schemas.microsoft.com/office/drawing/2014/main" id="{DC8096C6-345C-BC80-270A-90E8F87E7FBA}"/>
                </a:ext>
              </a:extLst>
            </p:cNvPr>
            <p:cNvCxnSpPr>
              <a:cxnSpLocks/>
              <a:stCxn id="164" idx="6"/>
              <a:endCxn id="168" idx="2"/>
            </p:cNvCxnSpPr>
            <p:nvPr/>
          </p:nvCxnSpPr>
          <p:spPr>
            <a:xfrm>
              <a:off x="651948" y="1962210"/>
              <a:ext cx="159428" cy="340681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5" name="Straight Connector 174">
              <a:extLst>
                <a:ext uri="{FF2B5EF4-FFF2-40B4-BE49-F238E27FC236}">
                  <a16:creationId xmlns:a16="http://schemas.microsoft.com/office/drawing/2014/main" id="{CF331FCC-E5D8-60BD-A3E4-F85822DF3F9C}"/>
                </a:ext>
              </a:extLst>
            </p:cNvPr>
            <p:cNvCxnSpPr>
              <a:cxnSpLocks/>
              <a:stCxn id="166" idx="6"/>
              <a:endCxn id="168" idx="2"/>
            </p:cNvCxnSpPr>
            <p:nvPr/>
          </p:nvCxnSpPr>
          <p:spPr>
            <a:xfrm flipV="1">
              <a:off x="654084" y="2302891"/>
              <a:ext cx="157292" cy="50113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6" name="Straight Connector 175">
              <a:extLst>
                <a:ext uri="{FF2B5EF4-FFF2-40B4-BE49-F238E27FC236}">
                  <a16:creationId xmlns:a16="http://schemas.microsoft.com/office/drawing/2014/main" id="{66CD5E8D-E96B-3E9C-F167-958EBF4A1D96}"/>
                </a:ext>
              </a:extLst>
            </p:cNvPr>
            <p:cNvCxnSpPr>
              <a:cxnSpLocks/>
              <a:stCxn id="159" idx="6"/>
              <a:endCxn id="164" idx="2"/>
            </p:cNvCxnSpPr>
            <p:nvPr/>
          </p:nvCxnSpPr>
          <p:spPr>
            <a:xfrm flipV="1">
              <a:off x="365792" y="1962210"/>
              <a:ext cx="142156" cy="76225"/>
            </a:xfrm>
            <a:prstGeom prst="line">
              <a:avLst/>
            </a:prstGeom>
            <a:ln w="12700" cmpd="sng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7" name="Straight Connector 176">
              <a:extLst>
                <a:ext uri="{FF2B5EF4-FFF2-40B4-BE49-F238E27FC236}">
                  <a16:creationId xmlns:a16="http://schemas.microsoft.com/office/drawing/2014/main" id="{014F24F2-966C-8708-D8DC-DA22526D0A75}"/>
                </a:ext>
              </a:extLst>
            </p:cNvPr>
            <p:cNvCxnSpPr>
              <a:cxnSpLocks/>
              <a:stCxn id="160" idx="6"/>
              <a:endCxn id="164" idx="2"/>
            </p:cNvCxnSpPr>
            <p:nvPr/>
          </p:nvCxnSpPr>
          <p:spPr>
            <a:xfrm flipV="1">
              <a:off x="365792" y="1962210"/>
              <a:ext cx="142156" cy="340681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8" name="Straight Connector 177">
              <a:extLst>
                <a:ext uri="{FF2B5EF4-FFF2-40B4-BE49-F238E27FC236}">
                  <a16:creationId xmlns:a16="http://schemas.microsoft.com/office/drawing/2014/main" id="{3FB24220-9146-5F42-4B8E-002EC7FCD984}"/>
                </a:ext>
              </a:extLst>
            </p:cNvPr>
            <p:cNvCxnSpPr>
              <a:cxnSpLocks/>
              <a:stCxn id="165" idx="6"/>
              <a:endCxn id="168" idx="2"/>
            </p:cNvCxnSpPr>
            <p:nvPr/>
          </p:nvCxnSpPr>
          <p:spPr>
            <a:xfrm>
              <a:off x="655079" y="2152070"/>
              <a:ext cx="177385" cy="201733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6" name="Group 15">
            <a:extLst>
              <a:ext uri="{FF2B5EF4-FFF2-40B4-BE49-F238E27FC236}">
                <a16:creationId xmlns:a16="http://schemas.microsoft.com/office/drawing/2014/main" id="{E0A6D5B8-6F5D-4493-8F29-207E3FA9C74B}"/>
              </a:ext>
            </a:extLst>
          </p:cNvPr>
          <p:cNvGrpSpPr/>
          <p:nvPr/>
        </p:nvGrpSpPr>
        <p:grpSpPr>
          <a:xfrm>
            <a:off x="1612092" y="1962634"/>
            <a:ext cx="733584" cy="534794"/>
            <a:chOff x="1612092" y="1921083"/>
            <a:chExt cx="733584" cy="534794"/>
          </a:xfrm>
        </p:grpSpPr>
        <p:sp>
          <p:nvSpPr>
            <p:cNvPr id="214" name="Oval 213">
              <a:extLst>
                <a:ext uri="{FF2B5EF4-FFF2-40B4-BE49-F238E27FC236}">
                  <a16:creationId xmlns:a16="http://schemas.microsoft.com/office/drawing/2014/main" id="{E5229F65-7F91-DED7-3B3E-EB6905B28B03}"/>
                </a:ext>
              </a:extLst>
            </p:cNvPr>
            <p:cNvSpPr/>
            <p:nvPr/>
          </p:nvSpPr>
          <p:spPr>
            <a:xfrm>
              <a:off x="1612092" y="1997308"/>
              <a:ext cx="144000" cy="144000"/>
            </a:xfrm>
            <a:prstGeom prst="ellipse">
              <a:avLst/>
            </a:prstGeom>
            <a:solidFill>
              <a:schemeClr val="accent6"/>
            </a:solidFill>
            <a:ln w="12700"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14000"/>
                </a:lnSpc>
              </a:pPr>
              <a:endParaRPr lang="en-US"/>
            </a:p>
          </p:txBody>
        </p:sp>
        <p:sp>
          <p:nvSpPr>
            <p:cNvPr id="215" name="Oval 214">
              <a:extLst>
                <a:ext uri="{FF2B5EF4-FFF2-40B4-BE49-F238E27FC236}">
                  <a16:creationId xmlns:a16="http://schemas.microsoft.com/office/drawing/2014/main" id="{E29D47A1-7A27-5F00-7D4A-6D241F62CC76}"/>
                </a:ext>
              </a:extLst>
            </p:cNvPr>
            <p:cNvSpPr/>
            <p:nvPr/>
          </p:nvSpPr>
          <p:spPr>
            <a:xfrm>
              <a:off x="1612092" y="2261764"/>
              <a:ext cx="144000" cy="144000"/>
            </a:xfrm>
            <a:prstGeom prst="ellipse">
              <a:avLst/>
            </a:prstGeom>
            <a:solidFill>
              <a:schemeClr val="accent6"/>
            </a:solidFill>
            <a:ln w="12700"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14000"/>
                </a:lnSpc>
              </a:pPr>
              <a:endParaRPr lang="en-US"/>
            </a:p>
          </p:txBody>
        </p:sp>
        <p:sp>
          <p:nvSpPr>
            <p:cNvPr id="216" name="Oval 215">
              <a:extLst>
                <a:ext uri="{FF2B5EF4-FFF2-40B4-BE49-F238E27FC236}">
                  <a16:creationId xmlns:a16="http://schemas.microsoft.com/office/drawing/2014/main" id="{EAA7BD77-B897-1F03-A1DD-7A8AA4CE879C}"/>
                </a:ext>
              </a:extLst>
            </p:cNvPr>
            <p:cNvSpPr/>
            <p:nvPr/>
          </p:nvSpPr>
          <p:spPr>
            <a:xfrm>
              <a:off x="1898248" y="1921083"/>
              <a:ext cx="144000" cy="144000"/>
            </a:xfrm>
            <a:prstGeom prst="ellipse">
              <a:avLst/>
            </a:prstGeom>
            <a:solidFill>
              <a:schemeClr val="accent2"/>
            </a:solidFill>
            <a:ln w="12700"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14000"/>
                </a:lnSpc>
              </a:pPr>
              <a:endParaRPr lang="en-US"/>
            </a:p>
          </p:txBody>
        </p:sp>
        <p:sp>
          <p:nvSpPr>
            <p:cNvPr id="217" name="Oval 216">
              <a:extLst>
                <a:ext uri="{FF2B5EF4-FFF2-40B4-BE49-F238E27FC236}">
                  <a16:creationId xmlns:a16="http://schemas.microsoft.com/office/drawing/2014/main" id="{E63F6883-6637-EF97-017F-C210B1B0FD25}"/>
                </a:ext>
              </a:extLst>
            </p:cNvPr>
            <p:cNvSpPr/>
            <p:nvPr/>
          </p:nvSpPr>
          <p:spPr>
            <a:xfrm>
              <a:off x="1901379" y="2110943"/>
              <a:ext cx="144000" cy="144000"/>
            </a:xfrm>
            <a:prstGeom prst="ellipse">
              <a:avLst/>
            </a:prstGeom>
            <a:solidFill>
              <a:schemeClr val="accent2"/>
            </a:solidFill>
            <a:ln w="12700"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14000"/>
                </a:lnSpc>
              </a:pPr>
              <a:endParaRPr lang="en-US"/>
            </a:p>
          </p:txBody>
        </p:sp>
        <p:sp>
          <p:nvSpPr>
            <p:cNvPr id="218" name="Oval 217">
              <a:extLst>
                <a:ext uri="{FF2B5EF4-FFF2-40B4-BE49-F238E27FC236}">
                  <a16:creationId xmlns:a16="http://schemas.microsoft.com/office/drawing/2014/main" id="{E9327DE9-3773-D8BC-1F92-6D7AF5232587}"/>
                </a:ext>
              </a:extLst>
            </p:cNvPr>
            <p:cNvSpPr/>
            <p:nvPr/>
          </p:nvSpPr>
          <p:spPr>
            <a:xfrm>
              <a:off x="1900384" y="2311877"/>
              <a:ext cx="144000" cy="144000"/>
            </a:xfrm>
            <a:prstGeom prst="ellipse">
              <a:avLst/>
            </a:prstGeom>
            <a:solidFill>
              <a:schemeClr val="accent2"/>
            </a:solidFill>
            <a:ln w="12700"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14000"/>
                </a:lnSpc>
              </a:pPr>
              <a:endParaRPr lang="en-US"/>
            </a:p>
          </p:txBody>
        </p:sp>
        <p:sp>
          <p:nvSpPr>
            <p:cNvPr id="219" name="Oval 218">
              <a:extLst>
                <a:ext uri="{FF2B5EF4-FFF2-40B4-BE49-F238E27FC236}">
                  <a16:creationId xmlns:a16="http://schemas.microsoft.com/office/drawing/2014/main" id="{9D86976E-F9DF-F998-4552-76E684627CE8}"/>
                </a:ext>
              </a:extLst>
            </p:cNvPr>
            <p:cNvSpPr/>
            <p:nvPr/>
          </p:nvSpPr>
          <p:spPr>
            <a:xfrm>
              <a:off x="2201676" y="1997308"/>
              <a:ext cx="144000" cy="144000"/>
            </a:xfrm>
            <a:prstGeom prst="ellipse">
              <a:avLst/>
            </a:prstGeom>
            <a:solidFill>
              <a:schemeClr val="accent5"/>
            </a:solidFill>
            <a:ln w="12700"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14000"/>
                </a:lnSpc>
              </a:pPr>
              <a:endParaRPr lang="en-US"/>
            </a:p>
          </p:txBody>
        </p:sp>
        <p:sp>
          <p:nvSpPr>
            <p:cNvPr id="220" name="Oval 219">
              <a:extLst>
                <a:ext uri="{FF2B5EF4-FFF2-40B4-BE49-F238E27FC236}">
                  <a16:creationId xmlns:a16="http://schemas.microsoft.com/office/drawing/2014/main" id="{ABABE95C-744D-4ACB-3E8F-50C7BA1A80A5}"/>
                </a:ext>
              </a:extLst>
            </p:cNvPr>
            <p:cNvSpPr/>
            <p:nvPr/>
          </p:nvSpPr>
          <p:spPr>
            <a:xfrm>
              <a:off x="2201676" y="2261764"/>
              <a:ext cx="144000" cy="144000"/>
            </a:xfrm>
            <a:prstGeom prst="ellipse">
              <a:avLst/>
            </a:prstGeom>
            <a:solidFill>
              <a:schemeClr val="accent5"/>
            </a:solidFill>
            <a:ln w="12700"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14000"/>
                </a:lnSpc>
              </a:pPr>
              <a:endParaRPr lang="en-US"/>
            </a:p>
          </p:txBody>
        </p:sp>
        <p:cxnSp>
          <p:nvCxnSpPr>
            <p:cNvPr id="221" name="Straight Connector 220">
              <a:extLst>
                <a:ext uri="{FF2B5EF4-FFF2-40B4-BE49-F238E27FC236}">
                  <a16:creationId xmlns:a16="http://schemas.microsoft.com/office/drawing/2014/main" id="{91D851F0-F600-08CD-2490-2C3571A71B49}"/>
                </a:ext>
              </a:extLst>
            </p:cNvPr>
            <p:cNvCxnSpPr>
              <a:cxnSpLocks/>
              <a:stCxn id="214" idx="6"/>
              <a:endCxn id="218" idx="2"/>
            </p:cNvCxnSpPr>
            <p:nvPr/>
          </p:nvCxnSpPr>
          <p:spPr>
            <a:xfrm>
              <a:off x="1756092" y="2069308"/>
              <a:ext cx="144292" cy="314569"/>
            </a:xfrm>
            <a:prstGeom prst="line">
              <a:avLst/>
            </a:prstGeom>
            <a:ln w="12700" cmpd="sng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2" name="Straight Connector 221">
              <a:extLst>
                <a:ext uri="{FF2B5EF4-FFF2-40B4-BE49-F238E27FC236}">
                  <a16:creationId xmlns:a16="http://schemas.microsoft.com/office/drawing/2014/main" id="{1317FB7E-993F-ABA8-88E7-D69D46C3FA3B}"/>
                </a:ext>
              </a:extLst>
            </p:cNvPr>
            <p:cNvCxnSpPr>
              <a:cxnSpLocks/>
              <a:stCxn id="215" idx="6"/>
              <a:endCxn id="217" idx="2"/>
            </p:cNvCxnSpPr>
            <p:nvPr/>
          </p:nvCxnSpPr>
          <p:spPr>
            <a:xfrm flipV="1">
              <a:off x="1756092" y="2182943"/>
              <a:ext cx="145287" cy="150821"/>
            </a:xfrm>
            <a:prstGeom prst="line">
              <a:avLst/>
            </a:prstGeom>
            <a:ln w="12700" cmpd="sng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3" name="Straight Connector 222">
              <a:extLst>
                <a:ext uri="{FF2B5EF4-FFF2-40B4-BE49-F238E27FC236}">
                  <a16:creationId xmlns:a16="http://schemas.microsoft.com/office/drawing/2014/main" id="{BA7060B7-D3A7-0283-A2B1-96289DF28758}"/>
                </a:ext>
              </a:extLst>
            </p:cNvPr>
            <p:cNvCxnSpPr>
              <a:cxnSpLocks/>
              <a:stCxn id="215" idx="6"/>
              <a:endCxn id="218" idx="2"/>
            </p:cNvCxnSpPr>
            <p:nvPr/>
          </p:nvCxnSpPr>
          <p:spPr>
            <a:xfrm>
              <a:off x="1756092" y="2333764"/>
              <a:ext cx="144292" cy="50113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4" name="Straight Connector 223">
              <a:extLst>
                <a:ext uri="{FF2B5EF4-FFF2-40B4-BE49-F238E27FC236}">
                  <a16:creationId xmlns:a16="http://schemas.microsoft.com/office/drawing/2014/main" id="{6656FF0A-59AC-7E0A-EAAA-F0C4B98466AB}"/>
                </a:ext>
              </a:extLst>
            </p:cNvPr>
            <p:cNvCxnSpPr>
              <a:cxnSpLocks/>
              <a:stCxn id="216" idx="6"/>
              <a:endCxn id="219" idx="2"/>
            </p:cNvCxnSpPr>
            <p:nvPr/>
          </p:nvCxnSpPr>
          <p:spPr>
            <a:xfrm>
              <a:off x="2042248" y="1993083"/>
              <a:ext cx="159428" cy="76225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5" name="Straight Connector 224">
              <a:extLst>
                <a:ext uri="{FF2B5EF4-FFF2-40B4-BE49-F238E27FC236}">
                  <a16:creationId xmlns:a16="http://schemas.microsoft.com/office/drawing/2014/main" id="{BFAE57E2-D603-820D-A288-39FA54B0FAE7}"/>
                </a:ext>
              </a:extLst>
            </p:cNvPr>
            <p:cNvCxnSpPr>
              <a:cxnSpLocks/>
              <a:stCxn id="217" idx="6"/>
              <a:endCxn id="219" idx="2"/>
            </p:cNvCxnSpPr>
            <p:nvPr/>
          </p:nvCxnSpPr>
          <p:spPr>
            <a:xfrm flipV="1">
              <a:off x="2045379" y="2069308"/>
              <a:ext cx="156297" cy="113635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6" name="Straight Connector 225">
              <a:extLst>
                <a:ext uri="{FF2B5EF4-FFF2-40B4-BE49-F238E27FC236}">
                  <a16:creationId xmlns:a16="http://schemas.microsoft.com/office/drawing/2014/main" id="{9AED507F-44A0-B139-868E-3E73CF9DA4F3}"/>
                </a:ext>
              </a:extLst>
            </p:cNvPr>
            <p:cNvCxnSpPr>
              <a:cxnSpLocks/>
              <a:stCxn id="216" idx="6"/>
              <a:endCxn id="220" idx="2"/>
            </p:cNvCxnSpPr>
            <p:nvPr/>
          </p:nvCxnSpPr>
          <p:spPr>
            <a:xfrm>
              <a:off x="2042248" y="1993083"/>
              <a:ext cx="159428" cy="340681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7" name="Straight Connector 226">
              <a:extLst>
                <a:ext uri="{FF2B5EF4-FFF2-40B4-BE49-F238E27FC236}">
                  <a16:creationId xmlns:a16="http://schemas.microsoft.com/office/drawing/2014/main" id="{5A1B2DA6-DDE9-9F8A-C4FC-08F54E55885B}"/>
                </a:ext>
              </a:extLst>
            </p:cNvPr>
            <p:cNvCxnSpPr>
              <a:cxnSpLocks/>
              <a:stCxn id="218" idx="6"/>
              <a:endCxn id="220" idx="2"/>
            </p:cNvCxnSpPr>
            <p:nvPr/>
          </p:nvCxnSpPr>
          <p:spPr>
            <a:xfrm flipV="1">
              <a:off x="2044384" y="2333764"/>
              <a:ext cx="157292" cy="50113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8" name="Straight Connector 227">
              <a:extLst>
                <a:ext uri="{FF2B5EF4-FFF2-40B4-BE49-F238E27FC236}">
                  <a16:creationId xmlns:a16="http://schemas.microsoft.com/office/drawing/2014/main" id="{35E5BFFD-8FC0-83CD-A1D4-3497AAB1E283}"/>
                </a:ext>
              </a:extLst>
            </p:cNvPr>
            <p:cNvCxnSpPr>
              <a:cxnSpLocks/>
              <a:stCxn id="214" idx="6"/>
              <a:endCxn id="216" idx="2"/>
            </p:cNvCxnSpPr>
            <p:nvPr/>
          </p:nvCxnSpPr>
          <p:spPr>
            <a:xfrm flipV="1">
              <a:off x="1756092" y="1993083"/>
              <a:ext cx="142156" cy="76225"/>
            </a:xfrm>
            <a:prstGeom prst="line">
              <a:avLst/>
            </a:prstGeom>
            <a:ln w="12700" cmpd="sng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9" name="Straight Connector 228">
              <a:extLst>
                <a:ext uri="{FF2B5EF4-FFF2-40B4-BE49-F238E27FC236}">
                  <a16:creationId xmlns:a16="http://schemas.microsoft.com/office/drawing/2014/main" id="{3BF640FE-B5DC-1F22-8C38-2D2114D298E2}"/>
                </a:ext>
              </a:extLst>
            </p:cNvPr>
            <p:cNvCxnSpPr>
              <a:cxnSpLocks/>
              <a:stCxn id="215" idx="6"/>
              <a:endCxn id="216" idx="2"/>
            </p:cNvCxnSpPr>
            <p:nvPr/>
          </p:nvCxnSpPr>
          <p:spPr>
            <a:xfrm flipV="1">
              <a:off x="1756092" y="1993083"/>
              <a:ext cx="142156" cy="340681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0" name="Straight Connector 229">
              <a:extLst>
                <a:ext uri="{FF2B5EF4-FFF2-40B4-BE49-F238E27FC236}">
                  <a16:creationId xmlns:a16="http://schemas.microsoft.com/office/drawing/2014/main" id="{08E983A4-16BE-3227-B061-223F32E25981}"/>
                </a:ext>
              </a:extLst>
            </p:cNvPr>
            <p:cNvCxnSpPr>
              <a:cxnSpLocks/>
              <a:stCxn id="217" idx="6"/>
              <a:endCxn id="220" idx="2"/>
            </p:cNvCxnSpPr>
            <p:nvPr/>
          </p:nvCxnSpPr>
          <p:spPr>
            <a:xfrm>
              <a:off x="2045379" y="2182943"/>
              <a:ext cx="177385" cy="201733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77" name="Pfeil: nach rechts 118">
            <a:extLst>
              <a:ext uri="{FF2B5EF4-FFF2-40B4-BE49-F238E27FC236}">
                <a16:creationId xmlns:a16="http://schemas.microsoft.com/office/drawing/2014/main" id="{1848A340-736F-3D43-3726-0AC18924BC61}"/>
              </a:ext>
            </a:extLst>
          </p:cNvPr>
          <p:cNvSpPr/>
          <p:nvPr/>
        </p:nvSpPr>
        <p:spPr>
          <a:xfrm>
            <a:off x="3815767" y="2158266"/>
            <a:ext cx="372726" cy="143530"/>
          </a:xfrm>
          <a:prstGeom prst="rightArrow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de-DE"/>
          </a:p>
        </p:txBody>
      </p:sp>
      <p:sp>
        <p:nvSpPr>
          <p:cNvPr id="278" name="Textfeld 157">
            <a:extLst>
              <a:ext uri="{FF2B5EF4-FFF2-40B4-BE49-F238E27FC236}">
                <a16:creationId xmlns:a16="http://schemas.microsoft.com/office/drawing/2014/main" id="{108BC810-6882-7389-6F67-ED67849F706F}"/>
              </a:ext>
            </a:extLst>
          </p:cNvPr>
          <p:cNvSpPr txBox="1"/>
          <p:nvPr/>
        </p:nvSpPr>
        <p:spPr>
          <a:xfrm>
            <a:off x="3707078" y="1926782"/>
            <a:ext cx="590106" cy="19300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>
              <a:lnSpc>
                <a:spcPct val="114000"/>
              </a:lnSpc>
            </a:pPr>
            <a:r>
              <a:rPr lang="de-DE" sz="1200">
                <a:latin typeface="+mn-lt"/>
                <a:cs typeface="Arial"/>
              </a:rPr>
              <a:t>train</a:t>
            </a:r>
            <a:endParaRPr lang="de-DE" sz="1200">
              <a:latin typeface="+mn-lt"/>
            </a:endParaRPr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B234875A-069A-485C-AF5C-ECA552A153E8}"/>
              </a:ext>
            </a:extLst>
          </p:cNvPr>
          <p:cNvGrpSpPr/>
          <p:nvPr/>
        </p:nvGrpSpPr>
        <p:grpSpPr>
          <a:xfrm>
            <a:off x="4358226" y="1962634"/>
            <a:ext cx="733584" cy="534794"/>
            <a:chOff x="4358226" y="1957051"/>
            <a:chExt cx="733584" cy="534794"/>
          </a:xfrm>
        </p:grpSpPr>
        <p:sp>
          <p:nvSpPr>
            <p:cNvPr id="296" name="Oval 295">
              <a:extLst>
                <a:ext uri="{FF2B5EF4-FFF2-40B4-BE49-F238E27FC236}">
                  <a16:creationId xmlns:a16="http://schemas.microsoft.com/office/drawing/2014/main" id="{C9995787-8CC9-BC9C-91FA-99F3E1798C0E}"/>
                </a:ext>
              </a:extLst>
            </p:cNvPr>
            <p:cNvSpPr/>
            <p:nvPr/>
          </p:nvSpPr>
          <p:spPr>
            <a:xfrm>
              <a:off x="4358226" y="2033276"/>
              <a:ext cx="144000" cy="144000"/>
            </a:xfrm>
            <a:prstGeom prst="ellipse">
              <a:avLst/>
            </a:prstGeom>
            <a:solidFill>
              <a:schemeClr val="accent6"/>
            </a:solidFill>
            <a:ln w="12700"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14000"/>
                </a:lnSpc>
              </a:pPr>
              <a:endParaRPr lang="en-US"/>
            </a:p>
          </p:txBody>
        </p:sp>
        <p:sp>
          <p:nvSpPr>
            <p:cNvPr id="297" name="Oval 296">
              <a:extLst>
                <a:ext uri="{FF2B5EF4-FFF2-40B4-BE49-F238E27FC236}">
                  <a16:creationId xmlns:a16="http://schemas.microsoft.com/office/drawing/2014/main" id="{2B038A96-5263-5D6B-D13C-926679207067}"/>
                </a:ext>
              </a:extLst>
            </p:cNvPr>
            <p:cNvSpPr/>
            <p:nvPr/>
          </p:nvSpPr>
          <p:spPr>
            <a:xfrm>
              <a:off x="4358226" y="2297732"/>
              <a:ext cx="144000" cy="144000"/>
            </a:xfrm>
            <a:prstGeom prst="ellipse">
              <a:avLst/>
            </a:prstGeom>
            <a:solidFill>
              <a:schemeClr val="accent6"/>
            </a:solidFill>
            <a:ln w="12700"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14000"/>
                </a:lnSpc>
              </a:pPr>
              <a:endParaRPr lang="en-US"/>
            </a:p>
          </p:txBody>
        </p:sp>
        <p:sp>
          <p:nvSpPr>
            <p:cNvPr id="298" name="Oval 297">
              <a:extLst>
                <a:ext uri="{FF2B5EF4-FFF2-40B4-BE49-F238E27FC236}">
                  <a16:creationId xmlns:a16="http://schemas.microsoft.com/office/drawing/2014/main" id="{9996C581-252D-40C9-8757-0DEB8F0AD238}"/>
                </a:ext>
              </a:extLst>
            </p:cNvPr>
            <p:cNvSpPr/>
            <p:nvPr/>
          </p:nvSpPr>
          <p:spPr>
            <a:xfrm>
              <a:off x="4644382" y="1957051"/>
              <a:ext cx="144000" cy="144000"/>
            </a:xfrm>
            <a:prstGeom prst="ellipse">
              <a:avLst/>
            </a:prstGeom>
            <a:solidFill>
              <a:schemeClr val="accent2"/>
            </a:solidFill>
            <a:ln w="12700"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14000"/>
                </a:lnSpc>
              </a:pPr>
              <a:endParaRPr lang="en-US"/>
            </a:p>
          </p:txBody>
        </p:sp>
        <p:sp>
          <p:nvSpPr>
            <p:cNvPr id="299" name="Oval 298">
              <a:extLst>
                <a:ext uri="{FF2B5EF4-FFF2-40B4-BE49-F238E27FC236}">
                  <a16:creationId xmlns:a16="http://schemas.microsoft.com/office/drawing/2014/main" id="{214B444E-3835-9ABF-C983-E25B0E9ACD2D}"/>
                </a:ext>
              </a:extLst>
            </p:cNvPr>
            <p:cNvSpPr/>
            <p:nvPr/>
          </p:nvSpPr>
          <p:spPr>
            <a:xfrm>
              <a:off x="4647513" y="2146911"/>
              <a:ext cx="144000" cy="144000"/>
            </a:xfrm>
            <a:prstGeom prst="ellipse">
              <a:avLst/>
            </a:prstGeom>
            <a:solidFill>
              <a:schemeClr val="accent2"/>
            </a:solidFill>
            <a:ln w="12700"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14000"/>
                </a:lnSpc>
              </a:pPr>
              <a:endParaRPr lang="en-US"/>
            </a:p>
          </p:txBody>
        </p:sp>
        <p:sp>
          <p:nvSpPr>
            <p:cNvPr id="300" name="Oval 299">
              <a:extLst>
                <a:ext uri="{FF2B5EF4-FFF2-40B4-BE49-F238E27FC236}">
                  <a16:creationId xmlns:a16="http://schemas.microsoft.com/office/drawing/2014/main" id="{6158CB2A-0138-4422-D674-509C0D5DC994}"/>
                </a:ext>
              </a:extLst>
            </p:cNvPr>
            <p:cNvSpPr/>
            <p:nvPr/>
          </p:nvSpPr>
          <p:spPr>
            <a:xfrm>
              <a:off x="4646518" y="2347845"/>
              <a:ext cx="144000" cy="144000"/>
            </a:xfrm>
            <a:prstGeom prst="ellipse">
              <a:avLst/>
            </a:prstGeom>
            <a:solidFill>
              <a:schemeClr val="accent2"/>
            </a:solidFill>
            <a:ln w="12700"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14000"/>
                </a:lnSpc>
              </a:pPr>
              <a:endParaRPr lang="en-US"/>
            </a:p>
          </p:txBody>
        </p:sp>
        <p:sp>
          <p:nvSpPr>
            <p:cNvPr id="301" name="Oval 300">
              <a:extLst>
                <a:ext uri="{FF2B5EF4-FFF2-40B4-BE49-F238E27FC236}">
                  <a16:creationId xmlns:a16="http://schemas.microsoft.com/office/drawing/2014/main" id="{6B81D9AE-F9FB-0DB1-498C-50C7E3592FD3}"/>
                </a:ext>
              </a:extLst>
            </p:cNvPr>
            <p:cNvSpPr/>
            <p:nvPr/>
          </p:nvSpPr>
          <p:spPr>
            <a:xfrm>
              <a:off x="4947810" y="2033276"/>
              <a:ext cx="144000" cy="144000"/>
            </a:xfrm>
            <a:prstGeom prst="ellipse">
              <a:avLst/>
            </a:prstGeom>
            <a:solidFill>
              <a:schemeClr val="tx2"/>
            </a:solidFill>
            <a:ln w="12700"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14000"/>
                </a:lnSpc>
              </a:pPr>
              <a:endParaRPr lang="en-US"/>
            </a:p>
          </p:txBody>
        </p:sp>
        <p:sp>
          <p:nvSpPr>
            <p:cNvPr id="302" name="Oval 301">
              <a:extLst>
                <a:ext uri="{FF2B5EF4-FFF2-40B4-BE49-F238E27FC236}">
                  <a16:creationId xmlns:a16="http://schemas.microsoft.com/office/drawing/2014/main" id="{CE08EC75-B8D0-B353-5B6C-B85F15D6305C}"/>
                </a:ext>
              </a:extLst>
            </p:cNvPr>
            <p:cNvSpPr/>
            <p:nvPr/>
          </p:nvSpPr>
          <p:spPr>
            <a:xfrm>
              <a:off x="4947810" y="2297732"/>
              <a:ext cx="144000" cy="144000"/>
            </a:xfrm>
            <a:prstGeom prst="ellipse">
              <a:avLst/>
            </a:prstGeom>
            <a:solidFill>
              <a:schemeClr val="tx2"/>
            </a:solidFill>
            <a:ln w="12700"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14000"/>
                </a:lnSpc>
              </a:pPr>
              <a:endParaRPr lang="en-US"/>
            </a:p>
          </p:txBody>
        </p:sp>
        <p:cxnSp>
          <p:nvCxnSpPr>
            <p:cNvPr id="303" name="Straight Connector 302">
              <a:extLst>
                <a:ext uri="{FF2B5EF4-FFF2-40B4-BE49-F238E27FC236}">
                  <a16:creationId xmlns:a16="http://schemas.microsoft.com/office/drawing/2014/main" id="{74E48B20-9C1C-11A5-1CE4-1B6A283EDE65}"/>
                </a:ext>
              </a:extLst>
            </p:cNvPr>
            <p:cNvCxnSpPr>
              <a:cxnSpLocks/>
              <a:stCxn id="296" idx="6"/>
              <a:endCxn id="300" idx="2"/>
            </p:cNvCxnSpPr>
            <p:nvPr/>
          </p:nvCxnSpPr>
          <p:spPr>
            <a:xfrm>
              <a:off x="4502226" y="2105276"/>
              <a:ext cx="144292" cy="314569"/>
            </a:xfrm>
            <a:prstGeom prst="line">
              <a:avLst/>
            </a:prstGeom>
            <a:ln w="12700" cmpd="sng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4" name="Straight Connector 303">
              <a:extLst>
                <a:ext uri="{FF2B5EF4-FFF2-40B4-BE49-F238E27FC236}">
                  <a16:creationId xmlns:a16="http://schemas.microsoft.com/office/drawing/2014/main" id="{B7151B47-4EA1-52F6-FF9A-7E51E0F3DE44}"/>
                </a:ext>
              </a:extLst>
            </p:cNvPr>
            <p:cNvCxnSpPr>
              <a:cxnSpLocks/>
              <a:stCxn id="297" idx="6"/>
              <a:endCxn id="299" idx="2"/>
            </p:cNvCxnSpPr>
            <p:nvPr/>
          </p:nvCxnSpPr>
          <p:spPr>
            <a:xfrm flipV="1">
              <a:off x="4502226" y="2218911"/>
              <a:ext cx="145287" cy="150821"/>
            </a:xfrm>
            <a:prstGeom prst="line">
              <a:avLst/>
            </a:prstGeom>
            <a:ln w="12700" cmpd="sng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5" name="Straight Connector 304">
              <a:extLst>
                <a:ext uri="{FF2B5EF4-FFF2-40B4-BE49-F238E27FC236}">
                  <a16:creationId xmlns:a16="http://schemas.microsoft.com/office/drawing/2014/main" id="{6BEBB4F3-5945-9275-9218-62B87C956AC2}"/>
                </a:ext>
              </a:extLst>
            </p:cNvPr>
            <p:cNvCxnSpPr>
              <a:cxnSpLocks/>
              <a:stCxn id="297" idx="6"/>
              <a:endCxn id="300" idx="2"/>
            </p:cNvCxnSpPr>
            <p:nvPr/>
          </p:nvCxnSpPr>
          <p:spPr>
            <a:xfrm>
              <a:off x="4502226" y="2369732"/>
              <a:ext cx="144292" cy="50113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6" name="Straight Connector 305">
              <a:extLst>
                <a:ext uri="{FF2B5EF4-FFF2-40B4-BE49-F238E27FC236}">
                  <a16:creationId xmlns:a16="http://schemas.microsoft.com/office/drawing/2014/main" id="{BE42B8BA-C17E-0FB8-4345-F59991E578DF}"/>
                </a:ext>
              </a:extLst>
            </p:cNvPr>
            <p:cNvCxnSpPr>
              <a:cxnSpLocks/>
              <a:stCxn id="298" idx="6"/>
              <a:endCxn id="301" idx="2"/>
            </p:cNvCxnSpPr>
            <p:nvPr/>
          </p:nvCxnSpPr>
          <p:spPr>
            <a:xfrm>
              <a:off x="4788382" y="2029051"/>
              <a:ext cx="159428" cy="76225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7" name="Straight Connector 306">
              <a:extLst>
                <a:ext uri="{FF2B5EF4-FFF2-40B4-BE49-F238E27FC236}">
                  <a16:creationId xmlns:a16="http://schemas.microsoft.com/office/drawing/2014/main" id="{E348FBA5-F528-B863-7E4B-548A7EC28947}"/>
                </a:ext>
              </a:extLst>
            </p:cNvPr>
            <p:cNvCxnSpPr>
              <a:cxnSpLocks/>
              <a:stCxn id="299" idx="6"/>
              <a:endCxn id="301" idx="2"/>
            </p:cNvCxnSpPr>
            <p:nvPr/>
          </p:nvCxnSpPr>
          <p:spPr>
            <a:xfrm flipV="1">
              <a:off x="4791513" y="2105276"/>
              <a:ext cx="156297" cy="113635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8" name="Straight Connector 307">
              <a:extLst>
                <a:ext uri="{FF2B5EF4-FFF2-40B4-BE49-F238E27FC236}">
                  <a16:creationId xmlns:a16="http://schemas.microsoft.com/office/drawing/2014/main" id="{804E3EB2-C9CE-4596-CCF3-37B40EF1C917}"/>
                </a:ext>
              </a:extLst>
            </p:cNvPr>
            <p:cNvCxnSpPr>
              <a:cxnSpLocks/>
              <a:stCxn id="298" idx="6"/>
              <a:endCxn id="302" idx="2"/>
            </p:cNvCxnSpPr>
            <p:nvPr/>
          </p:nvCxnSpPr>
          <p:spPr>
            <a:xfrm>
              <a:off x="4788382" y="2029051"/>
              <a:ext cx="159428" cy="340681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9" name="Straight Connector 308">
              <a:extLst>
                <a:ext uri="{FF2B5EF4-FFF2-40B4-BE49-F238E27FC236}">
                  <a16:creationId xmlns:a16="http://schemas.microsoft.com/office/drawing/2014/main" id="{B1C09F59-B8EE-7CD2-04EA-84BF24029AB5}"/>
                </a:ext>
              </a:extLst>
            </p:cNvPr>
            <p:cNvCxnSpPr>
              <a:cxnSpLocks/>
              <a:stCxn id="300" idx="6"/>
              <a:endCxn id="302" idx="2"/>
            </p:cNvCxnSpPr>
            <p:nvPr/>
          </p:nvCxnSpPr>
          <p:spPr>
            <a:xfrm flipV="1">
              <a:off x="4790518" y="2369732"/>
              <a:ext cx="157292" cy="50113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0" name="Straight Connector 309">
              <a:extLst>
                <a:ext uri="{FF2B5EF4-FFF2-40B4-BE49-F238E27FC236}">
                  <a16:creationId xmlns:a16="http://schemas.microsoft.com/office/drawing/2014/main" id="{66CE5CB6-104D-0103-2FB4-CCAD52ECE9F7}"/>
                </a:ext>
              </a:extLst>
            </p:cNvPr>
            <p:cNvCxnSpPr>
              <a:cxnSpLocks/>
              <a:stCxn id="296" idx="6"/>
              <a:endCxn id="298" idx="2"/>
            </p:cNvCxnSpPr>
            <p:nvPr/>
          </p:nvCxnSpPr>
          <p:spPr>
            <a:xfrm flipV="1">
              <a:off x="4502226" y="2029051"/>
              <a:ext cx="142156" cy="76225"/>
            </a:xfrm>
            <a:prstGeom prst="line">
              <a:avLst/>
            </a:prstGeom>
            <a:ln w="12700" cmpd="sng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1" name="Straight Connector 310">
              <a:extLst>
                <a:ext uri="{FF2B5EF4-FFF2-40B4-BE49-F238E27FC236}">
                  <a16:creationId xmlns:a16="http://schemas.microsoft.com/office/drawing/2014/main" id="{8990A72E-03B2-6832-5AC9-860599444EE9}"/>
                </a:ext>
              </a:extLst>
            </p:cNvPr>
            <p:cNvCxnSpPr>
              <a:cxnSpLocks/>
              <a:stCxn id="297" idx="6"/>
              <a:endCxn id="298" idx="2"/>
            </p:cNvCxnSpPr>
            <p:nvPr/>
          </p:nvCxnSpPr>
          <p:spPr>
            <a:xfrm flipV="1">
              <a:off x="4502226" y="2029051"/>
              <a:ext cx="142156" cy="340681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2" name="Straight Connector 311">
              <a:extLst>
                <a:ext uri="{FF2B5EF4-FFF2-40B4-BE49-F238E27FC236}">
                  <a16:creationId xmlns:a16="http://schemas.microsoft.com/office/drawing/2014/main" id="{B976D770-BB3B-F442-490E-0626C047F406}"/>
                </a:ext>
              </a:extLst>
            </p:cNvPr>
            <p:cNvCxnSpPr>
              <a:cxnSpLocks/>
              <a:stCxn id="299" idx="6"/>
              <a:endCxn id="302" idx="2"/>
            </p:cNvCxnSpPr>
            <p:nvPr/>
          </p:nvCxnSpPr>
          <p:spPr>
            <a:xfrm>
              <a:off x="4791513" y="2218911"/>
              <a:ext cx="177385" cy="201733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1" name="Group 20">
            <a:extLst>
              <a:ext uri="{FF2B5EF4-FFF2-40B4-BE49-F238E27FC236}">
                <a16:creationId xmlns:a16="http://schemas.microsoft.com/office/drawing/2014/main" id="{58959EDC-87E5-4F20-B02E-2E47B2F8BF50}"/>
              </a:ext>
            </a:extLst>
          </p:cNvPr>
          <p:cNvGrpSpPr/>
          <p:nvPr/>
        </p:nvGrpSpPr>
        <p:grpSpPr>
          <a:xfrm>
            <a:off x="1608228" y="3323007"/>
            <a:ext cx="320145" cy="347529"/>
            <a:chOff x="1615261" y="3789753"/>
            <a:chExt cx="348057" cy="383112"/>
          </a:xfrm>
        </p:grpSpPr>
        <p:sp>
          <p:nvSpPr>
            <p:cNvPr id="314" name="Freeform 17">
              <a:extLst>
                <a:ext uri="{FF2B5EF4-FFF2-40B4-BE49-F238E27FC236}">
                  <a16:creationId xmlns:a16="http://schemas.microsoft.com/office/drawing/2014/main" id="{001EB3C3-520E-6BF6-D481-FEB7275023E4}"/>
                </a:ext>
              </a:extLst>
            </p:cNvPr>
            <p:cNvSpPr>
              <a:spLocks/>
            </p:cNvSpPr>
            <p:nvPr/>
          </p:nvSpPr>
          <p:spPr bwMode="auto">
            <a:xfrm>
              <a:off x="1615261" y="3789753"/>
              <a:ext cx="348057" cy="383112"/>
            </a:xfrm>
            <a:custGeom>
              <a:avLst/>
              <a:gdLst>
                <a:gd name="connsiteX0" fmla="*/ 488514 w 977900"/>
                <a:gd name="connsiteY0" fmla="*/ 61912 h 1093788"/>
                <a:gd name="connsiteX1" fmla="*/ 917575 w 977900"/>
                <a:gd name="connsiteY1" fmla="*/ 219512 h 1093788"/>
                <a:gd name="connsiteX2" fmla="*/ 488514 w 977900"/>
                <a:gd name="connsiteY2" fmla="*/ 377825 h 1093788"/>
                <a:gd name="connsiteX3" fmla="*/ 58737 w 977900"/>
                <a:gd name="connsiteY3" fmla="*/ 224504 h 1093788"/>
                <a:gd name="connsiteX4" fmla="*/ 58737 w 977900"/>
                <a:gd name="connsiteY4" fmla="*/ 215233 h 1093788"/>
                <a:gd name="connsiteX5" fmla="*/ 488514 w 977900"/>
                <a:gd name="connsiteY5" fmla="*/ 61912 h 1093788"/>
                <a:gd name="connsiteX6" fmla="*/ 477508 w 977900"/>
                <a:gd name="connsiteY6" fmla="*/ 28575 h 1093788"/>
                <a:gd name="connsiteX7" fmla="*/ 173585 w 977900"/>
                <a:gd name="connsiteY7" fmla="*/ 78482 h 1093788"/>
                <a:gd name="connsiteX8" fmla="*/ 172155 w 977900"/>
                <a:gd name="connsiteY8" fmla="*/ 79195 h 1093788"/>
                <a:gd name="connsiteX9" fmla="*/ 165719 w 977900"/>
                <a:gd name="connsiteY9" fmla="*/ 81334 h 1093788"/>
                <a:gd name="connsiteX10" fmla="*/ 164289 w 977900"/>
                <a:gd name="connsiteY10" fmla="*/ 82047 h 1093788"/>
                <a:gd name="connsiteX11" fmla="*/ 157138 w 977900"/>
                <a:gd name="connsiteY11" fmla="*/ 84899 h 1093788"/>
                <a:gd name="connsiteX12" fmla="*/ 149271 w 977900"/>
                <a:gd name="connsiteY12" fmla="*/ 88463 h 1093788"/>
                <a:gd name="connsiteX13" fmla="*/ 144981 w 977900"/>
                <a:gd name="connsiteY13" fmla="*/ 89889 h 1093788"/>
                <a:gd name="connsiteX14" fmla="*/ 142835 w 977900"/>
                <a:gd name="connsiteY14" fmla="*/ 91315 h 1093788"/>
                <a:gd name="connsiteX15" fmla="*/ 50586 w 977900"/>
                <a:gd name="connsiteY15" fmla="*/ 153342 h 1093788"/>
                <a:gd name="connsiteX16" fmla="*/ 49156 w 977900"/>
                <a:gd name="connsiteY16" fmla="*/ 154768 h 1093788"/>
                <a:gd name="connsiteX17" fmla="*/ 47726 w 977900"/>
                <a:gd name="connsiteY17" fmla="*/ 156907 h 1093788"/>
                <a:gd name="connsiteX18" fmla="*/ 44150 w 977900"/>
                <a:gd name="connsiteY18" fmla="*/ 161185 h 1093788"/>
                <a:gd name="connsiteX19" fmla="*/ 43435 w 977900"/>
                <a:gd name="connsiteY19" fmla="*/ 161898 h 1093788"/>
                <a:gd name="connsiteX20" fmla="*/ 41289 w 977900"/>
                <a:gd name="connsiteY20" fmla="*/ 165463 h 1093788"/>
                <a:gd name="connsiteX21" fmla="*/ 39859 w 977900"/>
                <a:gd name="connsiteY21" fmla="*/ 167602 h 1093788"/>
                <a:gd name="connsiteX22" fmla="*/ 38429 w 977900"/>
                <a:gd name="connsiteY22" fmla="*/ 169740 h 1093788"/>
                <a:gd name="connsiteX23" fmla="*/ 36999 w 977900"/>
                <a:gd name="connsiteY23" fmla="*/ 171879 h 1093788"/>
                <a:gd name="connsiteX24" fmla="*/ 36284 w 977900"/>
                <a:gd name="connsiteY24" fmla="*/ 174018 h 1093788"/>
                <a:gd name="connsiteX25" fmla="*/ 34853 w 977900"/>
                <a:gd name="connsiteY25" fmla="*/ 176870 h 1093788"/>
                <a:gd name="connsiteX26" fmla="*/ 34138 w 977900"/>
                <a:gd name="connsiteY26" fmla="*/ 178296 h 1093788"/>
                <a:gd name="connsiteX27" fmla="*/ 32708 w 977900"/>
                <a:gd name="connsiteY27" fmla="*/ 181148 h 1093788"/>
                <a:gd name="connsiteX28" fmla="*/ 31993 w 977900"/>
                <a:gd name="connsiteY28" fmla="*/ 182574 h 1093788"/>
                <a:gd name="connsiteX29" fmla="*/ 31278 w 977900"/>
                <a:gd name="connsiteY29" fmla="*/ 186138 h 1093788"/>
                <a:gd name="connsiteX30" fmla="*/ 30563 w 977900"/>
                <a:gd name="connsiteY30" fmla="*/ 187564 h 1093788"/>
                <a:gd name="connsiteX31" fmla="*/ 29848 w 977900"/>
                <a:gd name="connsiteY31" fmla="*/ 190416 h 1093788"/>
                <a:gd name="connsiteX32" fmla="*/ 29133 w 977900"/>
                <a:gd name="connsiteY32" fmla="*/ 191842 h 1093788"/>
                <a:gd name="connsiteX33" fmla="*/ 28417 w 977900"/>
                <a:gd name="connsiteY33" fmla="*/ 195407 h 1093788"/>
                <a:gd name="connsiteX34" fmla="*/ 28417 w 977900"/>
                <a:gd name="connsiteY34" fmla="*/ 196833 h 1093788"/>
                <a:gd name="connsiteX35" fmla="*/ 27702 w 977900"/>
                <a:gd name="connsiteY35" fmla="*/ 199685 h 1093788"/>
                <a:gd name="connsiteX36" fmla="*/ 27702 w 977900"/>
                <a:gd name="connsiteY36" fmla="*/ 201823 h 1093788"/>
                <a:gd name="connsiteX37" fmla="*/ 26987 w 977900"/>
                <a:gd name="connsiteY37" fmla="*/ 203962 h 1093788"/>
                <a:gd name="connsiteX38" fmla="*/ 26987 w 977900"/>
                <a:gd name="connsiteY38" fmla="*/ 208953 h 1093788"/>
                <a:gd name="connsiteX39" fmla="*/ 26987 w 977900"/>
                <a:gd name="connsiteY39" fmla="*/ 210379 h 1093788"/>
                <a:gd name="connsiteX40" fmla="*/ 26987 w 977900"/>
                <a:gd name="connsiteY40" fmla="*/ 211092 h 1093788"/>
                <a:gd name="connsiteX41" fmla="*/ 26987 w 977900"/>
                <a:gd name="connsiteY41" fmla="*/ 211805 h 1093788"/>
                <a:gd name="connsiteX42" fmla="*/ 26987 w 977900"/>
                <a:gd name="connsiteY42" fmla="*/ 215370 h 1093788"/>
                <a:gd name="connsiteX43" fmla="*/ 27702 w 977900"/>
                <a:gd name="connsiteY43" fmla="*/ 217508 h 1093788"/>
                <a:gd name="connsiteX44" fmla="*/ 27702 w 977900"/>
                <a:gd name="connsiteY44" fmla="*/ 876280 h 1093788"/>
                <a:gd name="connsiteX45" fmla="*/ 26987 w 977900"/>
                <a:gd name="connsiteY45" fmla="*/ 878419 h 1093788"/>
                <a:gd name="connsiteX46" fmla="*/ 26987 w 977900"/>
                <a:gd name="connsiteY46" fmla="*/ 881983 h 1093788"/>
                <a:gd name="connsiteX47" fmla="*/ 26987 w 977900"/>
                <a:gd name="connsiteY47" fmla="*/ 882696 h 1093788"/>
                <a:gd name="connsiteX48" fmla="*/ 26987 w 977900"/>
                <a:gd name="connsiteY48" fmla="*/ 883409 h 1093788"/>
                <a:gd name="connsiteX49" fmla="*/ 26987 w 977900"/>
                <a:gd name="connsiteY49" fmla="*/ 884835 h 1093788"/>
                <a:gd name="connsiteX50" fmla="*/ 26987 w 977900"/>
                <a:gd name="connsiteY50" fmla="*/ 889826 h 1093788"/>
                <a:gd name="connsiteX51" fmla="*/ 27702 w 977900"/>
                <a:gd name="connsiteY51" fmla="*/ 891965 h 1093788"/>
                <a:gd name="connsiteX52" fmla="*/ 27702 w 977900"/>
                <a:gd name="connsiteY52" fmla="*/ 894104 h 1093788"/>
                <a:gd name="connsiteX53" fmla="*/ 28417 w 977900"/>
                <a:gd name="connsiteY53" fmla="*/ 896956 h 1093788"/>
                <a:gd name="connsiteX54" fmla="*/ 28417 w 977900"/>
                <a:gd name="connsiteY54" fmla="*/ 898381 h 1093788"/>
                <a:gd name="connsiteX55" fmla="*/ 29133 w 977900"/>
                <a:gd name="connsiteY55" fmla="*/ 901946 h 1093788"/>
                <a:gd name="connsiteX56" fmla="*/ 29848 w 977900"/>
                <a:gd name="connsiteY56" fmla="*/ 903372 h 1093788"/>
                <a:gd name="connsiteX57" fmla="*/ 30563 w 977900"/>
                <a:gd name="connsiteY57" fmla="*/ 906224 h 1093788"/>
                <a:gd name="connsiteX58" fmla="*/ 31278 w 977900"/>
                <a:gd name="connsiteY58" fmla="*/ 907650 h 1093788"/>
                <a:gd name="connsiteX59" fmla="*/ 31993 w 977900"/>
                <a:gd name="connsiteY59" fmla="*/ 911215 h 1093788"/>
                <a:gd name="connsiteX60" fmla="*/ 32708 w 977900"/>
                <a:gd name="connsiteY60" fmla="*/ 912641 h 1093788"/>
                <a:gd name="connsiteX61" fmla="*/ 34138 w 977900"/>
                <a:gd name="connsiteY61" fmla="*/ 915492 h 1093788"/>
                <a:gd name="connsiteX62" fmla="*/ 34853 w 977900"/>
                <a:gd name="connsiteY62" fmla="*/ 916918 h 1093788"/>
                <a:gd name="connsiteX63" fmla="*/ 36284 w 977900"/>
                <a:gd name="connsiteY63" fmla="*/ 919770 h 1093788"/>
                <a:gd name="connsiteX64" fmla="*/ 36999 w 977900"/>
                <a:gd name="connsiteY64" fmla="*/ 921909 h 1093788"/>
                <a:gd name="connsiteX65" fmla="*/ 38429 w 977900"/>
                <a:gd name="connsiteY65" fmla="*/ 924048 h 1093788"/>
                <a:gd name="connsiteX66" fmla="*/ 39859 w 977900"/>
                <a:gd name="connsiteY66" fmla="*/ 926187 h 1093788"/>
                <a:gd name="connsiteX67" fmla="*/ 41289 w 977900"/>
                <a:gd name="connsiteY67" fmla="*/ 928326 h 1093788"/>
                <a:gd name="connsiteX68" fmla="*/ 43435 w 977900"/>
                <a:gd name="connsiteY68" fmla="*/ 931890 h 1093788"/>
                <a:gd name="connsiteX69" fmla="*/ 44150 w 977900"/>
                <a:gd name="connsiteY69" fmla="*/ 931890 h 1093788"/>
                <a:gd name="connsiteX70" fmla="*/ 47726 w 977900"/>
                <a:gd name="connsiteY70" fmla="*/ 936881 h 1093788"/>
                <a:gd name="connsiteX71" fmla="*/ 49156 w 977900"/>
                <a:gd name="connsiteY71" fmla="*/ 939020 h 1093788"/>
                <a:gd name="connsiteX72" fmla="*/ 50586 w 977900"/>
                <a:gd name="connsiteY72" fmla="*/ 940446 h 1093788"/>
                <a:gd name="connsiteX73" fmla="*/ 142835 w 977900"/>
                <a:gd name="connsiteY73" fmla="*/ 1002473 h 1093788"/>
                <a:gd name="connsiteX74" fmla="*/ 144981 w 977900"/>
                <a:gd name="connsiteY74" fmla="*/ 1003899 h 1093788"/>
                <a:gd name="connsiteX75" fmla="*/ 149271 w 977900"/>
                <a:gd name="connsiteY75" fmla="*/ 1005325 h 1093788"/>
                <a:gd name="connsiteX76" fmla="*/ 157138 w 977900"/>
                <a:gd name="connsiteY76" fmla="*/ 1008890 h 1093788"/>
                <a:gd name="connsiteX77" fmla="*/ 162859 w 977900"/>
                <a:gd name="connsiteY77" fmla="*/ 1011029 h 1093788"/>
                <a:gd name="connsiteX78" fmla="*/ 164289 w 977900"/>
                <a:gd name="connsiteY78" fmla="*/ 1011741 h 1093788"/>
                <a:gd name="connsiteX79" fmla="*/ 172155 w 977900"/>
                <a:gd name="connsiteY79" fmla="*/ 1014593 h 1093788"/>
                <a:gd name="connsiteX80" fmla="*/ 172870 w 977900"/>
                <a:gd name="connsiteY80" fmla="*/ 1015306 h 1093788"/>
                <a:gd name="connsiteX81" fmla="*/ 477508 w 977900"/>
                <a:gd name="connsiteY81" fmla="*/ 1065213 h 1093788"/>
                <a:gd name="connsiteX82" fmla="*/ 486089 w 977900"/>
                <a:gd name="connsiteY82" fmla="*/ 1065213 h 1093788"/>
                <a:gd name="connsiteX83" fmla="*/ 488950 w 977900"/>
                <a:gd name="connsiteY83" fmla="*/ 1065213 h 1093788"/>
                <a:gd name="connsiteX84" fmla="*/ 491810 w 977900"/>
                <a:gd name="connsiteY84" fmla="*/ 1065213 h 1093788"/>
                <a:gd name="connsiteX85" fmla="*/ 500392 w 977900"/>
                <a:gd name="connsiteY85" fmla="*/ 1065213 h 1093788"/>
                <a:gd name="connsiteX86" fmla="*/ 805029 w 977900"/>
                <a:gd name="connsiteY86" fmla="*/ 1015306 h 1093788"/>
                <a:gd name="connsiteX87" fmla="*/ 805744 w 977900"/>
                <a:gd name="connsiteY87" fmla="*/ 1014593 h 1093788"/>
                <a:gd name="connsiteX88" fmla="*/ 813611 w 977900"/>
                <a:gd name="connsiteY88" fmla="*/ 1011741 h 1093788"/>
                <a:gd name="connsiteX89" fmla="*/ 814326 w 977900"/>
                <a:gd name="connsiteY89" fmla="*/ 1011741 h 1093788"/>
                <a:gd name="connsiteX90" fmla="*/ 820762 w 977900"/>
                <a:gd name="connsiteY90" fmla="*/ 1008890 h 1093788"/>
                <a:gd name="connsiteX91" fmla="*/ 828628 w 977900"/>
                <a:gd name="connsiteY91" fmla="*/ 1005325 h 1093788"/>
                <a:gd name="connsiteX92" fmla="*/ 832919 w 977900"/>
                <a:gd name="connsiteY92" fmla="*/ 1003899 h 1093788"/>
                <a:gd name="connsiteX93" fmla="*/ 835064 w 977900"/>
                <a:gd name="connsiteY93" fmla="*/ 1002473 h 1093788"/>
                <a:gd name="connsiteX94" fmla="*/ 927314 w 977900"/>
                <a:gd name="connsiteY94" fmla="*/ 940446 h 1093788"/>
                <a:gd name="connsiteX95" fmla="*/ 928744 w 977900"/>
                <a:gd name="connsiteY95" fmla="*/ 939020 h 1093788"/>
                <a:gd name="connsiteX96" fmla="*/ 930174 w 977900"/>
                <a:gd name="connsiteY96" fmla="*/ 936881 h 1093788"/>
                <a:gd name="connsiteX97" fmla="*/ 933750 w 977900"/>
                <a:gd name="connsiteY97" fmla="*/ 931890 h 1093788"/>
                <a:gd name="connsiteX98" fmla="*/ 934465 w 977900"/>
                <a:gd name="connsiteY98" fmla="*/ 931890 h 1093788"/>
                <a:gd name="connsiteX99" fmla="*/ 936610 w 977900"/>
                <a:gd name="connsiteY99" fmla="*/ 928326 h 1093788"/>
                <a:gd name="connsiteX100" fmla="*/ 938040 w 977900"/>
                <a:gd name="connsiteY100" fmla="*/ 926187 h 1093788"/>
                <a:gd name="connsiteX101" fmla="*/ 939470 w 977900"/>
                <a:gd name="connsiteY101" fmla="*/ 924048 h 1093788"/>
                <a:gd name="connsiteX102" fmla="*/ 940901 w 977900"/>
                <a:gd name="connsiteY102" fmla="*/ 921909 h 1093788"/>
                <a:gd name="connsiteX103" fmla="*/ 941616 w 977900"/>
                <a:gd name="connsiteY103" fmla="*/ 919770 h 1093788"/>
                <a:gd name="connsiteX104" fmla="*/ 943046 w 977900"/>
                <a:gd name="connsiteY104" fmla="*/ 916918 h 1093788"/>
                <a:gd name="connsiteX105" fmla="*/ 943761 w 977900"/>
                <a:gd name="connsiteY105" fmla="*/ 915492 h 1093788"/>
                <a:gd name="connsiteX106" fmla="*/ 945191 w 977900"/>
                <a:gd name="connsiteY106" fmla="*/ 912641 h 1093788"/>
                <a:gd name="connsiteX107" fmla="*/ 945906 w 977900"/>
                <a:gd name="connsiteY107" fmla="*/ 911215 h 1093788"/>
                <a:gd name="connsiteX108" fmla="*/ 946622 w 977900"/>
                <a:gd name="connsiteY108" fmla="*/ 907650 h 1093788"/>
                <a:gd name="connsiteX109" fmla="*/ 947337 w 977900"/>
                <a:gd name="connsiteY109" fmla="*/ 906224 h 1093788"/>
                <a:gd name="connsiteX110" fmla="*/ 948052 w 977900"/>
                <a:gd name="connsiteY110" fmla="*/ 903372 h 1093788"/>
                <a:gd name="connsiteX111" fmla="*/ 948767 w 977900"/>
                <a:gd name="connsiteY111" fmla="*/ 901946 h 1093788"/>
                <a:gd name="connsiteX112" fmla="*/ 949482 w 977900"/>
                <a:gd name="connsiteY112" fmla="*/ 898381 h 1093788"/>
                <a:gd name="connsiteX113" fmla="*/ 949482 w 977900"/>
                <a:gd name="connsiteY113" fmla="*/ 896956 h 1093788"/>
                <a:gd name="connsiteX114" fmla="*/ 950197 w 977900"/>
                <a:gd name="connsiteY114" fmla="*/ 894104 h 1093788"/>
                <a:gd name="connsiteX115" fmla="*/ 950197 w 977900"/>
                <a:gd name="connsiteY115" fmla="*/ 891965 h 1093788"/>
                <a:gd name="connsiteX116" fmla="*/ 950912 w 977900"/>
                <a:gd name="connsiteY116" fmla="*/ 889826 h 1093788"/>
                <a:gd name="connsiteX117" fmla="*/ 950912 w 977900"/>
                <a:gd name="connsiteY117" fmla="*/ 884835 h 1093788"/>
                <a:gd name="connsiteX118" fmla="*/ 950912 w 977900"/>
                <a:gd name="connsiteY118" fmla="*/ 208240 h 1093788"/>
                <a:gd name="connsiteX119" fmla="*/ 950912 w 977900"/>
                <a:gd name="connsiteY119" fmla="*/ 206101 h 1093788"/>
                <a:gd name="connsiteX120" fmla="*/ 950912 w 977900"/>
                <a:gd name="connsiteY120" fmla="*/ 203249 h 1093788"/>
                <a:gd name="connsiteX121" fmla="*/ 950197 w 977900"/>
                <a:gd name="connsiteY121" fmla="*/ 200398 h 1093788"/>
                <a:gd name="connsiteX122" fmla="*/ 949482 w 977900"/>
                <a:gd name="connsiteY122" fmla="*/ 196833 h 1093788"/>
                <a:gd name="connsiteX123" fmla="*/ 949482 w 977900"/>
                <a:gd name="connsiteY123" fmla="*/ 195407 h 1093788"/>
                <a:gd name="connsiteX124" fmla="*/ 948767 w 977900"/>
                <a:gd name="connsiteY124" fmla="*/ 192555 h 1093788"/>
                <a:gd name="connsiteX125" fmla="*/ 885122 w 977900"/>
                <a:gd name="connsiteY125" fmla="*/ 117695 h 1093788"/>
                <a:gd name="connsiteX126" fmla="*/ 880831 w 977900"/>
                <a:gd name="connsiteY126" fmla="*/ 114843 h 1093788"/>
                <a:gd name="connsiteX127" fmla="*/ 879401 w 977900"/>
                <a:gd name="connsiteY127" fmla="*/ 114130 h 1093788"/>
                <a:gd name="connsiteX128" fmla="*/ 875110 w 977900"/>
                <a:gd name="connsiteY128" fmla="*/ 111278 h 1093788"/>
                <a:gd name="connsiteX129" fmla="*/ 873680 w 977900"/>
                <a:gd name="connsiteY129" fmla="*/ 110565 h 1093788"/>
                <a:gd name="connsiteX130" fmla="*/ 870105 w 977900"/>
                <a:gd name="connsiteY130" fmla="*/ 108426 h 1093788"/>
                <a:gd name="connsiteX131" fmla="*/ 867959 w 977900"/>
                <a:gd name="connsiteY131" fmla="*/ 107000 h 1093788"/>
                <a:gd name="connsiteX132" fmla="*/ 864384 w 977900"/>
                <a:gd name="connsiteY132" fmla="*/ 104861 h 1093788"/>
                <a:gd name="connsiteX133" fmla="*/ 861523 w 977900"/>
                <a:gd name="connsiteY133" fmla="*/ 103436 h 1093788"/>
                <a:gd name="connsiteX134" fmla="*/ 858663 w 977900"/>
                <a:gd name="connsiteY134" fmla="*/ 102010 h 1093788"/>
                <a:gd name="connsiteX135" fmla="*/ 855087 w 977900"/>
                <a:gd name="connsiteY135" fmla="*/ 99871 h 1093788"/>
                <a:gd name="connsiteX136" fmla="*/ 852227 w 977900"/>
                <a:gd name="connsiteY136" fmla="*/ 98445 h 1093788"/>
                <a:gd name="connsiteX137" fmla="*/ 848651 w 977900"/>
                <a:gd name="connsiteY137" fmla="*/ 97019 h 1093788"/>
                <a:gd name="connsiteX138" fmla="*/ 845791 w 977900"/>
                <a:gd name="connsiteY138" fmla="*/ 95593 h 1093788"/>
                <a:gd name="connsiteX139" fmla="*/ 841500 w 977900"/>
                <a:gd name="connsiteY139" fmla="*/ 93454 h 1093788"/>
                <a:gd name="connsiteX140" fmla="*/ 839355 w 977900"/>
                <a:gd name="connsiteY140" fmla="*/ 92028 h 1093788"/>
                <a:gd name="connsiteX141" fmla="*/ 834349 w 977900"/>
                <a:gd name="connsiteY141" fmla="*/ 90602 h 1093788"/>
                <a:gd name="connsiteX142" fmla="*/ 830773 w 977900"/>
                <a:gd name="connsiteY142" fmla="*/ 88463 h 1093788"/>
                <a:gd name="connsiteX143" fmla="*/ 827198 w 977900"/>
                <a:gd name="connsiteY143" fmla="*/ 87038 h 1093788"/>
                <a:gd name="connsiteX144" fmla="*/ 821477 w 977900"/>
                <a:gd name="connsiteY144" fmla="*/ 84899 h 1093788"/>
                <a:gd name="connsiteX145" fmla="*/ 820047 w 977900"/>
                <a:gd name="connsiteY145" fmla="*/ 84186 h 1093788"/>
                <a:gd name="connsiteX146" fmla="*/ 812180 w 977900"/>
                <a:gd name="connsiteY146" fmla="*/ 80621 h 1093788"/>
                <a:gd name="connsiteX147" fmla="*/ 795733 w 977900"/>
                <a:gd name="connsiteY147" fmla="*/ 74917 h 1093788"/>
                <a:gd name="connsiteX148" fmla="*/ 795018 w 977900"/>
                <a:gd name="connsiteY148" fmla="*/ 74917 h 1093788"/>
                <a:gd name="connsiteX149" fmla="*/ 778570 w 977900"/>
                <a:gd name="connsiteY149" fmla="*/ 69214 h 1093788"/>
                <a:gd name="connsiteX150" fmla="*/ 777855 w 977900"/>
                <a:gd name="connsiteY150" fmla="*/ 68501 h 1093788"/>
                <a:gd name="connsiteX151" fmla="*/ 760692 w 977900"/>
                <a:gd name="connsiteY151" fmla="*/ 63510 h 1093788"/>
                <a:gd name="connsiteX152" fmla="*/ 759977 w 977900"/>
                <a:gd name="connsiteY152" fmla="*/ 63510 h 1093788"/>
                <a:gd name="connsiteX153" fmla="*/ 742815 w 977900"/>
                <a:gd name="connsiteY153" fmla="*/ 58519 h 1093788"/>
                <a:gd name="connsiteX154" fmla="*/ 741384 w 977900"/>
                <a:gd name="connsiteY154" fmla="*/ 58519 h 1093788"/>
                <a:gd name="connsiteX155" fmla="*/ 723507 w 977900"/>
                <a:gd name="connsiteY155" fmla="*/ 54242 h 1093788"/>
                <a:gd name="connsiteX156" fmla="*/ 722076 w 977900"/>
                <a:gd name="connsiteY156" fmla="*/ 53529 h 1093788"/>
                <a:gd name="connsiteX157" fmla="*/ 704198 w 977900"/>
                <a:gd name="connsiteY157" fmla="*/ 49251 h 1093788"/>
                <a:gd name="connsiteX158" fmla="*/ 702768 w 977900"/>
                <a:gd name="connsiteY158" fmla="*/ 49251 h 1093788"/>
                <a:gd name="connsiteX159" fmla="*/ 684175 w 977900"/>
                <a:gd name="connsiteY159" fmla="*/ 45686 h 1093788"/>
                <a:gd name="connsiteX160" fmla="*/ 682745 w 977900"/>
                <a:gd name="connsiteY160" fmla="*/ 45686 h 1093788"/>
                <a:gd name="connsiteX161" fmla="*/ 664152 w 977900"/>
                <a:gd name="connsiteY161" fmla="*/ 42121 h 1093788"/>
                <a:gd name="connsiteX162" fmla="*/ 662007 w 977900"/>
                <a:gd name="connsiteY162" fmla="*/ 42121 h 1093788"/>
                <a:gd name="connsiteX163" fmla="*/ 643414 w 977900"/>
                <a:gd name="connsiteY163" fmla="*/ 39269 h 1093788"/>
                <a:gd name="connsiteX164" fmla="*/ 641984 w 977900"/>
                <a:gd name="connsiteY164" fmla="*/ 38557 h 1093788"/>
                <a:gd name="connsiteX165" fmla="*/ 621961 w 977900"/>
                <a:gd name="connsiteY165" fmla="*/ 36418 h 1093788"/>
                <a:gd name="connsiteX166" fmla="*/ 620530 w 977900"/>
                <a:gd name="connsiteY166" fmla="*/ 35705 h 1093788"/>
                <a:gd name="connsiteX167" fmla="*/ 600507 w 977900"/>
                <a:gd name="connsiteY167" fmla="*/ 33566 h 1093788"/>
                <a:gd name="connsiteX168" fmla="*/ 599792 w 977900"/>
                <a:gd name="connsiteY168" fmla="*/ 33566 h 1093788"/>
                <a:gd name="connsiteX169" fmla="*/ 578339 w 977900"/>
                <a:gd name="connsiteY169" fmla="*/ 32140 h 1093788"/>
                <a:gd name="connsiteX170" fmla="*/ 577624 w 977900"/>
                <a:gd name="connsiteY170" fmla="*/ 32140 h 1093788"/>
                <a:gd name="connsiteX171" fmla="*/ 556170 w 977900"/>
                <a:gd name="connsiteY171" fmla="*/ 30714 h 1093788"/>
                <a:gd name="connsiteX172" fmla="*/ 534002 w 977900"/>
                <a:gd name="connsiteY172" fmla="*/ 29288 h 1093788"/>
                <a:gd name="connsiteX173" fmla="*/ 488950 w 977900"/>
                <a:gd name="connsiteY173" fmla="*/ 28575 h 1093788"/>
                <a:gd name="connsiteX174" fmla="*/ 477508 w 977900"/>
                <a:gd name="connsiteY174" fmla="*/ 28575 h 1093788"/>
                <a:gd name="connsiteX175" fmla="*/ 488950 w 977900"/>
                <a:gd name="connsiteY175" fmla="*/ 0 h 1093788"/>
                <a:gd name="connsiteX176" fmla="*/ 821579 w 977900"/>
                <a:gd name="connsiteY176" fmla="*/ 54903 h 1093788"/>
                <a:gd name="connsiteX177" fmla="*/ 976473 w 977900"/>
                <a:gd name="connsiteY177" fmla="*/ 192518 h 1093788"/>
                <a:gd name="connsiteX178" fmla="*/ 977900 w 977900"/>
                <a:gd name="connsiteY178" fmla="*/ 198935 h 1093788"/>
                <a:gd name="connsiteX179" fmla="*/ 977900 w 977900"/>
                <a:gd name="connsiteY179" fmla="*/ 884870 h 1093788"/>
                <a:gd name="connsiteX180" fmla="*/ 488950 w 977900"/>
                <a:gd name="connsiteY180" fmla="*/ 1093788 h 1093788"/>
                <a:gd name="connsiteX181" fmla="*/ 0 w 977900"/>
                <a:gd name="connsiteY181" fmla="*/ 884870 h 1093788"/>
                <a:gd name="connsiteX182" fmla="*/ 714 w 977900"/>
                <a:gd name="connsiteY182" fmla="*/ 873462 h 1093788"/>
                <a:gd name="connsiteX183" fmla="*/ 714 w 977900"/>
                <a:gd name="connsiteY183" fmla="*/ 220326 h 1093788"/>
                <a:gd name="connsiteX184" fmla="*/ 0 w 977900"/>
                <a:gd name="connsiteY184" fmla="*/ 208918 h 1093788"/>
                <a:gd name="connsiteX185" fmla="*/ 488950 w 977900"/>
                <a:gd name="connsiteY185" fmla="*/ 0 h 10937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</a:cxnLst>
              <a:rect l="l" t="t" r="r" b="b"/>
              <a:pathLst>
                <a:path w="977900" h="1093788">
                  <a:moveTo>
                    <a:pt x="488514" y="61912"/>
                  </a:moveTo>
                  <a:cubicBezTo>
                    <a:pt x="725213" y="61912"/>
                    <a:pt x="917575" y="132511"/>
                    <a:pt x="917575" y="219512"/>
                  </a:cubicBezTo>
                  <a:cubicBezTo>
                    <a:pt x="917575" y="306513"/>
                    <a:pt x="725213" y="377825"/>
                    <a:pt x="488514" y="377825"/>
                  </a:cubicBezTo>
                  <a:cubicBezTo>
                    <a:pt x="255390" y="377825"/>
                    <a:pt x="65173" y="308652"/>
                    <a:pt x="58737" y="224504"/>
                  </a:cubicBezTo>
                  <a:cubicBezTo>
                    <a:pt x="58737" y="224504"/>
                    <a:pt x="58737" y="224504"/>
                    <a:pt x="58737" y="215233"/>
                  </a:cubicBezTo>
                  <a:cubicBezTo>
                    <a:pt x="65173" y="129659"/>
                    <a:pt x="255390" y="61912"/>
                    <a:pt x="488514" y="61912"/>
                  </a:cubicBezTo>
                  <a:close/>
                  <a:moveTo>
                    <a:pt x="477508" y="28575"/>
                  </a:moveTo>
                  <a:cubicBezTo>
                    <a:pt x="361660" y="30001"/>
                    <a:pt x="254393" y="48538"/>
                    <a:pt x="173585" y="78482"/>
                  </a:cubicBezTo>
                  <a:cubicBezTo>
                    <a:pt x="173585" y="78482"/>
                    <a:pt x="172870" y="78482"/>
                    <a:pt x="172155" y="79195"/>
                  </a:cubicBezTo>
                  <a:cubicBezTo>
                    <a:pt x="170010" y="79908"/>
                    <a:pt x="167864" y="80621"/>
                    <a:pt x="165719" y="81334"/>
                  </a:cubicBezTo>
                  <a:cubicBezTo>
                    <a:pt x="165719" y="81334"/>
                    <a:pt x="165004" y="82047"/>
                    <a:pt x="164289" y="82047"/>
                  </a:cubicBezTo>
                  <a:cubicBezTo>
                    <a:pt x="162143" y="82760"/>
                    <a:pt x="159283" y="84186"/>
                    <a:pt x="157138" y="84899"/>
                  </a:cubicBezTo>
                  <a:cubicBezTo>
                    <a:pt x="154277" y="86325"/>
                    <a:pt x="151417" y="87038"/>
                    <a:pt x="149271" y="88463"/>
                  </a:cubicBezTo>
                  <a:cubicBezTo>
                    <a:pt x="147841" y="89176"/>
                    <a:pt x="146411" y="89176"/>
                    <a:pt x="144981" y="89889"/>
                  </a:cubicBezTo>
                  <a:cubicBezTo>
                    <a:pt x="144266" y="90602"/>
                    <a:pt x="143551" y="90602"/>
                    <a:pt x="142835" y="91315"/>
                  </a:cubicBezTo>
                  <a:cubicBezTo>
                    <a:pt x="102074" y="109139"/>
                    <a:pt x="70609" y="130528"/>
                    <a:pt x="50586" y="153342"/>
                  </a:cubicBezTo>
                  <a:cubicBezTo>
                    <a:pt x="49871" y="154055"/>
                    <a:pt x="49871" y="154768"/>
                    <a:pt x="49156" y="154768"/>
                  </a:cubicBezTo>
                  <a:cubicBezTo>
                    <a:pt x="48441" y="155481"/>
                    <a:pt x="47726" y="156194"/>
                    <a:pt x="47726" y="156907"/>
                  </a:cubicBezTo>
                  <a:cubicBezTo>
                    <a:pt x="46295" y="158333"/>
                    <a:pt x="44865" y="159759"/>
                    <a:pt x="44150" y="161185"/>
                  </a:cubicBezTo>
                  <a:cubicBezTo>
                    <a:pt x="44150" y="161898"/>
                    <a:pt x="43435" y="161898"/>
                    <a:pt x="43435" y="161898"/>
                  </a:cubicBezTo>
                  <a:cubicBezTo>
                    <a:pt x="42720" y="163324"/>
                    <a:pt x="42005" y="164750"/>
                    <a:pt x="41289" y="165463"/>
                  </a:cubicBezTo>
                  <a:cubicBezTo>
                    <a:pt x="40574" y="166176"/>
                    <a:pt x="40574" y="166889"/>
                    <a:pt x="39859" y="167602"/>
                  </a:cubicBezTo>
                  <a:cubicBezTo>
                    <a:pt x="39859" y="168315"/>
                    <a:pt x="39144" y="169027"/>
                    <a:pt x="38429" y="169740"/>
                  </a:cubicBezTo>
                  <a:cubicBezTo>
                    <a:pt x="38429" y="170453"/>
                    <a:pt x="37714" y="171166"/>
                    <a:pt x="36999" y="171879"/>
                  </a:cubicBezTo>
                  <a:cubicBezTo>
                    <a:pt x="36999" y="172592"/>
                    <a:pt x="36284" y="173305"/>
                    <a:pt x="36284" y="174018"/>
                  </a:cubicBezTo>
                  <a:cubicBezTo>
                    <a:pt x="35569" y="174731"/>
                    <a:pt x="35569" y="176157"/>
                    <a:pt x="34853" y="176870"/>
                  </a:cubicBezTo>
                  <a:cubicBezTo>
                    <a:pt x="34853" y="177583"/>
                    <a:pt x="34138" y="177583"/>
                    <a:pt x="34138" y="178296"/>
                  </a:cubicBezTo>
                  <a:cubicBezTo>
                    <a:pt x="33423" y="179722"/>
                    <a:pt x="33423" y="180435"/>
                    <a:pt x="32708" y="181148"/>
                  </a:cubicBezTo>
                  <a:cubicBezTo>
                    <a:pt x="32708" y="181861"/>
                    <a:pt x="32708" y="182574"/>
                    <a:pt x="31993" y="182574"/>
                  </a:cubicBezTo>
                  <a:cubicBezTo>
                    <a:pt x="31993" y="184000"/>
                    <a:pt x="31278" y="184712"/>
                    <a:pt x="31278" y="186138"/>
                  </a:cubicBezTo>
                  <a:cubicBezTo>
                    <a:pt x="31278" y="186138"/>
                    <a:pt x="30563" y="186851"/>
                    <a:pt x="30563" y="187564"/>
                  </a:cubicBezTo>
                  <a:cubicBezTo>
                    <a:pt x="30563" y="188277"/>
                    <a:pt x="29848" y="189703"/>
                    <a:pt x="29848" y="190416"/>
                  </a:cubicBezTo>
                  <a:cubicBezTo>
                    <a:pt x="29848" y="191129"/>
                    <a:pt x="29133" y="191129"/>
                    <a:pt x="29133" y="191842"/>
                  </a:cubicBezTo>
                  <a:cubicBezTo>
                    <a:pt x="29133" y="193268"/>
                    <a:pt x="29133" y="193981"/>
                    <a:pt x="28417" y="195407"/>
                  </a:cubicBezTo>
                  <a:cubicBezTo>
                    <a:pt x="28417" y="195407"/>
                    <a:pt x="28417" y="196120"/>
                    <a:pt x="28417" y="196833"/>
                  </a:cubicBezTo>
                  <a:cubicBezTo>
                    <a:pt x="28417" y="197546"/>
                    <a:pt x="27702" y="198972"/>
                    <a:pt x="27702" y="199685"/>
                  </a:cubicBezTo>
                  <a:cubicBezTo>
                    <a:pt x="27702" y="200398"/>
                    <a:pt x="27702" y="201110"/>
                    <a:pt x="27702" y="201823"/>
                  </a:cubicBezTo>
                  <a:cubicBezTo>
                    <a:pt x="27702" y="202536"/>
                    <a:pt x="27702" y="203249"/>
                    <a:pt x="26987" y="203962"/>
                  </a:cubicBezTo>
                  <a:cubicBezTo>
                    <a:pt x="26987" y="206101"/>
                    <a:pt x="26987" y="207527"/>
                    <a:pt x="26987" y="208953"/>
                  </a:cubicBezTo>
                  <a:cubicBezTo>
                    <a:pt x="26987" y="209666"/>
                    <a:pt x="26987" y="209666"/>
                    <a:pt x="26987" y="210379"/>
                  </a:cubicBezTo>
                  <a:cubicBezTo>
                    <a:pt x="26987" y="211092"/>
                    <a:pt x="26987" y="211092"/>
                    <a:pt x="26987" y="211092"/>
                  </a:cubicBezTo>
                  <a:cubicBezTo>
                    <a:pt x="26987" y="211092"/>
                    <a:pt x="26987" y="211805"/>
                    <a:pt x="26987" y="211805"/>
                  </a:cubicBezTo>
                  <a:cubicBezTo>
                    <a:pt x="26987" y="211805"/>
                    <a:pt x="26987" y="211805"/>
                    <a:pt x="26987" y="215370"/>
                  </a:cubicBezTo>
                  <a:cubicBezTo>
                    <a:pt x="26987" y="215370"/>
                    <a:pt x="26987" y="215370"/>
                    <a:pt x="27702" y="217508"/>
                  </a:cubicBezTo>
                  <a:cubicBezTo>
                    <a:pt x="27702" y="217508"/>
                    <a:pt x="27702" y="217508"/>
                    <a:pt x="27702" y="876280"/>
                  </a:cubicBezTo>
                  <a:cubicBezTo>
                    <a:pt x="27702" y="876280"/>
                    <a:pt x="27702" y="876280"/>
                    <a:pt x="26987" y="878419"/>
                  </a:cubicBezTo>
                  <a:cubicBezTo>
                    <a:pt x="26987" y="878419"/>
                    <a:pt x="26987" y="878419"/>
                    <a:pt x="26987" y="881983"/>
                  </a:cubicBezTo>
                  <a:cubicBezTo>
                    <a:pt x="26987" y="881983"/>
                    <a:pt x="26987" y="882696"/>
                    <a:pt x="26987" y="882696"/>
                  </a:cubicBezTo>
                  <a:cubicBezTo>
                    <a:pt x="26987" y="882696"/>
                    <a:pt x="26987" y="882696"/>
                    <a:pt x="26987" y="883409"/>
                  </a:cubicBezTo>
                  <a:cubicBezTo>
                    <a:pt x="26987" y="884122"/>
                    <a:pt x="26987" y="884122"/>
                    <a:pt x="26987" y="884835"/>
                  </a:cubicBezTo>
                  <a:cubicBezTo>
                    <a:pt x="26987" y="886261"/>
                    <a:pt x="26987" y="887687"/>
                    <a:pt x="26987" y="889826"/>
                  </a:cubicBezTo>
                  <a:cubicBezTo>
                    <a:pt x="27702" y="890539"/>
                    <a:pt x="27702" y="891252"/>
                    <a:pt x="27702" y="891965"/>
                  </a:cubicBezTo>
                  <a:cubicBezTo>
                    <a:pt x="27702" y="892678"/>
                    <a:pt x="27702" y="893391"/>
                    <a:pt x="27702" y="894104"/>
                  </a:cubicBezTo>
                  <a:cubicBezTo>
                    <a:pt x="27702" y="894817"/>
                    <a:pt x="28417" y="896243"/>
                    <a:pt x="28417" y="896956"/>
                  </a:cubicBezTo>
                  <a:cubicBezTo>
                    <a:pt x="28417" y="897669"/>
                    <a:pt x="28417" y="898381"/>
                    <a:pt x="28417" y="898381"/>
                  </a:cubicBezTo>
                  <a:cubicBezTo>
                    <a:pt x="29133" y="899807"/>
                    <a:pt x="29133" y="900520"/>
                    <a:pt x="29133" y="901946"/>
                  </a:cubicBezTo>
                  <a:cubicBezTo>
                    <a:pt x="29133" y="902659"/>
                    <a:pt x="29848" y="902659"/>
                    <a:pt x="29848" y="903372"/>
                  </a:cubicBezTo>
                  <a:cubicBezTo>
                    <a:pt x="29848" y="904085"/>
                    <a:pt x="30563" y="905511"/>
                    <a:pt x="30563" y="906224"/>
                  </a:cubicBezTo>
                  <a:cubicBezTo>
                    <a:pt x="30563" y="906937"/>
                    <a:pt x="31278" y="907650"/>
                    <a:pt x="31278" y="907650"/>
                  </a:cubicBezTo>
                  <a:cubicBezTo>
                    <a:pt x="31278" y="909076"/>
                    <a:pt x="31993" y="909789"/>
                    <a:pt x="31993" y="911215"/>
                  </a:cubicBezTo>
                  <a:cubicBezTo>
                    <a:pt x="32708" y="911215"/>
                    <a:pt x="32708" y="911928"/>
                    <a:pt x="32708" y="912641"/>
                  </a:cubicBezTo>
                  <a:cubicBezTo>
                    <a:pt x="33423" y="913354"/>
                    <a:pt x="33423" y="914066"/>
                    <a:pt x="34138" y="915492"/>
                  </a:cubicBezTo>
                  <a:cubicBezTo>
                    <a:pt x="34138" y="916205"/>
                    <a:pt x="34853" y="916205"/>
                    <a:pt x="34853" y="916918"/>
                  </a:cubicBezTo>
                  <a:cubicBezTo>
                    <a:pt x="35569" y="917631"/>
                    <a:pt x="35569" y="919057"/>
                    <a:pt x="36284" y="919770"/>
                  </a:cubicBezTo>
                  <a:cubicBezTo>
                    <a:pt x="36284" y="920483"/>
                    <a:pt x="36999" y="921196"/>
                    <a:pt x="36999" y="921909"/>
                  </a:cubicBezTo>
                  <a:cubicBezTo>
                    <a:pt x="37714" y="922622"/>
                    <a:pt x="38429" y="923335"/>
                    <a:pt x="38429" y="924048"/>
                  </a:cubicBezTo>
                  <a:cubicBezTo>
                    <a:pt x="39144" y="924761"/>
                    <a:pt x="39859" y="925474"/>
                    <a:pt x="39859" y="926187"/>
                  </a:cubicBezTo>
                  <a:cubicBezTo>
                    <a:pt x="40574" y="926900"/>
                    <a:pt x="40574" y="927613"/>
                    <a:pt x="41289" y="928326"/>
                  </a:cubicBezTo>
                  <a:cubicBezTo>
                    <a:pt x="42005" y="929039"/>
                    <a:pt x="42720" y="930464"/>
                    <a:pt x="43435" y="931890"/>
                  </a:cubicBezTo>
                  <a:cubicBezTo>
                    <a:pt x="43435" y="931890"/>
                    <a:pt x="44150" y="931890"/>
                    <a:pt x="44150" y="931890"/>
                  </a:cubicBezTo>
                  <a:cubicBezTo>
                    <a:pt x="44865" y="934029"/>
                    <a:pt x="46295" y="935455"/>
                    <a:pt x="47726" y="936881"/>
                  </a:cubicBezTo>
                  <a:cubicBezTo>
                    <a:pt x="47726" y="937594"/>
                    <a:pt x="48441" y="938307"/>
                    <a:pt x="49156" y="939020"/>
                  </a:cubicBezTo>
                  <a:cubicBezTo>
                    <a:pt x="49871" y="939020"/>
                    <a:pt x="49871" y="939733"/>
                    <a:pt x="50586" y="940446"/>
                  </a:cubicBezTo>
                  <a:cubicBezTo>
                    <a:pt x="70609" y="963260"/>
                    <a:pt x="102074" y="984649"/>
                    <a:pt x="142835" y="1002473"/>
                  </a:cubicBezTo>
                  <a:cubicBezTo>
                    <a:pt x="143551" y="1003186"/>
                    <a:pt x="144266" y="1003186"/>
                    <a:pt x="144981" y="1003899"/>
                  </a:cubicBezTo>
                  <a:cubicBezTo>
                    <a:pt x="146411" y="1004612"/>
                    <a:pt x="147841" y="1005325"/>
                    <a:pt x="149271" y="1005325"/>
                  </a:cubicBezTo>
                  <a:cubicBezTo>
                    <a:pt x="151417" y="1006751"/>
                    <a:pt x="154277" y="1008177"/>
                    <a:pt x="157138" y="1008890"/>
                  </a:cubicBezTo>
                  <a:cubicBezTo>
                    <a:pt x="159283" y="1009603"/>
                    <a:pt x="160713" y="1010316"/>
                    <a:pt x="162859" y="1011029"/>
                  </a:cubicBezTo>
                  <a:cubicBezTo>
                    <a:pt x="163574" y="1011741"/>
                    <a:pt x="163574" y="1011741"/>
                    <a:pt x="164289" y="1011741"/>
                  </a:cubicBezTo>
                  <a:cubicBezTo>
                    <a:pt x="167149" y="1013167"/>
                    <a:pt x="170010" y="1013880"/>
                    <a:pt x="172155" y="1014593"/>
                  </a:cubicBezTo>
                  <a:cubicBezTo>
                    <a:pt x="172870" y="1015306"/>
                    <a:pt x="172870" y="1015306"/>
                    <a:pt x="172870" y="1015306"/>
                  </a:cubicBezTo>
                  <a:cubicBezTo>
                    <a:pt x="253678" y="1045250"/>
                    <a:pt x="360945" y="1063787"/>
                    <a:pt x="477508" y="1065213"/>
                  </a:cubicBezTo>
                  <a:cubicBezTo>
                    <a:pt x="480368" y="1065213"/>
                    <a:pt x="483229" y="1065213"/>
                    <a:pt x="486089" y="1065213"/>
                  </a:cubicBezTo>
                  <a:cubicBezTo>
                    <a:pt x="486804" y="1065213"/>
                    <a:pt x="488235" y="1065213"/>
                    <a:pt x="488950" y="1065213"/>
                  </a:cubicBezTo>
                  <a:cubicBezTo>
                    <a:pt x="489665" y="1065213"/>
                    <a:pt x="491095" y="1065213"/>
                    <a:pt x="491810" y="1065213"/>
                  </a:cubicBezTo>
                  <a:cubicBezTo>
                    <a:pt x="494671" y="1065213"/>
                    <a:pt x="497531" y="1065213"/>
                    <a:pt x="500392" y="1065213"/>
                  </a:cubicBezTo>
                  <a:cubicBezTo>
                    <a:pt x="616955" y="1063787"/>
                    <a:pt x="724222" y="1045250"/>
                    <a:pt x="805029" y="1015306"/>
                  </a:cubicBezTo>
                  <a:cubicBezTo>
                    <a:pt x="805029" y="1015306"/>
                    <a:pt x="805029" y="1015306"/>
                    <a:pt x="805744" y="1014593"/>
                  </a:cubicBezTo>
                  <a:cubicBezTo>
                    <a:pt x="807890" y="1013880"/>
                    <a:pt x="810750" y="1013167"/>
                    <a:pt x="813611" y="1011741"/>
                  </a:cubicBezTo>
                  <a:cubicBezTo>
                    <a:pt x="813611" y="1011741"/>
                    <a:pt x="814326" y="1011741"/>
                    <a:pt x="814326" y="1011741"/>
                  </a:cubicBezTo>
                  <a:cubicBezTo>
                    <a:pt x="816471" y="1010316"/>
                    <a:pt x="818616" y="1009603"/>
                    <a:pt x="820762" y="1008890"/>
                  </a:cubicBezTo>
                  <a:cubicBezTo>
                    <a:pt x="823622" y="1008177"/>
                    <a:pt x="826483" y="1006751"/>
                    <a:pt x="828628" y="1005325"/>
                  </a:cubicBezTo>
                  <a:cubicBezTo>
                    <a:pt x="830058" y="1005325"/>
                    <a:pt x="831488" y="1004612"/>
                    <a:pt x="832919" y="1003899"/>
                  </a:cubicBezTo>
                  <a:cubicBezTo>
                    <a:pt x="833634" y="1003186"/>
                    <a:pt x="834349" y="1003186"/>
                    <a:pt x="835064" y="1002473"/>
                  </a:cubicBezTo>
                  <a:cubicBezTo>
                    <a:pt x="875825" y="984649"/>
                    <a:pt x="907290" y="963260"/>
                    <a:pt x="927314" y="940446"/>
                  </a:cubicBezTo>
                  <a:cubicBezTo>
                    <a:pt x="928029" y="939733"/>
                    <a:pt x="928029" y="939020"/>
                    <a:pt x="928744" y="939020"/>
                  </a:cubicBezTo>
                  <a:cubicBezTo>
                    <a:pt x="929459" y="938307"/>
                    <a:pt x="930174" y="937594"/>
                    <a:pt x="930174" y="936881"/>
                  </a:cubicBezTo>
                  <a:cubicBezTo>
                    <a:pt x="931604" y="935455"/>
                    <a:pt x="933034" y="934029"/>
                    <a:pt x="933750" y="931890"/>
                  </a:cubicBezTo>
                  <a:cubicBezTo>
                    <a:pt x="933750" y="931890"/>
                    <a:pt x="934465" y="931890"/>
                    <a:pt x="934465" y="931890"/>
                  </a:cubicBezTo>
                  <a:cubicBezTo>
                    <a:pt x="935180" y="930464"/>
                    <a:pt x="935895" y="929039"/>
                    <a:pt x="936610" y="928326"/>
                  </a:cubicBezTo>
                  <a:cubicBezTo>
                    <a:pt x="937325" y="927613"/>
                    <a:pt x="937325" y="926900"/>
                    <a:pt x="938040" y="926187"/>
                  </a:cubicBezTo>
                  <a:cubicBezTo>
                    <a:pt x="938040" y="925474"/>
                    <a:pt x="938755" y="924761"/>
                    <a:pt x="939470" y="924048"/>
                  </a:cubicBezTo>
                  <a:cubicBezTo>
                    <a:pt x="939470" y="923335"/>
                    <a:pt x="940186" y="922622"/>
                    <a:pt x="940901" y="921909"/>
                  </a:cubicBezTo>
                  <a:cubicBezTo>
                    <a:pt x="940901" y="921196"/>
                    <a:pt x="941616" y="920483"/>
                    <a:pt x="941616" y="919770"/>
                  </a:cubicBezTo>
                  <a:cubicBezTo>
                    <a:pt x="942331" y="919057"/>
                    <a:pt x="942331" y="917631"/>
                    <a:pt x="943046" y="916918"/>
                  </a:cubicBezTo>
                  <a:cubicBezTo>
                    <a:pt x="943046" y="916205"/>
                    <a:pt x="943761" y="916205"/>
                    <a:pt x="943761" y="915492"/>
                  </a:cubicBezTo>
                  <a:cubicBezTo>
                    <a:pt x="944476" y="914066"/>
                    <a:pt x="944476" y="913354"/>
                    <a:pt x="945191" y="912641"/>
                  </a:cubicBezTo>
                  <a:cubicBezTo>
                    <a:pt x="945191" y="911928"/>
                    <a:pt x="945191" y="911215"/>
                    <a:pt x="945906" y="911215"/>
                  </a:cubicBezTo>
                  <a:cubicBezTo>
                    <a:pt x="945906" y="909789"/>
                    <a:pt x="946622" y="909076"/>
                    <a:pt x="946622" y="907650"/>
                  </a:cubicBezTo>
                  <a:cubicBezTo>
                    <a:pt x="946622" y="907650"/>
                    <a:pt x="947337" y="906937"/>
                    <a:pt x="947337" y="906224"/>
                  </a:cubicBezTo>
                  <a:cubicBezTo>
                    <a:pt x="947337" y="905511"/>
                    <a:pt x="948052" y="904085"/>
                    <a:pt x="948052" y="903372"/>
                  </a:cubicBezTo>
                  <a:cubicBezTo>
                    <a:pt x="948052" y="902659"/>
                    <a:pt x="948767" y="902659"/>
                    <a:pt x="948767" y="901946"/>
                  </a:cubicBezTo>
                  <a:cubicBezTo>
                    <a:pt x="948767" y="900520"/>
                    <a:pt x="948767" y="899807"/>
                    <a:pt x="949482" y="898381"/>
                  </a:cubicBezTo>
                  <a:cubicBezTo>
                    <a:pt x="949482" y="898381"/>
                    <a:pt x="949482" y="897669"/>
                    <a:pt x="949482" y="896956"/>
                  </a:cubicBezTo>
                  <a:cubicBezTo>
                    <a:pt x="949482" y="896243"/>
                    <a:pt x="950197" y="894817"/>
                    <a:pt x="950197" y="894104"/>
                  </a:cubicBezTo>
                  <a:cubicBezTo>
                    <a:pt x="950197" y="893391"/>
                    <a:pt x="950197" y="892678"/>
                    <a:pt x="950197" y="891965"/>
                  </a:cubicBezTo>
                  <a:cubicBezTo>
                    <a:pt x="950197" y="891252"/>
                    <a:pt x="950197" y="890539"/>
                    <a:pt x="950912" y="889826"/>
                  </a:cubicBezTo>
                  <a:cubicBezTo>
                    <a:pt x="950912" y="887687"/>
                    <a:pt x="950912" y="886261"/>
                    <a:pt x="950912" y="884835"/>
                  </a:cubicBezTo>
                  <a:cubicBezTo>
                    <a:pt x="950912" y="884835"/>
                    <a:pt x="950912" y="879132"/>
                    <a:pt x="950912" y="208240"/>
                  </a:cubicBezTo>
                  <a:cubicBezTo>
                    <a:pt x="950912" y="207527"/>
                    <a:pt x="950912" y="206814"/>
                    <a:pt x="950912" y="206101"/>
                  </a:cubicBezTo>
                  <a:cubicBezTo>
                    <a:pt x="950912" y="205388"/>
                    <a:pt x="950912" y="203962"/>
                    <a:pt x="950912" y="203249"/>
                  </a:cubicBezTo>
                  <a:cubicBezTo>
                    <a:pt x="950912" y="201823"/>
                    <a:pt x="950912" y="201110"/>
                    <a:pt x="950197" y="200398"/>
                  </a:cubicBezTo>
                  <a:cubicBezTo>
                    <a:pt x="950197" y="198972"/>
                    <a:pt x="949482" y="197546"/>
                    <a:pt x="949482" y="196833"/>
                  </a:cubicBezTo>
                  <a:cubicBezTo>
                    <a:pt x="949482" y="196120"/>
                    <a:pt x="949482" y="196120"/>
                    <a:pt x="949482" y="195407"/>
                  </a:cubicBezTo>
                  <a:cubicBezTo>
                    <a:pt x="948767" y="194694"/>
                    <a:pt x="948767" y="193268"/>
                    <a:pt x="948767" y="192555"/>
                  </a:cubicBezTo>
                  <a:cubicBezTo>
                    <a:pt x="942331" y="166176"/>
                    <a:pt x="920162" y="140509"/>
                    <a:pt x="885122" y="117695"/>
                  </a:cubicBezTo>
                  <a:cubicBezTo>
                    <a:pt x="883692" y="116982"/>
                    <a:pt x="882261" y="115556"/>
                    <a:pt x="880831" y="114843"/>
                  </a:cubicBezTo>
                  <a:cubicBezTo>
                    <a:pt x="880116" y="114130"/>
                    <a:pt x="880116" y="114130"/>
                    <a:pt x="879401" y="114130"/>
                  </a:cubicBezTo>
                  <a:cubicBezTo>
                    <a:pt x="877971" y="113417"/>
                    <a:pt x="876541" y="111991"/>
                    <a:pt x="875110" y="111278"/>
                  </a:cubicBezTo>
                  <a:cubicBezTo>
                    <a:pt x="875110" y="111278"/>
                    <a:pt x="874395" y="110565"/>
                    <a:pt x="873680" y="110565"/>
                  </a:cubicBezTo>
                  <a:cubicBezTo>
                    <a:pt x="872250" y="109852"/>
                    <a:pt x="871535" y="109139"/>
                    <a:pt x="870105" y="108426"/>
                  </a:cubicBezTo>
                  <a:cubicBezTo>
                    <a:pt x="869389" y="107713"/>
                    <a:pt x="868674" y="107713"/>
                    <a:pt x="867959" y="107000"/>
                  </a:cubicBezTo>
                  <a:cubicBezTo>
                    <a:pt x="866529" y="106287"/>
                    <a:pt x="865814" y="105574"/>
                    <a:pt x="864384" y="104861"/>
                  </a:cubicBezTo>
                  <a:cubicBezTo>
                    <a:pt x="863669" y="104861"/>
                    <a:pt x="862238" y="104148"/>
                    <a:pt x="861523" y="103436"/>
                  </a:cubicBezTo>
                  <a:cubicBezTo>
                    <a:pt x="860808" y="102723"/>
                    <a:pt x="859378" y="102723"/>
                    <a:pt x="858663" y="102010"/>
                  </a:cubicBezTo>
                  <a:cubicBezTo>
                    <a:pt x="857233" y="101297"/>
                    <a:pt x="856517" y="100584"/>
                    <a:pt x="855087" y="99871"/>
                  </a:cubicBezTo>
                  <a:cubicBezTo>
                    <a:pt x="854372" y="99871"/>
                    <a:pt x="852942" y="99158"/>
                    <a:pt x="852227" y="98445"/>
                  </a:cubicBezTo>
                  <a:cubicBezTo>
                    <a:pt x="850797" y="98445"/>
                    <a:pt x="849366" y="97732"/>
                    <a:pt x="848651" y="97019"/>
                  </a:cubicBezTo>
                  <a:cubicBezTo>
                    <a:pt x="847221" y="96306"/>
                    <a:pt x="846506" y="96306"/>
                    <a:pt x="845791" y="95593"/>
                  </a:cubicBezTo>
                  <a:cubicBezTo>
                    <a:pt x="844360" y="94880"/>
                    <a:pt x="842930" y="94167"/>
                    <a:pt x="841500" y="93454"/>
                  </a:cubicBezTo>
                  <a:cubicBezTo>
                    <a:pt x="840785" y="93454"/>
                    <a:pt x="840070" y="92741"/>
                    <a:pt x="839355" y="92028"/>
                  </a:cubicBezTo>
                  <a:cubicBezTo>
                    <a:pt x="837209" y="91315"/>
                    <a:pt x="835779" y="90602"/>
                    <a:pt x="834349" y="90602"/>
                  </a:cubicBezTo>
                  <a:cubicBezTo>
                    <a:pt x="833634" y="89889"/>
                    <a:pt x="832204" y="89176"/>
                    <a:pt x="830773" y="88463"/>
                  </a:cubicBezTo>
                  <a:cubicBezTo>
                    <a:pt x="830058" y="88463"/>
                    <a:pt x="828628" y="87750"/>
                    <a:pt x="827198" y="87038"/>
                  </a:cubicBezTo>
                  <a:cubicBezTo>
                    <a:pt x="825768" y="86325"/>
                    <a:pt x="823622" y="85612"/>
                    <a:pt x="821477" y="84899"/>
                  </a:cubicBezTo>
                  <a:cubicBezTo>
                    <a:pt x="820762" y="84186"/>
                    <a:pt x="820762" y="84186"/>
                    <a:pt x="820047" y="84186"/>
                  </a:cubicBezTo>
                  <a:cubicBezTo>
                    <a:pt x="817186" y="82760"/>
                    <a:pt x="815041" y="82047"/>
                    <a:pt x="812180" y="80621"/>
                  </a:cubicBezTo>
                  <a:cubicBezTo>
                    <a:pt x="806460" y="78482"/>
                    <a:pt x="801454" y="77056"/>
                    <a:pt x="795733" y="74917"/>
                  </a:cubicBezTo>
                  <a:cubicBezTo>
                    <a:pt x="795733" y="74917"/>
                    <a:pt x="795733" y="74917"/>
                    <a:pt x="795018" y="74917"/>
                  </a:cubicBezTo>
                  <a:cubicBezTo>
                    <a:pt x="790012" y="72778"/>
                    <a:pt x="784291" y="70640"/>
                    <a:pt x="778570" y="69214"/>
                  </a:cubicBezTo>
                  <a:cubicBezTo>
                    <a:pt x="778570" y="69214"/>
                    <a:pt x="777855" y="69214"/>
                    <a:pt x="777855" y="68501"/>
                  </a:cubicBezTo>
                  <a:cubicBezTo>
                    <a:pt x="772134" y="67075"/>
                    <a:pt x="766413" y="65649"/>
                    <a:pt x="760692" y="63510"/>
                  </a:cubicBezTo>
                  <a:cubicBezTo>
                    <a:pt x="760692" y="63510"/>
                    <a:pt x="759977" y="63510"/>
                    <a:pt x="759977" y="63510"/>
                  </a:cubicBezTo>
                  <a:cubicBezTo>
                    <a:pt x="754256" y="61371"/>
                    <a:pt x="748535" y="59945"/>
                    <a:pt x="742815" y="58519"/>
                  </a:cubicBezTo>
                  <a:cubicBezTo>
                    <a:pt x="742099" y="58519"/>
                    <a:pt x="741384" y="58519"/>
                    <a:pt x="741384" y="58519"/>
                  </a:cubicBezTo>
                  <a:cubicBezTo>
                    <a:pt x="735663" y="56380"/>
                    <a:pt x="729227" y="54954"/>
                    <a:pt x="723507" y="54242"/>
                  </a:cubicBezTo>
                  <a:cubicBezTo>
                    <a:pt x="722791" y="53529"/>
                    <a:pt x="722791" y="53529"/>
                    <a:pt x="722076" y="53529"/>
                  </a:cubicBezTo>
                  <a:cubicBezTo>
                    <a:pt x="716355" y="52103"/>
                    <a:pt x="709919" y="50677"/>
                    <a:pt x="704198" y="49251"/>
                  </a:cubicBezTo>
                  <a:cubicBezTo>
                    <a:pt x="703483" y="49251"/>
                    <a:pt x="703483" y="49251"/>
                    <a:pt x="702768" y="49251"/>
                  </a:cubicBezTo>
                  <a:cubicBezTo>
                    <a:pt x="696332" y="47825"/>
                    <a:pt x="690611" y="47112"/>
                    <a:pt x="684175" y="45686"/>
                  </a:cubicBezTo>
                  <a:cubicBezTo>
                    <a:pt x="683460" y="45686"/>
                    <a:pt x="683460" y="45686"/>
                    <a:pt x="682745" y="45686"/>
                  </a:cubicBezTo>
                  <a:cubicBezTo>
                    <a:pt x="676309" y="44260"/>
                    <a:pt x="670588" y="42834"/>
                    <a:pt x="664152" y="42121"/>
                  </a:cubicBezTo>
                  <a:cubicBezTo>
                    <a:pt x="663437" y="42121"/>
                    <a:pt x="662722" y="42121"/>
                    <a:pt x="662007" y="42121"/>
                  </a:cubicBezTo>
                  <a:cubicBezTo>
                    <a:pt x="656286" y="40695"/>
                    <a:pt x="649850" y="39982"/>
                    <a:pt x="643414" y="39269"/>
                  </a:cubicBezTo>
                  <a:cubicBezTo>
                    <a:pt x="642699" y="38557"/>
                    <a:pt x="641984" y="38557"/>
                    <a:pt x="641984" y="38557"/>
                  </a:cubicBezTo>
                  <a:cubicBezTo>
                    <a:pt x="635548" y="37844"/>
                    <a:pt x="628397" y="37131"/>
                    <a:pt x="621961" y="36418"/>
                  </a:cubicBezTo>
                  <a:cubicBezTo>
                    <a:pt x="621245" y="36418"/>
                    <a:pt x="621245" y="36418"/>
                    <a:pt x="620530" y="35705"/>
                  </a:cubicBezTo>
                  <a:cubicBezTo>
                    <a:pt x="614094" y="34992"/>
                    <a:pt x="606943" y="34279"/>
                    <a:pt x="600507" y="33566"/>
                  </a:cubicBezTo>
                  <a:cubicBezTo>
                    <a:pt x="599792" y="33566"/>
                    <a:pt x="599792" y="33566"/>
                    <a:pt x="599792" y="33566"/>
                  </a:cubicBezTo>
                  <a:cubicBezTo>
                    <a:pt x="592641" y="32853"/>
                    <a:pt x="585490" y="32140"/>
                    <a:pt x="578339" y="32140"/>
                  </a:cubicBezTo>
                  <a:cubicBezTo>
                    <a:pt x="578339" y="32140"/>
                    <a:pt x="578339" y="32140"/>
                    <a:pt x="577624" y="32140"/>
                  </a:cubicBezTo>
                  <a:cubicBezTo>
                    <a:pt x="570473" y="31427"/>
                    <a:pt x="563321" y="30714"/>
                    <a:pt x="556170" y="30714"/>
                  </a:cubicBezTo>
                  <a:cubicBezTo>
                    <a:pt x="549019" y="30001"/>
                    <a:pt x="541153" y="29288"/>
                    <a:pt x="534002" y="29288"/>
                  </a:cubicBezTo>
                  <a:cubicBezTo>
                    <a:pt x="518984" y="28575"/>
                    <a:pt x="503967" y="28575"/>
                    <a:pt x="488950" y="28575"/>
                  </a:cubicBezTo>
                  <a:cubicBezTo>
                    <a:pt x="485374" y="28575"/>
                    <a:pt x="481083" y="28575"/>
                    <a:pt x="477508" y="28575"/>
                  </a:cubicBezTo>
                  <a:close/>
                  <a:moveTo>
                    <a:pt x="488950" y="0"/>
                  </a:moveTo>
                  <a:cubicBezTo>
                    <a:pt x="613151" y="0"/>
                    <a:pt x="731641" y="19252"/>
                    <a:pt x="821579" y="54903"/>
                  </a:cubicBezTo>
                  <a:cubicBezTo>
                    <a:pt x="912945" y="90555"/>
                    <a:pt x="967193" y="139041"/>
                    <a:pt x="976473" y="192518"/>
                  </a:cubicBezTo>
                  <a:cubicBezTo>
                    <a:pt x="977186" y="193944"/>
                    <a:pt x="977900" y="196083"/>
                    <a:pt x="977900" y="198935"/>
                  </a:cubicBezTo>
                  <a:cubicBezTo>
                    <a:pt x="977900" y="198935"/>
                    <a:pt x="977900" y="198935"/>
                    <a:pt x="977900" y="884870"/>
                  </a:cubicBezTo>
                  <a:cubicBezTo>
                    <a:pt x="977900" y="1001807"/>
                    <a:pt x="763762" y="1093788"/>
                    <a:pt x="488950" y="1093788"/>
                  </a:cubicBezTo>
                  <a:cubicBezTo>
                    <a:pt x="214139" y="1093788"/>
                    <a:pt x="0" y="1001807"/>
                    <a:pt x="0" y="884870"/>
                  </a:cubicBezTo>
                  <a:cubicBezTo>
                    <a:pt x="0" y="881305"/>
                    <a:pt x="0" y="877027"/>
                    <a:pt x="714" y="873462"/>
                  </a:cubicBezTo>
                  <a:cubicBezTo>
                    <a:pt x="714" y="873462"/>
                    <a:pt x="714" y="873462"/>
                    <a:pt x="714" y="220326"/>
                  </a:cubicBezTo>
                  <a:cubicBezTo>
                    <a:pt x="0" y="216761"/>
                    <a:pt x="0" y="212483"/>
                    <a:pt x="0" y="208918"/>
                  </a:cubicBezTo>
                  <a:cubicBezTo>
                    <a:pt x="0" y="91981"/>
                    <a:pt x="214139" y="0"/>
                    <a:pt x="488950" y="0"/>
                  </a:cubicBezTo>
                  <a:close/>
                </a:path>
              </a:pathLst>
            </a:custGeom>
            <a:solidFill>
              <a:schemeClr val="accent5">
                <a:lumMod val="50000"/>
              </a:schemeClr>
            </a:solidFill>
            <a:ln>
              <a:noFill/>
            </a:ln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200"/>
            </a:p>
          </p:txBody>
        </p:sp>
        <p:sp>
          <p:nvSpPr>
            <p:cNvPr id="315" name="Freeform 18">
              <a:extLst>
                <a:ext uri="{FF2B5EF4-FFF2-40B4-BE49-F238E27FC236}">
                  <a16:creationId xmlns:a16="http://schemas.microsoft.com/office/drawing/2014/main" id="{9905333C-827D-A5A5-4499-CA4A5780259E}"/>
                </a:ext>
              </a:extLst>
            </p:cNvPr>
            <p:cNvSpPr>
              <a:spLocks/>
            </p:cNvSpPr>
            <p:nvPr/>
          </p:nvSpPr>
          <p:spPr bwMode="auto">
            <a:xfrm>
              <a:off x="1636167" y="3895956"/>
              <a:ext cx="306245" cy="253554"/>
            </a:xfrm>
            <a:custGeom>
              <a:avLst/>
              <a:gdLst>
                <a:gd name="connsiteX0" fmla="*/ 860425 w 860425"/>
                <a:gd name="connsiteY0" fmla="*/ 434975 h 723900"/>
                <a:gd name="connsiteX1" fmla="*/ 860425 w 860425"/>
                <a:gd name="connsiteY1" fmla="*/ 581935 h 723900"/>
                <a:gd name="connsiteX2" fmla="*/ 743224 w 860425"/>
                <a:gd name="connsiteY2" fmla="*/ 679670 h 723900"/>
                <a:gd name="connsiteX3" fmla="*/ 703919 w 860425"/>
                <a:gd name="connsiteY3" fmla="*/ 693224 h 723900"/>
                <a:gd name="connsiteX4" fmla="*/ 430927 w 860425"/>
                <a:gd name="connsiteY4" fmla="*/ 723900 h 723900"/>
                <a:gd name="connsiteX5" fmla="*/ 155791 w 860425"/>
                <a:gd name="connsiteY5" fmla="*/ 693224 h 723900"/>
                <a:gd name="connsiteX6" fmla="*/ 117201 w 860425"/>
                <a:gd name="connsiteY6" fmla="*/ 679670 h 723900"/>
                <a:gd name="connsiteX7" fmla="*/ 0 w 860425"/>
                <a:gd name="connsiteY7" fmla="*/ 581935 h 723900"/>
                <a:gd name="connsiteX8" fmla="*/ 0 w 860425"/>
                <a:gd name="connsiteY8" fmla="*/ 579794 h 723900"/>
                <a:gd name="connsiteX9" fmla="*/ 715 w 860425"/>
                <a:gd name="connsiteY9" fmla="*/ 577654 h 723900"/>
                <a:gd name="connsiteX10" fmla="*/ 715 w 860425"/>
                <a:gd name="connsiteY10" fmla="*/ 436402 h 723900"/>
                <a:gd name="connsiteX11" fmla="*/ 430927 w 860425"/>
                <a:gd name="connsiteY11" fmla="*/ 557679 h 723900"/>
                <a:gd name="connsiteX12" fmla="*/ 860425 w 860425"/>
                <a:gd name="connsiteY12" fmla="*/ 434975 h 723900"/>
                <a:gd name="connsiteX13" fmla="*/ 860425 w 860425"/>
                <a:gd name="connsiteY13" fmla="*/ 214313 h 723900"/>
                <a:gd name="connsiteX14" fmla="*/ 860425 w 860425"/>
                <a:gd name="connsiteY14" fmla="*/ 384562 h 723900"/>
                <a:gd name="connsiteX15" fmla="*/ 430570 w 860425"/>
                <a:gd name="connsiteY15" fmla="*/ 511176 h 723900"/>
                <a:gd name="connsiteX16" fmla="*/ 0 w 860425"/>
                <a:gd name="connsiteY16" fmla="*/ 385993 h 723900"/>
                <a:gd name="connsiteX17" fmla="*/ 0 w 860425"/>
                <a:gd name="connsiteY17" fmla="*/ 215744 h 723900"/>
                <a:gd name="connsiteX18" fmla="*/ 430570 w 860425"/>
                <a:gd name="connsiteY18" fmla="*/ 340212 h 723900"/>
                <a:gd name="connsiteX19" fmla="*/ 860425 w 860425"/>
                <a:gd name="connsiteY19" fmla="*/ 214313 h 723900"/>
                <a:gd name="connsiteX20" fmla="*/ 860425 w 860425"/>
                <a:gd name="connsiteY20" fmla="*/ 0 h 723900"/>
                <a:gd name="connsiteX21" fmla="*/ 860425 w 860425"/>
                <a:gd name="connsiteY21" fmla="*/ 165508 h 723900"/>
                <a:gd name="connsiteX22" fmla="*/ 430570 w 860425"/>
                <a:gd name="connsiteY22" fmla="*/ 288925 h 723900"/>
                <a:gd name="connsiteX23" fmla="*/ 0 w 860425"/>
                <a:gd name="connsiteY23" fmla="*/ 166935 h 723900"/>
                <a:gd name="connsiteX24" fmla="*/ 0 w 860425"/>
                <a:gd name="connsiteY24" fmla="*/ 1427 h 723900"/>
                <a:gd name="connsiteX25" fmla="*/ 430570 w 860425"/>
                <a:gd name="connsiteY25" fmla="*/ 122704 h 723900"/>
                <a:gd name="connsiteX26" fmla="*/ 860425 w 860425"/>
                <a:gd name="connsiteY26" fmla="*/ 0 h 723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860425" h="723900">
                  <a:moveTo>
                    <a:pt x="860425" y="434975"/>
                  </a:moveTo>
                  <a:cubicBezTo>
                    <a:pt x="860425" y="434975"/>
                    <a:pt x="860425" y="434975"/>
                    <a:pt x="860425" y="581935"/>
                  </a:cubicBezTo>
                  <a:cubicBezTo>
                    <a:pt x="860425" y="614037"/>
                    <a:pt x="815403" y="651847"/>
                    <a:pt x="743224" y="679670"/>
                  </a:cubicBezTo>
                  <a:cubicBezTo>
                    <a:pt x="731076" y="684663"/>
                    <a:pt x="717497" y="688944"/>
                    <a:pt x="703919" y="693224"/>
                  </a:cubicBezTo>
                  <a:cubicBezTo>
                    <a:pt x="629597" y="713199"/>
                    <a:pt x="533835" y="723900"/>
                    <a:pt x="430927" y="723900"/>
                  </a:cubicBezTo>
                  <a:cubicBezTo>
                    <a:pt x="326590" y="723900"/>
                    <a:pt x="230829" y="713199"/>
                    <a:pt x="155791" y="693224"/>
                  </a:cubicBezTo>
                  <a:cubicBezTo>
                    <a:pt x="142213" y="688944"/>
                    <a:pt x="129350" y="684663"/>
                    <a:pt x="117201" y="679670"/>
                  </a:cubicBezTo>
                  <a:cubicBezTo>
                    <a:pt x="45022" y="651847"/>
                    <a:pt x="0" y="614037"/>
                    <a:pt x="0" y="581935"/>
                  </a:cubicBezTo>
                  <a:cubicBezTo>
                    <a:pt x="0" y="581221"/>
                    <a:pt x="0" y="580508"/>
                    <a:pt x="0" y="579794"/>
                  </a:cubicBezTo>
                  <a:cubicBezTo>
                    <a:pt x="0" y="579794"/>
                    <a:pt x="0" y="579794"/>
                    <a:pt x="715" y="577654"/>
                  </a:cubicBezTo>
                  <a:cubicBezTo>
                    <a:pt x="715" y="577654"/>
                    <a:pt x="715" y="577654"/>
                    <a:pt x="715" y="436402"/>
                  </a:cubicBezTo>
                  <a:cubicBezTo>
                    <a:pt x="33588" y="509168"/>
                    <a:pt x="213677" y="557679"/>
                    <a:pt x="430927" y="557679"/>
                  </a:cubicBezTo>
                  <a:cubicBezTo>
                    <a:pt x="648178" y="557679"/>
                    <a:pt x="828981" y="508455"/>
                    <a:pt x="860425" y="434975"/>
                  </a:cubicBezTo>
                  <a:close/>
                  <a:moveTo>
                    <a:pt x="860425" y="214313"/>
                  </a:moveTo>
                  <a:cubicBezTo>
                    <a:pt x="860425" y="214313"/>
                    <a:pt x="860425" y="214313"/>
                    <a:pt x="860425" y="384562"/>
                  </a:cubicBezTo>
                  <a:cubicBezTo>
                    <a:pt x="828955" y="461103"/>
                    <a:pt x="648001" y="511176"/>
                    <a:pt x="430570" y="511176"/>
                  </a:cubicBezTo>
                  <a:cubicBezTo>
                    <a:pt x="213140" y="511176"/>
                    <a:pt x="32901" y="461818"/>
                    <a:pt x="0" y="385993"/>
                  </a:cubicBezTo>
                  <a:cubicBezTo>
                    <a:pt x="0" y="385993"/>
                    <a:pt x="0" y="385993"/>
                    <a:pt x="0" y="215744"/>
                  </a:cubicBezTo>
                  <a:cubicBezTo>
                    <a:pt x="32901" y="290854"/>
                    <a:pt x="213140" y="340212"/>
                    <a:pt x="430570" y="340212"/>
                  </a:cubicBezTo>
                  <a:cubicBezTo>
                    <a:pt x="648001" y="340212"/>
                    <a:pt x="828955" y="290138"/>
                    <a:pt x="860425" y="214313"/>
                  </a:cubicBezTo>
                  <a:close/>
                  <a:moveTo>
                    <a:pt x="860425" y="0"/>
                  </a:moveTo>
                  <a:cubicBezTo>
                    <a:pt x="860425" y="0"/>
                    <a:pt x="860425" y="0"/>
                    <a:pt x="860425" y="165508"/>
                  </a:cubicBezTo>
                  <a:cubicBezTo>
                    <a:pt x="828955" y="239701"/>
                    <a:pt x="648001" y="288925"/>
                    <a:pt x="430570" y="288925"/>
                  </a:cubicBezTo>
                  <a:cubicBezTo>
                    <a:pt x="213140" y="288925"/>
                    <a:pt x="32901" y="240414"/>
                    <a:pt x="0" y="166935"/>
                  </a:cubicBezTo>
                  <a:cubicBezTo>
                    <a:pt x="0" y="166935"/>
                    <a:pt x="0" y="166935"/>
                    <a:pt x="0" y="1427"/>
                  </a:cubicBezTo>
                  <a:cubicBezTo>
                    <a:pt x="32901" y="74193"/>
                    <a:pt x="213140" y="122704"/>
                    <a:pt x="430570" y="122704"/>
                  </a:cubicBezTo>
                  <a:cubicBezTo>
                    <a:pt x="648001" y="122704"/>
                    <a:pt x="828955" y="73480"/>
                    <a:pt x="860425" y="0"/>
                  </a:cubicBez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200"/>
            </a:p>
          </p:txBody>
        </p:sp>
      </p:grpSp>
      <p:grpSp>
        <p:nvGrpSpPr>
          <p:cNvPr id="20" name="Group 19">
            <a:extLst>
              <a:ext uri="{FF2B5EF4-FFF2-40B4-BE49-F238E27FC236}">
                <a16:creationId xmlns:a16="http://schemas.microsoft.com/office/drawing/2014/main" id="{6AAEC1B6-DFB9-46F5-A5E8-3AF9F1AC8C57}"/>
              </a:ext>
            </a:extLst>
          </p:cNvPr>
          <p:cNvGrpSpPr/>
          <p:nvPr/>
        </p:nvGrpSpPr>
        <p:grpSpPr>
          <a:xfrm>
            <a:off x="1616733" y="3804227"/>
            <a:ext cx="320145" cy="347529"/>
            <a:chOff x="1612092" y="3313955"/>
            <a:chExt cx="320145" cy="347529"/>
          </a:xfrm>
        </p:grpSpPr>
        <p:sp>
          <p:nvSpPr>
            <p:cNvPr id="320" name="Freeform 17">
              <a:extLst>
                <a:ext uri="{FF2B5EF4-FFF2-40B4-BE49-F238E27FC236}">
                  <a16:creationId xmlns:a16="http://schemas.microsoft.com/office/drawing/2014/main" id="{E4EEF608-5142-393B-CD71-ED9CD6B71CAC}"/>
                </a:ext>
              </a:extLst>
            </p:cNvPr>
            <p:cNvSpPr>
              <a:spLocks/>
            </p:cNvSpPr>
            <p:nvPr/>
          </p:nvSpPr>
          <p:spPr bwMode="auto">
            <a:xfrm>
              <a:off x="1612092" y="3313955"/>
              <a:ext cx="320145" cy="347529"/>
            </a:xfrm>
            <a:custGeom>
              <a:avLst/>
              <a:gdLst>
                <a:gd name="connsiteX0" fmla="*/ 488514 w 977900"/>
                <a:gd name="connsiteY0" fmla="*/ 61912 h 1093788"/>
                <a:gd name="connsiteX1" fmla="*/ 917575 w 977900"/>
                <a:gd name="connsiteY1" fmla="*/ 219512 h 1093788"/>
                <a:gd name="connsiteX2" fmla="*/ 488514 w 977900"/>
                <a:gd name="connsiteY2" fmla="*/ 377825 h 1093788"/>
                <a:gd name="connsiteX3" fmla="*/ 58737 w 977900"/>
                <a:gd name="connsiteY3" fmla="*/ 224504 h 1093788"/>
                <a:gd name="connsiteX4" fmla="*/ 58737 w 977900"/>
                <a:gd name="connsiteY4" fmla="*/ 215233 h 1093788"/>
                <a:gd name="connsiteX5" fmla="*/ 488514 w 977900"/>
                <a:gd name="connsiteY5" fmla="*/ 61912 h 1093788"/>
                <a:gd name="connsiteX6" fmla="*/ 477508 w 977900"/>
                <a:gd name="connsiteY6" fmla="*/ 28575 h 1093788"/>
                <a:gd name="connsiteX7" fmla="*/ 173585 w 977900"/>
                <a:gd name="connsiteY7" fmla="*/ 78482 h 1093788"/>
                <a:gd name="connsiteX8" fmla="*/ 172155 w 977900"/>
                <a:gd name="connsiteY8" fmla="*/ 79195 h 1093788"/>
                <a:gd name="connsiteX9" fmla="*/ 165719 w 977900"/>
                <a:gd name="connsiteY9" fmla="*/ 81334 h 1093788"/>
                <a:gd name="connsiteX10" fmla="*/ 164289 w 977900"/>
                <a:gd name="connsiteY10" fmla="*/ 82047 h 1093788"/>
                <a:gd name="connsiteX11" fmla="*/ 157138 w 977900"/>
                <a:gd name="connsiteY11" fmla="*/ 84899 h 1093788"/>
                <a:gd name="connsiteX12" fmla="*/ 149271 w 977900"/>
                <a:gd name="connsiteY12" fmla="*/ 88463 h 1093788"/>
                <a:gd name="connsiteX13" fmla="*/ 144981 w 977900"/>
                <a:gd name="connsiteY13" fmla="*/ 89889 h 1093788"/>
                <a:gd name="connsiteX14" fmla="*/ 142835 w 977900"/>
                <a:gd name="connsiteY14" fmla="*/ 91315 h 1093788"/>
                <a:gd name="connsiteX15" fmla="*/ 50586 w 977900"/>
                <a:gd name="connsiteY15" fmla="*/ 153342 h 1093788"/>
                <a:gd name="connsiteX16" fmla="*/ 49156 w 977900"/>
                <a:gd name="connsiteY16" fmla="*/ 154768 h 1093788"/>
                <a:gd name="connsiteX17" fmla="*/ 47726 w 977900"/>
                <a:gd name="connsiteY17" fmla="*/ 156907 h 1093788"/>
                <a:gd name="connsiteX18" fmla="*/ 44150 w 977900"/>
                <a:gd name="connsiteY18" fmla="*/ 161185 h 1093788"/>
                <a:gd name="connsiteX19" fmla="*/ 43435 w 977900"/>
                <a:gd name="connsiteY19" fmla="*/ 161898 h 1093788"/>
                <a:gd name="connsiteX20" fmla="*/ 41289 w 977900"/>
                <a:gd name="connsiteY20" fmla="*/ 165463 h 1093788"/>
                <a:gd name="connsiteX21" fmla="*/ 39859 w 977900"/>
                <a:gd name="connsiteY21" fmla="*/ 167602 h 1093788"/>
                <a:gd name="connsiteX22" fmla="*/ 38429 w 977900"/>
                <a:gd name="connsiteY22" fmla="*/ 169740 h 1093788"/>
                <a:gd name="connsiteX23" fmla="*/ 36999 w 977900"/>
                <a:gd name="connsiteY23" fmla="*/ 171879 h 1093788"/>
                <a:gd name="connsiteX24" fmla="*/ 36284 w 977900"/>
                <a:gd name="connsiteY24" fmla="*/ 174018 h 1093788"/>
                <a:gd name="connsiteX25" fmla="*/ 34853 w 977900"/>
                <a:gd name="connsiteY25" fmla="*/ 176870 h 1093788"/>
                <a:gd name="connsiteX26" fmla="*/ 34138 w 977900"/>
                <a:gd name="connsiteY26" fmla="*/ 178296 h 1093788"/>
                <a:gd name="connsiteX27" fmla="*/ 32708 w 977900"/>
                <a:gd name="connsiteY27" fmla="*/ 181148 h 1093788"/>
                <a:gd name="connsiteX28" fmla="*/ 31993 w 977900"/>
                <a:gd name="connsiteY28" fmla="*/ 182574 h 1093788"/>
                <a:gd name="connsiteX29" fmla="*/ 31278 w 977900"/>
                <a:gd name="connsiteY29" fmla="*/ 186138 h 1093788"/>
                <a:gd name="connsiteX30" fmla="*/ 30563 w 977900"/>
                <a:gd name="connsiteY30" fmla="*/ 187564 h 1093788"/>
                <a:gd name="connsiteX31" fmla="*/ 29848 w 977900"/>
                <a:gd name="connsiteY31" fmla="*/ 190416 h 1093788"/>
                <a:gd name="connsiteX32" fmla="*/ 29133 w 977900"/>
                <a:gd name="connsiteY32" fmla="*/ 191842 h 1093788"/>
                <a:gd name="connsiteX33" fmla="*/ 28417 w 977900"/>
                <a:gd name="connsiteY33" fmla="*/ 195407 h 1093788"/>
                <a:gd name="connsiteX34" fmla="*/ 28417 w 977900"/>
                <a:gd name="connsiteY34" fmla="*/ 196833 h 1093788"/>
                <a:gd name="connsiteX35" fmla="*/ 27702 w 977900"/>
                <a:gd name="connsiteY35" fmla="*/ 199685 h 1093788"/>
                <a:gd name="connsiteX36" fmla="*/ 27702 w 977900"/>
                <a:gd name="connsiteY36" fmla="*/ 201823 h 1093788"/>
                <a:gd name="connsiteX37" fmla="*/ 26987 w 977900"/>
                <a:gd name="connsiteY37" fmla="*/ 203962 h 1093788"/>
                <a:gd name="connsiteX38" fmla="*/ 26987 w 977900"/>
                <a:gd name="connsiteY38" fmla="*/ 208953 h 1093788"/>
                <a:gd name="connsiteX39" fmla="*/ 26987 w 977900"/>
                <a:gd name="connsiteY39" fmla="*/ 210379 h 1093788"/>
                <a:gd name="connsiteX40" fmla="*/ 26987 w 977900"/>
                <a:gd name="connsiteY40" fmla="*/ 211092 h 1093788"/>
                <a:gd name="connsiteX41" fmla="*/ 26987 w 977900"/>
                <a:gd name="connsiteY41" fmla="*/ 211805 h 1093788"/>
                <a:gd name="connsiteX42" fmla="*/ 26987 w 977900"/>
                <a:gd name="connsiteY42" fmla="*/ 215370 h 1093788"/>
                <a:gd name="connsiteX43" fmla="*/ 27702 w 977900"/>
                <a:gd name="connsiteY43" fmla="*/ 217508 h 1093788"/>
                <a:gd name="connsiteX44" fmla="*/ 27702 w 977900"/>
                <a:gd name="connsiteY44" fmla="*/ 876280 h 1093788"/>
                <a:gd name="connsiteX45" fmla="*/ 26987 w 977900"/>
                <a:gd name="connsiteY45" fmla="*/ 878419 h 1093788"/>
                <a:gd name="connsiteX46" fmla="*/ 26987 w 977900"/>
                <a:gd name="connsiteY46" fmla="*/ 881983 h 1093788"/>
                <a:gd name="connsiteX47" fmla="*/ 26987 w 977900"/>
                <a:gd name="connsiteY47" fmla="*/ 882696 h 1093788"/>
                <a:gd name="connsiteX48" fmla="*/ 26987 w 977900"/>
                <a:gd name="connsiteY48" fmla="*/ 883409 h 1093788"/>
                <a:gd name="connsiteX49" fmla="*/ 26987 w 977900"/>
                <a:gd name="connsiteY49" fmla="*/ 884835 h 1093788"/>
                <a:gd name="connsiteX50" fmla="*/ 26987 w 977900"/>
                <a:gd name="connsiteY50" fmla="*/ 889826 h 1093788"/>
                <a:gd name="connsiteX51" fmla="*/ 27702 w 977900"/>
                <a:gd name="connsiteY51" fmla="*/ 891965 h 1093788"/>
                <a:gd name="connsiteX52" fmla="*/ 27702 w 977900"/>
                <a:gd name="connsiteY52" fmla="*/ 894104 h 1093788"/>
                <a:gd name="connsiteX53" fmla="*/ 28417 w 977900"/>
                <a:gd name="connsiteY53" fmla="*/ 896956 h 1093788"/>
                <a:gd name="connsiteX54" fmla="*/ 28417 w 977900"/>
                <a:gd name="connsiteY54" fmla="*/ 898381 h 1093788"/>
                <a:gd name="connsiteX55" fmla="*/ 29133 w 977900"/>
                <a:gd name="connsiteY55" fmla="*/ 901946 h 1093788"/>
                <a:gd name="connsiteX56" fmla="*/ 29848 w 977900"/>
                <a:gd name="connsiteY56" fmla="*/ 903372 h 1093788"/>
                <a:gd name="connsiteX57" fmla="*/ 30563 w 977900"/>
                <a:gd name="connsiteY57" fmla="*/ 906224 h 1093788"/>
                <a:gd name="connsiteX58" fmla="*/ 31278 w 977900"/>
                <a:gd name="connsiteY58" fmla="*/ 907650 h 1093788"/>
                <a:gd name="connsiteX59" fmla="*/ 31993 w 977900"/>
                <a:gd name="connsiteY59" fmla="*/ 911215 h 1093788"/>
                <a:gd name="connsiteX60" fmla="*/ 32708 w 977900"/>
                <a:gd name="connsiteY60" fmla="*/ 912641 h 1093788"/>
                <a:gd name="connsiteX61" fmla="*/ 34138 w 977900"/>
                <a:gd name="connsiteY61" fmla="*/ 915492 h 1093788"/>
                <a:gd name="connsiteX62" fmla="*/ 34853 w 977900"/>
                <a:gd name="connsiteY62" fmla="*/ 916918 h 1093788"/>
                <a:gd name="connsiteX63" fmla="*/ 36284 w 977900"/>
                <a:gd name="connsiteY63" fmla="*/ 919770 h 1093788"/>
                <a:gd name="connsiteX64" fmla="*/ 36999 w 977900"/>
                <a:gd name="connsiteY64" fmla="*/ 921909 h 1093788"/>
                <a:gd name="connsiteX65" fmla="*/ 38429 w 977900"/>
                <a:gd name="connsiteY65" fmla="*/ 924048 h 1093788"/>
                <a:gd name="connsiteX66" fmla="*/ 39859 w 977900"/>
                <a:gd name="connsiteY66" fmla="*/ 926187 h 1093788"/>
                <a:gd name="connsiteX67" fmla="*/ 41289 w 977900"/>
                <a:gd name="connsiteY67" fmla="*/ 928326 h 1093788"/>
                <a:gd name="connsiteX68" fmla="*/ 43435 w 977900"/>
                <a:gd name="connsiteY68" fmla="*/ 931890 h 1093788"/>
                <a:gd name="connsiteX69" fmla="*/ 44150 w 977900"/>
                <a:gd name="connsiteY69" fmla="*/ 931890 h 1093788"/>
                <a:gd name="connsiteX70" fmla="*/ 47726 w 977900"/>
                <a:gd name="connsiteY70" fmla="*/ 936881 h 1093788"/>
                <a:gd name="connsiteX71" fmla="*/ 49156 w 977900"/>
                <a:gd name="connsiteY71" fmla="*/ 939020 h 1093788"/>
                <a:gd name="connsiteX72" fmla="*/ 50586 w 977900"/>
                <a:gd name="connsiteY72" fmla="*/ 940446 h 1093788"/>
                <a:gd name="connsiteX73" fmla="*/ 142835 w 977900"/>
                <a:gd name="connsiteY73" fmla="*/ 1002473 h 1093788"/>
                <a:gd name="connsiteX74" fmla="*/ 144981 w 977900"/>
                <a:gd name="connsiteY74" fmla="*/ 1003899 h 1093788"/>
                <a:gd name="connsiteX75" fmla="*/ 149271 w 977900"/>
                <a:gd name="connsiteY75" fmla="*/ 1005325 h 1093788"/>
                <a:gd name="connsiteX76" fmla="*/ 157138 w 977900"/>
                <a:gd name="connsiteY76" fmla="*/ 1008890 h 1093788"/>
                <a:gd name="connsiteX77" fmla="*/ 162859 w 977900"/>
                <a:gd name="connsiteY77" fmla="*/ 1011029 h 1093788"/>
                <a:gd name="connsiteX78" fmla="*/ 164289 w 977900"/>
                <a:gd name="connsiteY78" fmla="*/ 1011741 h 1093788"/>
                <a:gd name="connsiteX79" fmla="*/ 172155 w 977900"/>
                <a:gd name="connsiteY79" fmla="*/ 1014593 h 1093788"/>
                <a:gd name="connsiteX80" fmla="*/ 172870 w 977900"/>
                <a:gd name="connsiteY80" fmla="*/ 1015306 h 1093788"/>
                <a:gd name="connsiteX81" fmla="*/ 477508 w 977900"/>
                <a:gd name="connsiteY81" fmla="*/ 1065213 h 1093788"/>
                <a:gd name="connsiteX82" fmla="*/ 486089 w 977900"/>
                <a:gd name="connsiteY82" fmla="*/ 1065213 h 1093788"/>
                <a:gd name="connsiteX83" fmla="*/ 488950 w 977900"/>
                <a:gd name="connsiteY83" fmla="*/ 1065213 h 1093788"/>
                <a:gd name="connsiteX84" fmla="*/ 491810 w 977900"/>
                <a:gd name="connsiteY84" fmla="*/ 1065213 h 1093788"/>
                <a:gd name="connsiteX85" fmla="*/ 500392 w 977900"/>
                <a:gd name="connsiteY85" fmla="*/ 1065213 h 1093788"/>
                <a:gd name="connsiteX86" fmla="*/ 805029 w 977900"/>
                <a:gd name="connsiteY86" fmla="*/ 1015306 h 1093788"/>
                <a:gd name="connsiteX87" fmla="*/ 805744 w 977900"/>
                <a:gd name="connsiteY87" fmla="*/ 1014593 h 1093788"/>
                <a:gd name="connsiteX88" fmla="*/ 813611 w 977900"/>
                <a:gd name="connsiteY88" fmla="*/ 1011741 h 1093788"/>
                <a:gd name="connsiteX89" fmla="*/ 814326 w 977900"/>
                <a:gd name="connsiteY89" fmla="*/ 1011741 h 1093788"/>
                <a:gd name="connsiteX90" fmla="*/ 820762 w 977900"/>
                <a:gd name="connsiteY90" fmla="*/ 1008890 h 1093788"/>
                <a:gd name="connsiteX91" fmla="*/ 828628 w 977900"/>
                <a:gd name="connsiteY91" fmla="*/ 1005325 h 1093788"/>
                <a:gd name="connsiteX92" fmla="*/ 832919 w 977900"/>
                <a:gd name="connsiteY92" fmla="*/ 1003899 h 1093788"/>
                <a:gd name="connsiteX93" fmla="*/ 835064 w 977900"/>
                <a:gd name="connsiteY93" fmla="*/ 1002473 h 1093788"/>
                <a:gd name="connsiteX94" fmla="*/ 927314 w 977900"/>
                <a:gd name="connsiteY94" fmla="*/ 940446 h 1093788"/>
                <a:gd name="connsiteX95" fmla="*/ 928744 w 977900"/>
                <a:gd name="connsiteY95" fmla="*/ 939020 h 1093788"/>
                <a:gd name="connsiteX96" fmla="*/ 930174 w 977900"/>
                <a:gd name="connsiteY96" fmla="*/ 936881 h 1093788"/>
                <a:gd name="connsiteX97" fmla="*/ 933750 w 977900"/>
                <a:gd name="connsiteY97" fmla="*/ 931890 h 1093788"/>
                <a:gd name="connsiteX98" fmla="*/ 934465 w 977900"/>
                <a:gd name="connsiteY98" fmla="*/ 931890 h 1093788"/>
                <a:gd name="connsiteX99" fmla="*/ 936610 w 977900"/>
                <a:gd name="connsiteY99" fmla="*/ 928326 h 1093788"/>
                <a:gd name="connsiteX100" fmla="*/ 938040 w 977900"/>
                <a:gd name="connsiteY100" fmla="*/ 926187 h 1093788"/>
                <a:gd name="connsiteX101" fmla="*/ 939470 w 977900"/>
                <a:gd name="connsiteY101" fmla="*/ 924048 h 1093788"/>
                <a:gd name="connsiteX102" fmla="*/ 940901 w 977900"/>
                <a:gd name="connsiteY102" fmla="*/ 921909 h 1093788"/>
                <a:gd name="connsiteX103" fmla="*/ 941616 w 977900"/>
                <a:gd name="connsiteY103" fmla="*/ 919770 h 1093788"/>
                <a:gd name="connsiteX104" fmla="*/ 943046 w 977900"/>
                <a:gd name="connsiteY104" fmla="*/ 916918 h 1093788"/>
                <a:gd name="connsiteX105" fmla="*/ 943761 w 977900"/>
                <a:gd name="connsiteY105" fmla="*/ 915492 h 1093788"/>
                <a:gd name="connsiteX106" fmla="*/ 945191 w 977900"/>
                <a:gd name="connsiteY106" fmla="*/ 912641 h 1093788"/>
                <a:gd name="connsiteX107" fmla="*/ 945906 w 977900"/>
                <a:gd name="connsiteY107" fmla="*/ 911215 h 1093788"/>
                <a:gd name="connsiteX108" fmla="*/ 946622 w 977900"/>
                <a:gd name="connsiteY108" fmla="*/ 907650 h 1093788"/>
                <a:gd name="connsiteX109" fmla="*/ 947337 w 977900"/>
                <a:gd name="connsiteY109" fmla="*/ 906224 h 1093788"/>
                <a:gd name="connsiteX110" fmla="*/ 948052 w 977900"/>
                <a:gd name="connsiteY110" fmla="*/ 903372 h 1093788"/>
                <a:gd name="connsiteX111" fmla="*/ 948767 w 977900"/>
                <a:gd name="connsiteY111" fmla="*/ 901946 h 1093788"/>
                <a:gd name="connsiteX112" fmla="*/ 949482 w 977900"/>
                <a:gd name="connsiteY112" fmla="*/ 898381 h 1093788"/>
                <a:gd name="connsiteX113" fmla="*/ 949482 w 977900"/>
                <a:gd name="connsiteY113" fmla="*/ 896956 h 1093788"/>
                <a:gd name="connsiteX114" fmla="*/ 950197 w 977900"/>
                <a:gd name="connsiteY114" fmla="*/ 894104 h 1093788"/>
                <a:gd name="connsiteX115" fmla="*/ 950197 w 977900"/>
                <a:gd name="connsiteY115" fmla="*/ 891965 h 1093788"/>
                <a:gd name="connsiteX116" fmla="*/ 950912 w 977900"/>
                <a:gd name="connsiteY116" fmla="*/ 889826 h 1093788"/>
                <a:gd name="connsiteX117" fmla="*/ 950912 w 977900"/>
                <a:gd name="connsiteY117" fmla="*/ 884835 h 1093788"/>
                <a:gd name="connsiteX118" fmla="*/ 950912 w 977900"/>
                <a:gd name="connsiteY118" fmla="*/ 208240 h 1093788"/>
                <a:gd name="connsiteX119" fmla="*/ 950912 w 977900"/>
                <a:gd name="connsiteY119" fmla="*/ 206101 h 1093788"/>
                <a:gd name="connsiteX120" fmla="*/ 950912 w 977900"/>
                <a:gd name="connsiteY120" fmla="*/ 203249 h 1093788"/>
                <a:gd name="connsiteX121" fmla="*/ 950197 w 977900"/>
                <a:gd name="connsiteY121" fmla="*/ 200398 h 1093788"/>
                <a:gd name="connsiteX122" fmla="*/ 949482 w 977900"/>
                <a:gd name="connsiteY122" fmla="*/ 196833 h 1093788"/>
                <a:gd name="connsiteX123" fmla="*/ 949482 w 977900"/>
                <a:gd name="connsiteY123" fmla="*/ 195407 h 1093788"/>
                <a:gd name="connsiteX124" fmla="*/ 948767 w 977900"/>
                <a:gd name="connsiteY124" fmla="*/ 192555 h 1093788"/>
                <a:gd name="connsiteX125" fmla="*/ 885122 w 977900"/>
                <a:gd name="connsiteY125" fmla="*/ 117695 h 1093788"/>
                <a:gd name="connsiteX126" fmla="*/ 880831 w 977900"/>
                <a:gd name="connsiteY126" fmla="*/ 114843 h 1093788"/>
                <a:gd name="connsiteX127" fmla="*/ 879401 w 977900"/>
                <a:gd name="connsiteY127" fmla="*/ 114130 h 1093788"/>
                <a:gd name="connsiteX128" fmla="*/ 875110 w 977900"/>
                <a:gd name="connsiteY128" fmla="*/ 111278 h 1093788"/>
                <a:gd name="connsiteX129" fmla="*/ 873680 w 977900"/>
                <a:gd name="connsiteY129" fmla="*/ 110565 h 1093788"/>
                <a:gd name="connsiteX130" fmla="*/ 870105 w 977900"/>
                <a:gd name="connsiteY130" fmla="*/ 108426 h 1093788"/>
                <a:gd name="connsiteX131" fmla="*/ 867959 w 977900"/>
                <a:gd name="connsiteY131" fmla="*/ 107000 h 1093788"/>
                <a:gd name="connsiteX132" fmla="*/ 864384 w 977900"/>
                <a:gd name="connsiteY132" fmla="*/ 104861 h 1093788"/>
                <a:gd name="connsiteX133" fmla="*/ 861523 w 977900"/>
                <a:gd name="connsiteY133" fmla="*/ 103436 h 1093788"/>
                <a:gd name="connsiteX134" fmla="*/ 858663 w 977900"/>
                <a:gd name="connsiteY134" fmla="*/ 102010 h 1093788"/>
                <a:gd name="connsiteX135" fmla="*/ 855087 w 977900"/>
                <a:gd name="connsiteY135" fmla="*/ 99871 h 1093788"/>
                <a:gd name="connsiteX136" fmla="*/ 852227 w 977900"/>
                <a:gd name="connsiteY136" fmla="*/ 98445 h 1093788"/>
                <a:gd name="connsiteX137" fmla="*/ 848651 w 977900"/>
                <a:gd name="connsiteY137" fmla="*/ 97019 h 1093788"/>
                <a:gd name="connsiteX138" fmla="*/ 845791 w 977900"/>
                <a:gd name="connsiteY138" fmla="*/ 95593 h 1093788"/>
                <a:gd name="connsiteX139" fmla="*/ 841500 w 977900"/>
                <a:gd name="connsiteY139" fmla="*/ 93454 h 1093788"/>
                <a:gd name="connsiteX140" fmla="*/ 839355 w 977900"/>
                <a:gd name="connsiteY140" fmla="*/ 92028 h 1093788"/>
                <a:gd name="connsiteX141" fmla="*/ 834349 w 977900"/>
                <a:gd name="connsiteY141" fmla="*/ 90602 h 1093788"/>
                <a:gd name="connsiteX142" fmla="*/ 830773 w 977900"/>
                <a:gd name="connsiteY142" fmla="*/ 88463 h 1093788"/>
                <a:gd name="connsiteX143" fmla="*/ 827198 w 977900"/>
                <a:gd name="connsiteY143" fmla="*/ 87038 h 1093788"/>
                <a:gd name="connsiteX144" fmla="*/ 821477 w 977900"/>
                <a:gd name="connsiteY144" fmla="*/ 84899 h 1093788"/>
                <a:gd name="connsiteX145" fmla="*/ 820047 w 977900"/>
                <a:gd name="connsiteY145" fmla="*/ 84186 h 1093788"/>
                <a:gd name="connsiteX146" fmla="*/ 812180 w 977900"/>
                <a:gd name="connsiteY146" fmla="*/ 80621 h 1093788"/>
                <a:gd name="connsiteX147" fmla="*/ 795733 w 977900"/>
                <a:gd name="connsiteY147" fmla="*/ 74917 h 1093788"/>
                <a:gd name="connsiteX148" fmla="*/ 795018 w 977900"/>
                <a:gd name="connsiteY148" fmla="*/ 74917 h 1093788"/>
                <a:gd name="connsiteX149" fmla="*/ 778570 w 977900"/>
                <a:gd name="connsiteY149" fmla="*/ 69214 h 1093788"/>
                <a:gd name="connsiteX150" fmla="*/ 777855 w 977900"/>
                <a:gd name="connsiteY150" fmla="*/ 68501 h 1093788"/>
                <a:gd name="connsiteX151" fmla="*/ 760692 w 977900"/>
                <a:gd name="connsiteY151" fmla="*/ 63510 h 1093788"/>
                <a:gd name="connsiteX152" fmla="*/ 759977 w 977900"/>
                <a:gd name="connsiteY152" fmla="*/ 63510 h 1093788"/>
                <a:gd name="connsiteX153" fmla="*/ 742815 w 977900"/>
                <a:gd name="connsiteY153" fmla="*/ 58519 h 1093788"/>
                <a:gd name="connsiteX154" fmla="*/ 741384 w 977900"/>
                <a:gd name="connsiteY154" fmla="*/ 58519 h 1093788"/>
                <a:gd name="connsiteX155" fmla="*/ 723507 w 977900"/>
                <a:gd name="connsiteY155" fmla="*/ 54242 h 1093788"/>
                <a:gd name="connsiteX156" fmla="*/ 722076 w 977900"/>
                <a:gd name="connsiteY156" fmla="*/ 53529 h 1093788"/>
                <a:gd name="connsiteX157" fmla="*/ 704198 w 977900"/>
                <a:gd name="connsiteY157" fmla="*/ 49251 h 1093788"/>
                <a:gd name="connsiteX158" fmla="*/ 702768 w 977900"/>
                <a:gd name="connsiteY158" fmla="*/ 49251 h 1093788"/>
                <a:gd name="connsiteX159" fmla="*/ 684175 w 977900"/>
                <a:gd name="connsiteY159" fmla="*/ 45686 h 1093788"/>
                <a:gd name="connsiteX160" fmla="*/ 682745 w 977900"/>
                <a:gd name="connsiteY160" fmla="*/ 45686 h 1093788"/>
                <a:gd name="connsiteX161" fmla="*/ 664152 w 977900"/>
                <a:gd name="connsiteY161" fmla="*/ 42121 h 1093788"/>
                <a:gd name="connsiteX162" fmla="*/ 662007 w 977900"/>
                <a:gd name="connsiteY162" fmla="*/ 42121 h 1093788"/>
                <a:gd name="connsiteX163" fmla="*/ 643414 w 977900"/>
                <a:gd name="connsiteY163" fmla="*/ 39269 h 1093788"/>
                <a:gd name="connsiteX164" fmla="*/ 641984 w 977900"/>
                <a:gd name="connsiteY164" fmla="*/ 38557 h 1093788"/>
                <a:gd name="connsiteX165" fmla="*/ 621961 w 977900"/>
                <a:gd name="connsiteY165" fmla="*/ 36418 h 1093788"/>
                <a:gd name="connsiteX166" fmla="*/ 620530 w 977900"/>
                <a:gd name="connsiteY166" fmla="*/ 35705 h 1093788"/>
                <a:gd name="connsiteX167" fmla="*/ 600507 w 977900"/>
                <a:gd name="connsiteY167" fmla="*/ 33566 h 1093788"/>
                <a:gd name="connsiteX168" fmla="*/ 599792 w 977900"/>
                <a:gd name="connsiteY168" fmla="*/ 33566 h 1093788"/>
                <a:gd name="connsiteX169" fmla="*/ 578339 w 977900"/>
                <a:gd name="connsiteY169" fmla="*/ 32140 h 1093788"/>
                <a:gd name="connsiteX170" fmla="*/ 577624 w 977900"/>
                <a:gd name="connsiteY170" fmla="*/ 32140 h 1093788"/>
                <a:gd name="connsiteX171" fmla="*/ 556170 w 977900"/>
                <a:gd name="connsiteY171" fmla="*/ 30714 h 1093788"/>
                <a:gd name="connsiteX172" fmla="*/ 534002 w 977900"/>
                <a:gd name="connsiteY172" fmla="*/ 29288 h 1093788"/>
                <a:gd name="connsiteX173" fmla="*/ 488950 w 977900"/>
                <a:gd name="connsiteY173" fmla="*/ 28575 h 1093788"/>
                <a:gd name="connsiteX174" fmla="*/ 477508 w 977900"/>
                <a:gd name="connsiteY174" fmla="*/ 28575 h 1093788"/>
                <a:gd name="connsiteX175" fmla="*/ 488950 w 977900"/>
                <a:gd name="connsiteY175" fmla="*/ 0 h 1093788"/>
                <a:gd name="connsiteX176" fmla="*/ 821579 w 977900"/>
                <a:gd name="connsiteY176" fmla="*/ 54903 h 1093788"/>
                <a:gd name="connsiteX177" fmla="*/ 976473 w 977900"/>
                <a:gd name="connsiteY177" fmla="*/ 192518 h 1093788"/>
                <a:gd name="connsiteX178" fmla="*/ 977900 w 977900"/>
                <a:gd name="connsiteY178" fmla="*/ 198935 h 1093788"/>
                <a:gd name="connsiteX179" fmla="*/ 977900 w 977900"/>
                <a:gd name="connsiteY179" fmla="*/ 884870 h 1093788"/>
                <a:gd name="connsiteX180" fmla="*/ 488950 w 977900"/>
                <a:gd name="connsiteY180" fmla="*/ 1093788 h 1093788"/>
                <a:gd name="connsiteX181" fmla="*/ 0 w 977900"/>
                <a:gd name="connsiteY181" fmla="*/ 884870 h 1093788"/>
                <a:gd name="connsiteX182" fmla="*/ 714 w 977900"/>
                <a:gd name="connsiteY182" fmla="*/ 873462 h 1093788"/>
                <a:gd name="connsiteX183" fmla="*/ 714 w 977900"/>
                <a:gd name="connsiteY183" fmla="*/ 220326 h 1093788"/>
                <a:gd name="connsiteX184" fmla="*/ 0 w 977900"/>
                <a:gd name="connsiteY184" fmla="*/ 208918 h 1093788"/>
                <a:gd name="connsiteX185" fmla="*/ 488950 w 977900"/>
                <a:gd name="connsiteY185" fmla="*/ 0 h 10937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</a:cxnLst>
              <a:rect l="l" t="t" r="r" b="b"/>
              <a:pathLst>
                <a:path w="977900" h="1093788">
                  <a:moveTo>
                    <a:pt x="488514" y="61912"/>
                  </a:moveTo>
                  <a:cubicBezTo>
                    <a:pt x="725213" y="61912"/>
                    <a:pt x="917575" y="132511"/>
                    <a:pt x="917575" y="219512"/>
                  </a:cubicBezTo>
                  <a:cubicBezTo>
                    <a:pt x="917575" y="306513"/>
                    <a:pt x="725213" y="377825"/>
                    <a:pt x="488514" y="377825"/>
                  </a:cubicBezTo>
                  <a:cubicBezTo>
                    <a:pt x="255390" y="377825"/>
                    <a:pt x="65173" y="308652"/>
                    <a:pt x="58737" y="224504"/>
                  </a:cubicBezTo>
                  <a:cubicBezTo>
                    <a:pt x="58737" y="224504"/>
                    <a:pt x="58737" y="224504"/>
                    <a:pt x="58737" y="215233"/>
                  </a:cubicBezTo>
                  <a:cubicBezTo>
                    <a:pt x="65173" y="129659"/>
                    <a:pt x="255390" y="61912"/>
                    <a:pt x="488514" y="61912"/>
                  </a:cubicBezTo>
                  <a:close/>
                  <a:moveTo>
                    <a:pt x="477508" y="28575"/>
                  </a:moveTo>
                  <a:cubicBezTo>
                    <a:pt x="361660" y="30001"/>
                    <a:pt x="254393" y="48538"/>
                    <a:pt x="173585" y="78482"/>
                  </a:cubicBezTo>
                  <a:cubicBezTo>
                    <a:pt x="173585" y="78482"/>
                    <a:pt x="172870" y="78482"/>
                    <a:pt x="172155" y="79195"/>
                  </a:cubicBezTo>
                  <a:cubicBezTo>
                    <a:pt x="170010" y="79908"/>
                    <a:pt x="167864" y="80621"/>
                    <a:pt x="165719" y="81334"/>
                  </a:cubicBezTo>
                  <a:cubicBezTo>
                    <a:pt x="165719" y="81334"/>
                    <a:pt x="165004" y="82047"/>
                    <a:pt x="164289" y="82047"/>
                  </a:cubicBezTo>
                  <a:cubicBezTo>
                    <a:pt x="162143" y="82760"/>
                    <a:pt x="159283" y="84186"/>
                    <a:pt x="157138" y="84899"/>
                  </a:cubicBezTo>
                  <a:cubicBezTo>
                    <a:pt x="154277" y="86325"/>
                    <a:pt x="151417" y="87038"/>
                    <a:pt x="149271" y="88463"/>
                  </a:cubicBezTo>
                  <a:cubicBezTo>
                    <a:pt x="147841" y="89176"/>
                    <a:pt x="146411" y="89176"/>
                    <a:pt x="144981" y="89889"/>
                  </a:cubicBezTo>
                  <a:cubicBezTo>
                    <a:pt x="144266" y="90602"/>
                    <a:pt x="143551" y="90602"/>
                    <a:pt x="142835" y="91315"/>
                  </a:cubicBezTo>
                  <a:cubicBezTo>
                    <a:pt x="102074" y="109139"/>
                    <a:pt x="70609" y="130528"/>
                    <a:pt x="50586" y="153342"/>
                  </a:cubicBezTo>
                  <a:cubicBezTo>
                    <a:pt x="49871" y="154055"/>
                    <a:pt x="49871" y="154768"/>
                    <a:pt x="49156" y="154768"/>
                  </a:cubicBezTo>
                  <a:cubicBezTo>
                    <a:pt x="48441" y="155481"/>
                    <a:pt x="47726" y="156194"/>
                    <a:pt x="47726" y="156907"/>
                  </a:cubicBezTo>
                  <a:cubicBezTo>
                    <a:pt x="46295" y="158333"/>
                    <a:pt x="44865" y="159759"/>
                    <a:pt x="44150" y="161185"/>
                  </a:cubicBezTo>
                  <a:cubicBezTo>
                    <a:pt x="44150" y="161898"/>
                    <a:pt x="43435" y="161898"/>
                    <a:pt x="43435" y="161898"/>
                  </a:cubicBezTo>
                  <a:cubicBezTo>
                    <a:pt x="42720" y="163324"/>
                    <a:pt x="42005" y="164750"/>
                    <a:pt x="41289" y="165463"/>
                  </a:cubicBezTo>
                  <a:cubicBezTo>
                    <a:pt x="40574" y="166176"/>
                    <a:pt x="40574" y="166889"/>
                    <a:pt x="39859" y="167602"/>
                  </a:cubicBezTo>
                  <a:cubicBezTo>
                    <a:pt x="39859" y="168315"/>
                    <a:pt x="39144" y="169027"/>
                    <a:pt x="38429" y="169740"/>
                  </a:cubicBezTo>
                  <a:cubicBezTo>
                    <a:pt x="38429" y="170453"/>
                    <a:pt x="37714" y="171166"/>
                    <a:pt x="36999" y="171879"/>
                  </a:cubicBezTo>
                  <a:cubicBezTo>
                    <a:pt x="36999" y="172592"/>
                    <a:pt x="36284" y="173305"/>
                    <a:pt x="36284" y="174018"/>
                  </a:cubicBezTo>
                  <a:cubicBezTo>
                    <a:pt x="35569" y="174731"/>
                    <a:pt x="35569" y="176157"/>
                    <a:pt x="34853" y="176870"/>
                  </a:cubicBezTo>
                  <a:cubicBezTo>
                    <a:pt x="34853" y="177583"/>
                    <a:pt x="34138" y="177583"/>
                    <a:pt x="34138" y="178296"/>
                  </a:cubicBezTo>
                  <a:cubicBezTo>
                    <a:pt x="33423" y="179722"/>
                    <a:pt x="33423" y="180435"/>
                    <a:pt x="32708" y="181148"/>
                  </a:cubicBezTo>
                  <a:cubicBezTo>
                    <a:pt x="32708" y="181861"/>
                    <a:pt x="32708" y="182574"/>
                    <a:pt x="31993" y="182574"/>
                  </a:cubicBezTo>
                  <a:cubicBezTo>
                    <a:pt x="31993" y="184000"/>
                    <a:pt x="31278" y="184712"/>
                    <a:pt x="31278" y="186138"/>
                  </a:cubicBezTo>
                  <a:cubicBezTo>
                    <a:pt x="31278" y="186138"/>
                    <a:pt x="30563" y="186851"/>
                    <a:pt x="30563" y="187564"/>
                  </a:cubicBezTo>
                  <a:cubicBezTo>
                    <a:pt x="30563" y="188277"/>
                    <a:pt x="29848" y="189703"/>
                    <a:pt x="29848" y="190416"/>
                  </a:cubicBezTo>
                  <a:cubicBezTo>
                    <a:pt x="29848" y="191129"/>
                    <a:pt x="29133" y="191129"/>
                    <a:pt x="29133" y="191842"/>
                  </a:cubicBezTo>
                  <a:cubicBezTo>
                    <a:pt x="29133" y="193268"/>
                    <a:pt x="29133" y="193981"/>
                    <a:pt x="28417" y="195407"/>
                  </a:cubicBezTo>
                  <a:cubicBezTo>
                    <a:pt x="28417" y="195407"/>
                    <a:pt x="28417" y="196120"/>
                    <a:pt x="28417" y="196833"/>
                  </a:cubicBezTo>
                  <a:cubicBezTo>
                    <a:pt x="28417" y="197546"/>
                    <a:pt x="27702" y="198972"/>
                    <a:pt x="27702" y="199685"/>
                  </a:cubicBezTo>
                  <a:cubicBezTo>
                    <a:pt x="27702" y="200398"/>
                    <a:pt x="27702" y="201110"/>
                    <a:pt x="27702" y="201823"/>
                  </a:cubicBezTo>
                  <a:cubicBezTo>
                    <a:pt x="27702" y="202536"/>
                    <a:pt x="27702" y="203249"/>
                    <a:pt x="26987" y="203962"/>
                  </a:cubicBezTo>
                  <a:cubicBezTo>
                    <a:pt x="26987" y="206101"/>
                    <a:pt x="26987" y="207527"/>
                    <a:pt x="26987" y="208953"/>
                  </a:cubicBezTo>
                  <a:cubicBezTo>
                    <a:pt x="26987" y="209666"/>
                    <a:pt x="26987" y="209666"/>
                    <a:pt x="26987" y="210379"/>
                  </a:cubicBezTo>
                  <a:cubicBezTo>
                    <a:pt x="26987" y="211092"/>
                    <a:pt x="26987" y="211092"/>
                    <a:pt x="26987" y="211092"/>
                  </a:cubicBezTo>
                  <a:cubicBezTo>
                    <a:pt x="26987" y="211092"/>
                    <a:pt x="26987" y="211805"/>
                    <a:pt x="26987" y="211805"/>
                  </a:cubicBezTo>
                  <a:cubicBezTo>
                    <a:pt x="26987" y="211805"/>
                    <a:pt x="26987" y="211805"/>
                    <a:pt x="26987" y="215370"/>
                  </a:cubicBezTo>
                  <a:cubicBezTo>
                    <a:pt x="26987" y="215370"/>
                    <a:pt x="26987" y="215370"/>
                    <a:pt x="27702" y="217508"/>
                  </a:cubicBezTo>
                  <a:cubicBezTo>
                    <a:pt x="27702" y="217508"/>
                    <a:pt x="27702" y="217508"/>
                    <a:pt x="27702" y="876280"/>
                  </a:cubicBezTo>
                  <a:cubicBezTo>
                    <a:pt x="27702" y="876280"/>
                    <a:pt x="27702" y="876280"/>
                    <a:pt x="26987" y="878419"/>
                  </a:cubicBezTo>
                  <a:cubicBezTo>
                    <a:pt x="26987" y="878419"/>
                    <a:pt x="26987" y="878419"/>
                    <a:pt x="26987" y="881983"/>
                  </a:cubicBezTo>
                  <a:cubicBezTo>
                    <a:pt x="26987" y="881983"/>
                    <a:pt x="26987" y="882696"/>
                    <a:pt x="26987" y="882696"/>
                  </a:cubicBezTo>
                  <a:cubicBezTo>
                    <a:pt x="26987" y="882696"/>
                    <a:pt x="26987" y="882696"/>
                    <a:pt x="26987" y="883409"/>
                  </a:cubicBezTo>
                  <a:cubicBezTo>
                    <a:pt x="26987" y="884122"/>
                    <a:pt x="26987" y="884122"/>
                    <a:pt x="26987" y="884835"/>
                  </a:cubicBezTo>
                  <a:cubicBezTo>
                    <a:pt x="26987" y="886261"/>
                    <a:pt x="26987" y="887687"/>
                    <a:pt x="26987" y="889826"/>
                  </a:cubicBezTo>
                  <a:cubicBezTo>
                    <a:pt x="27702" y="890539"/>
                    <a:pt x="27702" y="891252"/>
                    <a:pt x="27702" y="891965"/>
                  </a:cubicBezTo>
                  <a:cubicBezTo>
                    <a:pt x="27702" y="892678"/>
                    <a:pt x="27702" y="893391"/>
                    <a:pt x="27702" y="894104"/>
                  </a:cubicBezTo>
                  <a:cubicBezTo>
                    <a:pt x="27702" y="894817"/>
                    <a:pt x="28417" y="896243"/>
                    <a:pt x="28417" y="896956"/>
                  </a:cubicBezTo>
                  <a:cubicBezTo>
                    <a:pt x="28417" y="897669"/>
                    <a:pt x="28417" y="898381"/>
                    <a:pt x="28417" y="898381"/>
                  </a:cubicBezTo>
                  <a:cubicBezTo>
                    <a:pt x="29133" y="899807"/>
                    <a:pt x="29133" y="900520"/>
                    <a:pt x="29133" y="901946"/>
                  </a:cubicBezTo>
                  <a:cubicBezTo>
                    <a:pt x="29133" y="902659"/>
                    <a:pt x="29848" y="902659"/>
                    <a:pt x="29848" y="903372"/>
                  </a:cubicBezTo>
                  <a:cubicBezTo>
                    <a:pt x="29848" y="904085"/>
                    <a:pt x="30563" y="905511"/>
                    <a:pt x="30563" y="906224"/>
                  </a:cubicBezTo>
                  <a:cubicBezTo>
                    <a:pt x="30563" y="906937"/>
                    <a:pt x="31278" y="907650"/>
                    <a:pt x="31278" y="907650"/>
                  </a:cubicBezTo>
                  <a:cubicBezTo>
                    <a:pt x="31278" y="909076"/>
                    <a:pt x="31993" y="909789"/>
                    <a:pt x="31993" y="911215"/>
                  </a:cubicBezTo>
                  <a:cubicBezTo>
                    <a:pt x="32708" y="911215"/>
                    <a:pt x="32708" y="911928"/>
                    <a:pt x="32708" y="912641"/>
                  </a:cubicBezTo>
                  <a:cubicBezTo>
                    <a:pt x="33423" y="913354"/>
                    <a:pt x="33423" y="914066"/>
                    <a:pt x="34138" y="915492"/>
                  </a:cubicBezTo>
                  <a:cubicBezTo>
                    <a:pt x="34138" y="916205"/>
                    <a:pt x="34853" y="916205"/>
                    <a:pt x="34853" y="916918"/>
                  </a:cubicBezTo>
                  <a:cubicBezTo>
                    <a:pt x="35569" y="917631"/>
                    <a:pt x="35569" y="919057"/>
                    <a:pt x="36284" y="919770"/>
                  </a:cubicBezTo>
                  <a:cubicBezTo>
                    <a:pt x="36284" y="920483"/>
                    <a:pt x="36999" y="921196"/>
                    <a:pt x="36999" y="921909"/>
                  </a:cubicBezTo>
                  <a:cubicBezTo>
                    <a:pt x="37714" y="922622"/>
                    <a:pt x="38429" y="923335"/>
                    <a:pt x="38429" y="924048"/>
                  </a:cubicBezTo>
                  <a:cubicBezTo>
                    <a:pt x="39144" y="924761"/>
                    <a:pt x="39859" y="925474"/>
                    <a:pt x="39859" y="926187"/>
                  </a:cubicBezTo>
                  <a:cubicBezTo>
                    <a:pt x="40574" y="926900"/>
                    <a:pt x="40574" y="927613"/>
                    <a:pt x="41289" y="928326"/>
                  </a:cubicBezTo>
                  <a:cubicBezTo>
                    <a:pt x="42005" y="929039"/>
                    <a:pt x="42720" y="930464"/>
                    <a:pt x="43435" y="931890"/>
                  </a:cubicBezTo>
                  <a:cubicBezTo>
                    <a:pt x="43435" y="931890"/>
                    <a:pt x="44150" y="931890"/>
                    <a:pt x="44150" y="931890"/>
                  </a:cubicBezTo>
                  <a:cubicBezTo>
                    <a:pt x="44865" y="934029"/>
                    <a:pt x="46295" y="935455"/>
                    <a:pt x="47726" y="936881"/>
                  </a:cubicBezTo>
                  <a:cubicBezTo>
                    <a:pt x="47726" y="937594"/>
                    <a:pt x="48441" y="938307"/>
                    <a:pt x="49156" y="939020"/>
                  </a:cubicBezTo>
                  <a:cubicBezTo>
                    <a:pt x="49871" y="939020"/>
                    <a:pt x="49871" y="939733"/>
                    <a:pt x="50586" y="940446"/>
                  </a:cubicBezTo>
                  <a:cubicBezTo>
                    <a:pt x="70609" y="963260"/>
                    <a:pt x="102074" y="984649"/>
                    <a:pt x="142835" y="1002473"/>
                  </a:cubicBezTo>
                  <a:cubicBezTo>
                    <a:pt x="143551" y="1003186"/>
                    <a:pt x="144266" y="1003186"/>
                    <a:pt x="144981" y="1003899"/>
                  </a:cubicBezTo>
                  <a:cubicBezTo>
                    <a:pt x="146411" y="1004612"/>
                    <a:pt x="147841" y="1005325"/>
                    <a:pt x="149271" y="1005325"/>
                  </a:cubicBezTo>
                  <a:cubicBezTo>
                    <a:pt x="151417" y="1006751"/>
                    <a:pt x="154277" y="1008177"/>
                    <a:pt x="157138" y="1008890"/>
                  </a:cubicBezTo>
                  <a:cubicBezTo>
                    <a:pt x="159283" y="1009603"/>
                    <a:pt x="160713" y="1010316"/>
                    <a:pt x="162859" y="1011029"/>
                  </a:cubicBezTo>
                  <a:cubicBezTo>
                    <a:pt x="163574" y="1011741"/>
                    <a:pt x="163574" y="1011741"/>
                    <a:pt x="164289" y="1011741"/>
                  </a:cubicBezTo>
                  <a:cubicBezTo>
                    <a:pt x="167149" y="1013167"/>
                    <a:pt x="170010" y="1013880"/>
                    <a:pt x="172155" y="1014593"/>
                  </a:cubicBezTo>
                  <a:cubicBezTo>
                    <a:pt x="172870" y="1015306"/>
                    <a:pt x="172870" y="1015306"/>
                    <a:pt x="172870" y="1015306"/>
                  </a:cubicBezTo>
                  <a:cubicBezTo>
                    <a:pt x="253678" y="1045250"/>
                    <a:pt x="360945" y="1063787"/>
                    <a:pt x="477508" y="1065213"/>
                  </a:cubicBezTo>
                  <a:cubicBezTo>
                    <a:pt x="480368" y="1065213"/>
                    <a:pt x="483229" y="1065213"/>
                    <a:pt x="486089" y="1065213"/>
                  </a:cubicBezTo>
                  <a:cubicBezTo>
                    <a:pt x="486804" y="1065213"/>
                    <a:pt x="488235" y="1065213"/>
                    <a:pt x="488950" y="1065213"/>
                  </a:cubicBezTo>
                  <a:cubicBezTo>
                    <a:pt x="489665" y="1065213"/>
                    <a:pt x="491095" y="1065213"/>
                    <a:pt x="491810" y="1065213"/>
                  </a:cubicBezTo>
                  <a:cubicBezTo>
                    <a:pt x="494671" y="1065213"/>
                    <a:pt x="497531" y="1065213"/>
                    <a:pt x="500392" y="1065213"/>
                  </a:cubicBezTo>
                  <a:cubicBezTo>
                    <a:pt x="616955" y="1063787"/>
                    <a:pt x="724222" y="1045250"/>
                    <a:pt x="805029" y="1015306"/>
                  </a:cubicBezTo>
                  <a:cubicBezTo>
                    <a:pt x="805029" y="1015306"/>
                    <a:pt x="805029" y="1015306"/>
                    <a:pt x="805744" y="1014593"/>
                  </a:cubicBezTo>
                  <a:cubicBezTo>
                    <a:pt x="807890" y="1013880"/>
                    <a:pt x="810750" y="1013167"/>
                    <a:pt x="813611" y="1011741"/>
                  </a:cubicBezTo>
                  <a:cubicBezTo>
                    <a:pt x="813611" y="1011741"/>
                    <a:pt x="814326" y="1011741"/>
                    <a:pt x="814326" y="1011741"/>
                  </a:cubicBezTo>
                  <a:cubicBezTo>
                    <a:pt x="816471" y="1010316"/>
                    <a:pt x="818616" y="1009603"/>
                    <a:pt x="820762" y="1008890"/>
                  </a:cubicBezTo>
                  <a:cubicBezTo>
                    <a:pt x="823622" y="1008177"/>
                    <a:pt x="826483" y="1006751"/>
                    <a:pt x="828628" y="1005325"/>
                  </a:cubicBezTo>
                  <a:cubicBezTo>
                    <a:pt x="830058" y="1005325"/>
                    <a:pt x="831488" y="1004612"/>
                    <a:pt x="832919" y="1003899"/>
                  </a:cubicBezTo>
                  <a:cubicBezTo>
                    <a:pt x="833634" y="1003186"/>
                    <a:pt x="834349" y="1003186"/>
                    <a:pt x="835064" y="1002473"/>
                  </a:cubicBezTo>
                  <a:cubicBezTo>
                    <a:pt x="875825" y="984649"/>
                    <a:pt x="907290" y="963260"/>
                    <a:pt x="927314" y="940446"/>
                  </a:cubicBezTo>
                  <a:cubicBezTo>
                    <a:pt x="928029" y="939733"/>
                    <a:pt x="928029" y="939020"/>
                    <a:pt x="928744" y="939020"/>
                  </a:cubicBezTo>
                  <a:cubicBezTo>
                    <a:pt x="929459" y="938307"/>
                    <a:pt x="930174" y="937594"/>
                    <a:pt x="930174" y="936881"/>
                  </a:cubicBezTo>
                  <a:cubicBezTo>
                    <a:pt x="931604" y="935455"/>
                    <a:pt x="933034" y="934029"/>
                    <a:pt x="933750" y="931890"/>
                  </a:cubicBezTo>
                  <a:cubicBezTo>
                    <a:pt x="933750" y="931890"/>
                    <a:pt x="934465" y="931890"/>
                    <a:pt x="934465" y="931890"/>
                  </a:cubicBezTo>
                  <a:cubicBezTo>
                    <a:pt x="935180" y="930464"/>
                    <a:pt x="935895" y="929039"/>
                    <a:pt x="936610" y="928326"/>
                  </a:cubicBezTo>
                  <a:cubicBezTo>
                    <a:pt x="937325" y="927613"/>
                    <a:pt x="937325" y="926900"/>
                    <a:pt x="938040" y="926187"/>
                  </a:cubicBezTo>
                  <a:cubicBezTo>
                    <a:pt x="938040" y="925474"/>
                    <a:pt x="938755" y="924761"/>
                    <a:pt x="939470" y="924048"/>
                  </a:cubicBezTo>
                  <a:cubicBezTo>
                    <a:pt x="939470" y="923335"/>
                    <a:pt x="940186" y="922622"/>
                    <a:pt x="940901" y="921909"/>
                  </a:cubicBezTo>
                  <a:cubicBezTo>
                    <a:pt x="940901" y="921196"/>
                    <a:pt x="941616" y="920483"/>
                    <a:pt x="941616" y="919770"/>
                  </a:cubicBezTo>
                  <a:cubicBezTo>
                    <a:pt x="942331" y="919057"/>
                    <a:pt x="942331" y="917631"/>
                    <a:pt x="943046" y="916918"/>
                  </a:cubicBezTo>
                  <a:cubicBezTo>
                    <a:pt x="943046" y="916205"/>
                    <a:pt x="943761" y="916205"/>
                    <a:pt x="943761" y="915492"/>
                  </a:cubicBezTo>
                  <a:cubicBezTo>
                    <a:pt x="944476" y="914066"/>
                    <a:pt x="944476" y="913354"/>
                    <a:pt x="945191" y="912641"/>
                  </a:cubicBezTo>
                  <a:cubicBezTo>
                    <a:pt x="945191" y="911928"/>
                    <a:pt x="945191" y="911215"/>
                    <a:pt x="945906" y="911215"/>
                  </a:cubicBezTo>
                  <a:cubicBezTo>
                    <a:pt x="945906" y="909789"/>
                    <a:pt x="946622" y="909076"/>
                    <a:pt x="946622" y="907650"/>
                  </a:cubicBezTo>
                  <a:cubicBezTo>
                    <a:pt x="946622" y="907650"/>
                    <a:pt x="947337" y="906937"/>
                    <a:pt x="947337" y="906224"/>
                  </a:cubicBezTo>
                  <a:cubicBezTo>
                    <a:pt x="947337" y="905511"/>
                    <a:pt x="948052" y="904085"/>
                    <a:pt x="948052" y="903372"/>
                  </a:cubicBezTo>
                  <a:cubicBezTo>
                    <a:pt x="948052" y="902659"/>
                    <a:pt x="948767" y="902659"/>
                    <a:pt x="948767" y="901946"/>
                  </a:cubicBezTo>
                  <a:cubicBezTo>
                    <a:pt x="948767" y="900520"/>
                    <a:pt x="948767" y="899807"/>
                    <a:pt x="949482" y="898381"/>
                  </a:cubicBezTo>
                  <a:cubicBezTo>
                    <a:pt x="949482" y="898381"/>
                    <a:pt x="949482" y="897669"/>
                    <a:pt x="949482" y="896956"/>
                  </a:cubicBezTo>
                  <a:cubicBezTo>
                    <a:pt x="949482" y="896243"/>
                    <a:pt x="950197" y="894817"/>
                    <a:pt x="950197" y="894104"/>
                  </a:cubicBezTo>
                  <a:cubicBezTo>
                    <a:pt x="950197" y="893391"/>
                    <a:pt x="950197" y="892678"/>
                    <a:pt x="950197" y="891965"/>
                  </a:cubicBezTo>
                  <a:cubicBezTo>
                    <a:pt x="950197" y="891252"/>
                    <a:pt x="950197" y="890539"/>
                    <a:pt x="950912" y="889826"/>
                  </a:cubicBezTo>
                  <a:cubicBezTo>
                    <a:pt x="950912" y="887687"/>
                    <a:pt x="950912" y="886261"/>
                    <a:pt x="950912" y="884835"/>
                  </a:cubicBezTo>
                  <a:cubicBezTo>
                    <a:pt x="950912" y="884835"/>
                    <a:pt x="950912" y="879132"/>
                    <a:pt x="950912" y="208240"/>
                  </a:cubicBezTo>
                  <a:cubicBezTo>
                    <a:pt x="950912" y="207527"/>
                    <a:pt x="950912" y="206814"/>
                    <a:pt x="950912" y="206101"/>
                  </a:cubicBezTo>
                  <a:cubicBezTo>
                    <a:pt x="950912" y="205388"/>
                    <a:pt x="950912" y="203962"/>
                    <a:pt x="950912" y="203249"/>
                  </a:cubicBezTo>
                  <a:cubicBezTo>
                    <a:pt x="950912" y="201823"/>
                    <a:pt x="950912" y="201110"/>
                    <a:pt x="950197" y="200398"/>
                  </a:cubicBezTo>
                  <a:cubicBezTo>
                    <a:pt x="950197" y="198972"/>
                    <a:pt x="949482" y="197546"/>
                    <a:pt x="949482" y="196833"/>
                  </a:cubicBezTo>
                  <a:cubicBezTo>
                    <a:pt x="949482" y="196120"/>
                    <a:pt x="949482" y="196120"/>
                    <a:pt x="949482" y="195407"/>
                  </a:cubicBezTo>
                  <a:cubicBezTo>
                    <a:pt x="948767" y="194694"/>
                    <a:pt x="948767" y="193268"/>
                    <a:pt x="948767" y="192555"/>
                  </a:cubicBezTo>
                  <a:cubicBezTo>
                    <a:pt x="942331" y="166176"/>
                    <a:pt x="920162" y="140509"/>
                    <a:pt x="885122" y="117695"/>
                  </a:cubicBezTo>
                  <a:cubicBezTo>
                    <a:pt x="883692" y="116982"/>
                    <a:pt x="882261" y="115556"/>
                    <a:pt x="880831" y="114843"/>
                  </a:cubicBezTo>
                  <a:cubicBezTo>
                    <a:pt x="880116" y="114130"/>
                    <a:pt x="880116" y="114130"/>
                    <a:pt x="879401" y="114130"/>
                  </a:cubicBezTo>
                  <a:cubicBezTo>
                    <a:pt x="877971" y="113417"/>
                    <a:pt x="876541" y="111991"/>
                    <a:pt x="875110" y="111278"/>
                  </a:cubicBezTo>
                  <a:cubicBezTo>
                    <a:pt x="875110" y="111278"/>
                    <a:pt x="874395" y="110565"/>
                    <a:pt x="873680" y="110565"/>
                  </a:cubicBezTo>
                  <a:cubicBezTo>
                    <a:pt x="872250" y="109852"/>
                    <a:pt x="871535" y="109139"/>
                    <a:pt x="870105" y="108426"/>
                  </a:cubicBezTo>
                  <a:cubicBezTo>
                    <a:pt x="869389" y="107713"/>
                    <a:pt x="868674" y="107713"/>
                    <a:pt x="867959" y="107000"/>
                  </a:cubicBezTo>
                  <a:cubicBezTo>
                    <a:pt x="866529" y="106287"/>
                    <a:pt x="865814" y="105574"/>
                    <a:pt x="864384" y="104861"/>
                  </a:cubicBezTo>
                  <a:cubicBezTo>
                    <a:pt x="863669" y="104861"/>
                    <a:pt x="862238" y="104148"/>
                    <a:pt x="861523" y="103436"/>
                  </a:cubicBezTo>
                  <a:cubicBezTo>
                    <a:pt x="860808" y="102723"/>
                    <a:pt x="859378" y="102723"/>
                    <a:pt x="858663" y="102010"/>
                  </a:cubicBezTo>
                  <a:cubicBezTo>
                    <a:pt x="857233" y="101297"/>
                    <a:pt x="856517" y="100584"/>
                    <a:pt x="855087" y="99871"/>
                  </a:cubicBezTo>
                  <a:cubicBezTo>
                    <a:pt x="854372" y="99871"/>
                    <a:pt x="852942" y="99158"/>
                    <a:pt x="852227" y="98445"/>
                  </a:cubicBezTo>
                  <a:cubicBezTo>
                    <a:pt x="850797" y="98445"/>
                    <a:pt x="849366" y="97732"/>
                    <a:pt x="848651" y="97019"/>
                  </a:cubicBezTo>
                  <a:cubicBezTo>
                    <a:pt x="847221" y="96306"/>
                    <a:pt x="846506" y="96306"/>
                    <a:pt x="845791" y="95593"/>
                  </a:cubicBezTo>
                  <a:cubicBezTo>
                    <a:pt x="844360" y="94880"/>
                    <a:pt x="842930" y="94167"/>
                    <a:pt x="841500" y="93454"/>
                  </a:cubicBezTo>
                  <a:cubicBezTo>
                    <a:pt x="840785" y="93454"/>
                    <a:pt x="840070" y="92741"/>
                    <a:pt x="839355" y="92028"/>
                  </a:cubicBezTo>
                  <a:cubicBezTo>
                    <a:pt x="837209" y="91315"/>
                    <a:pt x="835779" y="90602"/>
                    <a:pt x="834349" y="90602"/>
                  </a:cubicBezTo>
                  <a:cubicBezTo>
                    <a:pt x="833634" y="89889"/>
                    <a:pt x="832204" y="89176"/>
                    <a:pt x="830773" y="88463"/>
                  </a:cubicBezTo>
                  <a:cubicBezTo>
                    <a:pt x="830058" y="88463"/>
                    <a:pt x="828628" y="87750"/>
                    <a:pt x="827198" y="87038"/>
                  </a:cubicBezTo>
                  <a:cubicBezTo>
                    <a:pt x="825768" y="86325"/>
                    <a:pt x="823622" y="85612"/>
                    <a:pt x="821477" y="84899"/>
                  </a:cubicBezTo>
                  <a:cubicBezTo>
                    <a:pt x="820762" y="84186"/>
                    <a:pt x="820762" y="84186"/>
                    <a:pt x="820047" y="84186"/>
                  </a:cubicBezTo>
                  <a:cubicBezTo>
                    <a:pt x="817186" y="82760"/>
                    <a:pt x="815041" y="82047"/>
                    <a:pt x="812180" y="80621"/>
                  </a:cubicBezTo>
                  <a:cubicBezTo>
                    <a:pt x="806460" y="78482"/>
                    <a:pt x="801454" y="77056"/>
                    <a:pt x="795733" y="74917"/>
                  </a:cubicBezTo>
                  <a:cubicBezTo>
                    <a:pt x="795733" y="74917"/>
                    <a:pt x="795733" y="74917"/>
                    <a:pt x="795018" y="74917"/>
                  </a:cubicBezTo>
                  <a:cubicBezTo>
                    <a:pt x="790012" y="72778"/>
                    <a:pt x="784291" y="70640"/>
                    <a:pt x="778570" y="69214"/>
                  </a:cubicBezTo>
                  <a:cubicBezTo>
                    <a:pt x="778570" y="69214"/>
                    <a:pt x="777855" y="69214"/>
                    <a:pt x="777855" y="68501"/>
                  </a:cubicBezTo>
                  <a:cubicBezTo>
                    <a:pt x="772134" y="67075"/>
                    <a:pt x="766413" y="65649"/>
                    <a:pt x="760692" y="63510"/>
                  </a:cubicBezTo>
                  <a:cubicBezTo>
                    <a:pt x="760692" y="63510"/>
                    <a:pt x="759977" y="63510"/>
                    <a:pt x="759977" y="63510"/>
                  </a:cubicBezTo>
                  <a:cubicBezTo>
                    <a:pt x="754256" y="61371"/>
                    <a:pt x="748535" y="59945"/>
                    <a:pt x="742815" y="58519"/>
                  </a:cubicBezTo>
                  <a:cubicBezTo>
                    <a:pt x="742099" y="58519"/>
                    <a:pt x="741384" y="58519"/>
                    <a:pt x="741384" y="58519"/>
                  </a:cubicBezTo>
                  <a:cubicBezTo>
                    <a:pt x="735663" y="56380"/>
                    <a:pt x="729227" y="54954"/>
                    <a:pt x="723507" y="54242"/>
                  </a:cubicBezTo>
                  <a:cubicBezTo>
                    <a:pt x="722791" y="53529"/>
                    <a:pt x="722791" y="53529"/>
                    <a:pt x="722076" y="53529"/>
                  </a:cubicBezTo>
                  <a:cubicBezTo>
                    <a:pt x="716355" y="52103"/>
                    <a:pt x="709919" y="50677"/>
                    <a:pt x="704198" y="49251"/>
                  </a:cubicBezTo>
                  <a:cubicBezTo>
                    <a:pt x="703483" y="49251"/>
                    <a:pt x="703483" y="49251"/>
                    <a:pt x="702768" y="49251"/>
                  </a:cubicBezTo>
                  <a:cubicBezTo>
                    <a:pt x="696332" y="47825"/>
                    <a:pt x="690611" y="47112"/>
                    <a:pt x="684175" y="45686"/>
                  </a:cubicBezTo>
                  <a:cubicBezTo>
                    <a:pt x="683460" y="45686"/>
                    <a:pt x="683460" y="45686"/>
                    <a:pt x="682745" y="45686"/>
                  </a:cubicBezTo>
                  <a:cubicBezTo>
                    <a:pt x="676309" y="44260"/>
                    <a:pt x="670588" y="42834"/>
                    <a:pt x="664152" y="42121"/>
                  </a:cubicBezTo>
                  <a:cubicBezTo>
                    <a:pt x="663437" y="42121"/>
                    <a:pt x="662722" y="42121"/>
                    <a:pt x="662007" y="42121"/>
                  </a:cubicBezTo>
                  <a:cubicBezTo>
                    <a:pt x="656286" y="40695"/>
                    <a:pt x="649850" y="39982"/>
                    <a:pt x="643414" y="39269"/>
                  </a:cubicBezTo>
                  <a:cubicBezTo>
                    <a:pt x="642699" y="38557"/>
                    <a:pt x="641984" y="38557"/>
                    <a:pt x="641984" y="38557"/>
                  </a:cubicBezTo>
                  <a:cubicBezTo>
                    <a:pt x="635548" y="37844"/>
                    <a:pt x="628397" y="37131"/>
                    <a:pt x="621961" y="36418"/>
                  </a:cubicBezTo>
                  <a:cubicBezTo>
                    <a:pt x="621245" y="36418"/>
                    <a:pt x="621245" y="36418"/>
                    <a:pt x="620530" y="35705"/>
                  </a:cubicBezTo>
                  <a:cubicBezTo>
                    <a:pt x="614094" y="34992"/>
                    <a:pt x="606943" y="34279"/>
                    <a:pt x="600507" y="33566"/>
                  </a:cubicBezTo>
                  <a:cubicBezTo>
                    <a:pt x="599792" y="33566"/>
                    <a:pt x="599792" y="33566"/>
                    <a:pt x="599792" y="33566"/>
                  </a:cubicBezTo>
                  <a:cubicBezTo>
                    <a:pt x="592641" y="32853"/>
                    <a:pt x="585490" y="32140"/>
                    <a:pt x="578339" y="32140"/>
                  </a:cubicBezTo>
                  <a:cubicBezTo>
                    <a:pt x="578339" y="32140"/>
                    <a:pt x="578339" y="32140"/>
                    <a:pt x="577624" y="32140"/>
                  </a:cubicBezTo>
                  <a:cubicBezTo>
                    <a:pt x="570473" y="31427"/>
                    <a:pt x="563321" y="30714"/>
                    <a:pt x="556170" y="30714"/>
                  </a:cubicBezTo>
                  <a:cubicBezTo>
                    <a:pt x="549019" y="30001"/>
                    <a:pt x="541153" y="29288"/>
                    <a:pt x="534002" y="29288"/>
                  </a:cubicBezTo>
                  <a:cubicBezTo>
                    <a:pt x="518984" y="28575"/>
                    <a:pt x="503967" y="28575"/>
                    <a:pt x="488950" y="28575"/>
                  </a:cubicBezTo>
                  <a:cubicBezTo>
                    <a:pt x="485374" y="28575"/>
                    <a:pt x="481083" y="28575"/>
                    <a:pt x="477508" y="28575"/>
                  </a:cubicBezTo>
                  <a:close/>
                  <a:moveTo>
                    <a:pt x="488950" y="0"/>
                  </a:moveTo>
                  <a:cubicBezTo>
                    <a:pt x="613151" y="0"/>
                    <a:pt x="731641" y="19252"/>
                    <a:pt x="821579" y="54903"/>
                  </a:cubicBezTo>
                  <a:cubicBezTo>
                    <a:pt x="912945" y="90555"/>
                    <a:pt x="967193" y="139041"/>
                    <a:pt x="976473" y="192518"/>
                  </a:cubicBezTo>
                  <a:cubicBezTo>
                    <a:pt x="977186" y="193944"/>
                    <a:pt x="977900" y="196083"/>
                    <a:pt x="977900" y="198935"/>
                  </a:cubicBezTo>
                  <a:cubicBezTo>
                    <a:pt x="977900" y="198935"/>
                    <a:pt x="977900" y="198935"/>
                    <a:pt x="977900" y="884870"/>
                  </a:cubicBezTo>
                  <a:cubicBezTo>
                    <a:pt x="977900" y="1001807"/>
                    <a:pt x="763762" y="1093788"/>
                    <a:pt x="488950" y="1093788"/>
                  </a:cubicBezTo>
                  <a:cubicBezTo>
                    <a:pt x="214139" y="1093788"/>
                    <a:pt x="0" y="1001807"/>
                    <a:pt x="0" y="884870"/>
                  </a:cubicBezTo>
                  <a:cubicBezTo>
                    <a:pt x="0" y="881305"/>
                    <a:pt x="0" y="877027"/>
                    <a:pt x="714" y="873462"/>
                  </a:cubicBezTo>
                  <a:cubicBezTo>
                    <a:pt x="714" y="873462"/>
                    <a:pt x="714" y="873462"/>
                    <a:pt x="714" y="220326"/>
                  </a:cubicBezTo>
                  <a:cubicBezTo>
                    <a:pt x="0" y="216761"/>
                    <a:pt x="0" y="212483"/>
                    <a:pt x="0" y="208918"/>
                  </a:cubicBezTo>
                  <a:cubicBezTo>
                    <a:pt x="0" y="91981"/>
                    <a:pt x="214139" y="0"/>
                    <a:pt x="488950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200"/>
            </a:p>
          </p:txBody>
        </p:sp>
        <p:sp>
          <p:nvSpPr>
            <p:cNvPr id="321" name="Freeform 18">
              <a:extLst>
                <a:ext uri="{FF2B5EF4-FFF2-40B4-BE49-F238E27FC236}">
                  <a16:creationId xmlns:a16="http://schemas.microsoft.com/office/drawing/2014/main" id="{354B02B4-61CC-B3BC-0EA9-03548172BB91}"/>
                </a:ext>
              </a:extLst>
            </p:cNvPr>
            <p:cNvSpPr>
              <a:spLocks/>
            </p:cNvSpPr>
            <p:nvPr/>
          </p:nvSpPr>
          <p:spPr bwMode="auto">
            <a:xfrm>
              <a:off x="1631321" y="3410294"/>
              <a:ext cx="281686" cy="230005"/>
            </a:xfrm>
            <a:custGeom>
              <a:avLst/>
              <a:gdLst>
                <a:gd name="connsiteX0" fmla="*/ 860425 w 860425"/>
                <a:gd name="connsiteY0" fmla="*/ 434975 h 723900"/>
                <a:gd name="connsiteX1" fmla="*/ 860425 w 860425"/>
                <a:gd name="connsiteY1" fmla="*/ 581935 h 723900"/>
                <a:gd name="connsiteX2" fmla="*/ 743224 w 860425"/>
                <a:gd name="connsiteY2" fmla="*/ 679670 h 723900"/>
                <a:gd name="connsiteX3" fmla="*/ 703919 w 860425"/>
                <a:gd name="connsiteY3" fmla="*/ 693224 h 723900"/>
                <a:gd name="connsiteX4" fmla="*/ 430927 w 860425"/>
                <a:gd name="connsiteY4" fmla="*/ 723900 h 723900"/>
                <a:gd name="connsiteX5" fmla="*/ 155791 w 860425"/>
                <a:gd name="connsiteY5" fmla="*/ 693224 h 723900"/>
                <a:gd name="connsiteX6" fmla="*/ 117201 w 860425"/>
                <a:gd name="connsiteY6" fmla="*/ 679670 h 723900"/>
                <a:gd name="connsiteX7" fmla="*/ 0 w 860425"/>
                <a:gd name="connsiteY7" fmla="*/ 581935 h 723900"/>
                <a:gd name="connsiteX8" fmla="*/ 0 w 860425"/>
                <a:gd name="connsiteY8" fmla="*/ 579794 h 723900"/>
                <a:gd name="connsiteX9" fmla="*/ 715 w 860425"/>
                <a:gd name="connsiteY9" fmla="*/ 577654 h 723900"/>
                <a:gd name="connsiteX10" fmla="*/ 715 w 860425"/>
                <a:gd name="connsiteY10" fmla="*/ 436402 h 723900"/>
                <a:gd name="connsiteX11" fmla="*/ 430927 w 860425"/>
                <a:gd name="connsiteY11" fmla="*/ 557679 h 723900"/>
                <a:gd name="connsiteX12" fmla="*/ 860425 w 860425"/>
                <a:gd name="connsiteY12" fmla="*/ 434975 h 723900"/>
                <a:gd name="connsiteX13" fmla="*/ 860425 w 860425"/>
                <a:gd name="connsiteY13" fmla="*/ 214313 h 723900"/>
                <a:gd name="connsiteX14" fmla="*/ 860425 w 860425"/>
                <a:gd name="connsiteY14" fmla="*/ 384562 h 723900"/>
                <a:gd name="connsiteX15" fmla="*/ 430570 w 860425"/>
                <a:gd name="connsiteY15" fmla="*/ 511176 h 723900"/>
                <a:gd name="connsiteX16" fmla="*/ 0 w 860425"/>
                <a:gd name="connsiteY16" fmla="*/ 385993 h 723900"/>
                <a:gd name="connsiteX17" fmla="*/ 0 w 860425"/>
                <a:gd name="connsiteY17" fmla="*/ 215744 h 723900"/>
                <a:gd name="connsiteX18" fmla="*/ 430570 w 860425"/>
                <a:gd name="connsiteY18" fmla="*/ 340212 h 723900"/>
                <a:gd name="connsiteX19" fmla="*/ 860425 w 860425"/>
                <a:gd name="connsiteY19" fmla="*/ 214313 h 723900"/>
                <a:gd name="connsiteX20" fmla="*/ 860425 w 860425"/>
                <a:gd name="connsiteY20" fmla="*/ 0 h 723900"/>
                <a:gd name="connsiteX21" fmla="*/ 860425 w 860425"/>
                <a:gd name="connsiteY21" fmla="*/ 165508 h 723900"/>
                <a:gd name="connsiteX22" fmla="*/ 430570 w 860425"/>
                <a:gd name="connsiteY22" fmla="*/ 288925 h 723900"/>
                <a:gd name="connsiteX23" fmla="*/ 0 w 860425"/>
                <a:gd name="connsiteY23" fmla="*/ 166935 h 723900"/>
                <a:gd name="connsiteX24" fmla="*/ 0 w 860425"/>
                <a:gd name="connsiteY24" fmla="*/ 1427 h 723900"/>
                <a:gd name="connsiteX25" fmla="*/ 430570 w 860425"/>
                <a:gd name="connsiteY25" fmla="*/ 122704 h 723900"/>
                <a:gd name="connsiteX26" fmla="*/ 860425 w 860425"/>
                <a:gd name="connsiteY26" fmla="*/ 0 h 723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860425" h="723900">
                  <a:moveTo>
                    <a:pt x="860425" y="434975"/>
                  </a:moveTo>
                  <a:cubicBezTo>
                    <a:pt x="860425" y="434975"/>
                    <a:pt x="860425" y="434975"/>
                    <a:pt x="860425" y="581935"/>
                  </a:cubicBezTo>
                  <a:cubicBezTo>
                    <a:pt x="860425" y="614037"/>
                    <a:pt x="815403" y="651847"/>
                    <a:pt x="743224" y="679670"/>
                  </a:cubicBezTo>
                  <a:cubicBezTo>
                    <a:pt x="731076" y="684663"/>
                    <a:pt x="717497" y="688944"/>
                    <a:pt x="703919" y="693224"/>
                  </a:cubicBezTo>
                  <a:cubicBezTo>
                    <a:pt x="629597" y="713199"/>
                    <a:pt x="533835" y="723900"/>
                    <a:pt x="430927" y="723900"/>
                  </a:cubicBezTo>
                  <a:cubicBezTo>
                    <a:pt x="326590" y="723900"/>
                    <a:pt x="230829" y="713199"/>
                    <a:pt x="155791" y="693224"/>
                  </a:cubicBezTo>
                  <a:cubicBezTo>
                    <a:pt x="142213" y="688944"/>
                    <a:pt x="129350" y="684663"/>
                    <a:pt x="117201" y="679670"/>
                  </a:cubicBezTo>
                  <a:cubicBezTo>
                    <a:pt x="45022" y="651847"/>
                    <a:pt x="0" y="614037"/>
                    <a:pt x="0" y="581935"/>
                  </a:cubicBezTo>
                  <a:cubicBezTo>
                    <a:pt x="0" y="581221"/>
                    <a:pt x="0" y="580508"/>
                    <a:pt x="0" y="579794"/>
                  </a:cubicBezTo>
                  <a:cubicBezTo>
                    <a:pt x="0" y="579794"/>
                    <a:pt x="0" y="579794"/>
                    <a:pt x="715" y="577654"/>
                  </a:cubicBezTo>
                  <a:cubicBezTo>
                    <a:pt x="715" y="577654"/>
                    <a:pt x="715" y="577654"/>
                    <a:pt x="715" y="436402"/>
                  </a:cubicBezTo>
                  <a:cubicBezTo>
                    <a:pt x="33588" y="509168"/>
                    <a:pt x="213677" y="557679"/>
                    <a:pt x="430927" y="557679"/>
                  </a:cubicBezTo>
                  <a:cubicBezTo>
                    <a:pt x="648178" y="557679"/>
                    <a:pt x="828981" y="508455"/>
                    <a:pt x="860425" y="434975"/>
                  </a:cubicBezTo>
                  <a:close/>
                  <a:moveTo>
                    <a:pt x="860425" y="214313"/>
                  </a:moveTo>
                  <a:cubicBezTo>
                    <a:pt x="860425" y="214313"/>
                    <a:pt x="860425" y="214313"/>
                    <a:pt x="860425" y="384562"/>
                  </a:cubicBezTo>
                  <a:cubicBezTo>
                    <a:pt x="828955" y="461103"/>
                    <a:pt x="648001" y="511176"/>
                    <a:pt x="430570" y="511176"/>
                  </a:cubicBezTo>
                  <a:cubicBezTo>
                    <a:pt x="213140" y="511176"/>
                    <a:pt x="32901" y="461818"/>
                    <a:pt x="0" y="385993"/>
                  </a:cubicBezTo>
                  <a:cubicBezTo>
                    <a:pt x="0" y="385993"/>
                    <a:pt x="0" y="385993"/>
                    <a:pt x="0" y="215744"/>
                  </a:cubicBezTo>
                  <a:cubicBezTo>
                    <a:pt x="32901" y="290854"/>
                    <a:pt x="213140" y="340212"/>
                    <a:pt x="430570" y="340212"/>
                  </a:cubicBezTo>
                  <a:cubicBezTo>
                    <a:pt x="648001" y="340212"/>
                    <a:pt x="828955" y="290138"/>
                    <a:pt x="860425" y="214313"/>
                  </a:cubicBezTo>
                  <a:close/>
                  <a:moveTo>
                    <a:pt x="860425" y="0"/>
                  </a:moveTo>
                  <a:cubicBezTo>
                    <a:pt x="860425" y="0"/>
                    <a:pt x="860425" y="0"/>
                    <a:pt x="860425" y="165508"/>
                  </a:cubicBezTo>
                  <a:cubicBezTo>
                    <a:pt x="828955" y="239701"/>
                    <a:pt x="648001" y="288925"/>
                    <a:pt x="430570" y="288925"/>
                  </a:cubicBezTo>
                  <a:cubicBezTo>
                    <a:pt x="213140" y="288925"/>
                    <a:pt x="32901" y="240414"/>
                    <a:pt x="0" y="166935"/>
                  </a:cubicBezTo>
                  <a:cubicBezTo>
                    <a:pt x="0" y="166935"/>
                    <a:pt x="0" y="166935"/>
                    <a:pt x="0" y="1427"/>
                  </a:cubicBezTo>
                  <a:cubicBezTo>
                    <a:pt x="32901" y="74193"/>
                    <a:pt x="213140" y="122704"/>
                    <a:pt x="430570" y="122704"/>
                  </a:cubicBezTo>
                  <a:cubicBezTo>
                    <a:pt x="648001" y="122704"/>
                    <a:pt x="828955" y="73480"/>
                    <a:pt x="860425" y="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200"/>
            </a:p>
          </p:txBody>
        </p:sp>
      </p:grpSp>
      <p:sp>
        <p:nvSpPr>
          <p:cNvPr id="322" name="Textfeld 9">
            <a:extLst>
              <a:ext uri="{FF2B5EF4-FFF2-40B4-BE49-F238E27FC236}">
                <a16:creationId xmlns:a16="http://schemas.microsoft.com/office/drawing/2014/main" id="{9D77AE60-AE93-73AA-13D8-73155806C539}"/>
              </a:ext>
            </a:extLst>
          </p:cNvPr>
          <p:cNvSpPr txBox="1"/>
          <p:nvPr/>
        </p:nvSpPr>
        <p:spPr>
          <a:xfrm>
            <a:off x="2543366" y="3384241"/>
            <a:ext cx="1087389" cy="22506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>
              <a:lnSpc>
                <a:spcPct val="113999"/>
              </a:lnSpc>
            </a:pPr>
            <a:r>
              <a:rPr lang="de-DE" sz="1400">
                <a:latin typeface="Arial"/>
                <a:cs typeface="Arial"/>
              </a:rPr>
              <a:t>Dataset One</a:t>
            </a:r>
            <a:endParaRPr lang="de-DE" sz="1400"/>
          </a:p>
        </p:txBody>
      </p:sp>
      <p:cxnSp>
        <p:nvCxnSpPr>
          <p:cNvPr id="323" name="Straight Arrow Connector 322">
            <a:extLst>
              <a:ext uri="{FF2B5EF4-FFF2-40B4-BE49-F238E27FC236}">
                <a16:creationId xmlns:a16="http://schemas.microsoft.com/office/drawing/2014/main" id="{2806B2E8-CA12-5B14-3967-3075456A803D}"/>
              </a:ext>
            </a:extLst>
          </p:cNvPr>
          <p:cNvCxnSpPr>
            <a:cxnSpLocks/>
          </p:cNvCxnSpPr>
          <p:nvPr/>
        </p:nvCxnSpPr>
        <p:spPr>
          <a:xfrm>
            <a:off x="2067544" y="3496773"/>
            <a:ext cx="340514" cy="0"/>
          </a:xfrm>
          <a:prstGeom prst="straightConnector1">
            <a:avLst/>
          </a:prstGeom>
          <a:ln cap="rnd">
            <a:solidFill>
              <a:srgbClr val="445064"/>
            </a:solidFill>
            <a:prstDash val="sysDot"/>
            <a:tailEnd type="non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325" name="Textfeld 9">
            <a:extLst>
              <a:ext uri="{FF2B5EF4-FFF2-40B4-BE49-F238E27FC236}">
                <a16:creationId xmlns:a16="http://schemas.microsoft.com/office/drawing/2014/main" id="{3554B328-5100-CD42-F861-AECBF4DFF98E}"/>
              </a:ext>
            </a:extLst>
          </p:cNvPr>
          <p:cNvSpPr txBox="1"/>
          <p:nvPr/>
        </p:nvSpPr>
        <p:spPr>
          <a:xfrm>
            <a:off x="2577616" y="3865462"/>
            <a:ext cx="1087389" cy="22506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>
              <a:lnSpc>
                <a:spcPct val="113999"/>
              </a:lnSpc>
            </a:pPr>
            <a:r>
              <a:rPr lang="de-DE" sz="1400">
                <a:latin typeface="Arial"/>
                <a:cs typeface="Arial"/>
              </a:rPr>
              <a:t>Dataset Two</a:t>
            </a:r>
            <a:endParaRPr lang="de-DE" sz="1400"/>
          </a:p>
        </p:txBody>
      </p:sp>
      <p:cxnSp>
        <p:nvCxnSpPr>
          <p:cNvPr id="326" name="Straight Arrow Connector 325">
            <a:extLst>
              <a:ext uri="{FF2B5EF4-FFF2-40B4-BE49-F238E27FC236}">
                <a16:creationId xmlns:a16="http://schemas.microsoft.com/office/drawing/2014/main" id="{80AB1619-FA84-C114-6361-828579B4FCAC}"/>
              </a:ext>
            </a:extLst>
          </p:cNvPr>
          <p:cNvCxnSpPr>
            <a:cxnSpLocks/>
          </p:cNvCxnSpPr>
          <p:nvPr/>
        </p:nvCxnSpPr>
        <p:spPr>
          <a:xfrm>
            <a:off x="2067544" y="3977992"/>
            <a:ext cx="340514" cy="0"/>
          </a:xfrm>
          <a:prstGeom prst="straightConnector1">
            <a:avLst/>
          </a:prstGeom>
          <a:ln cap="rnd">
            <a:solidFill>
              <a:srgbClr val="445064"/>
            </a:solidFill>
            <a:prstDash val="sysDot"/>
            <a:tailEnd type="non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328" name="TextBox 327">
            <a:extLst>
              <a:ext uri="{FF2B5EF4-FFF2-40B4-BE49-F238E27FC236}">
                <a16:creationId xmlns:a16="http://schemas.microsoft.com/office/drawing/2014/main" id="{2AB38C9E-1099-524A-2CE9-7F6D78A15659}"/>
              </a:ext>
            </a:extLst>
          </p:cNvPr>
          <p:cNvSpPr txBox="1"/>
          <p:nvPr/>
        </p:nvSpPr>
        <p:spPr>
          <a:xfrm>
            <a:off x="5664185" y="1457375"/>
            <a:ext cx="2888183" cy="25725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14000"/>
              </a:lnSpc>
            </a:pPr>
            <a:r>
              <a:rPr lang="en-US" sz="1600" b="1">
                <a:latin typeface="+mn-lt"/>
              </a:rPr>
              <a:t>Strategies we want to apply:</a:t>
            </a:r>
          </a:p>
        </p:txBody>
      </p:sp>
      <p:sp>
        <p:nvSpPr>
          <p:cNvPr id="329" name="TextBox 328">
            <a:extLst>
              <a:ext uri="{FF2B5EF4-FFF2-40B4-BE49-F238E27FC236}">
                <a16:creationId xmlns:a16="http://schemas.microsoft.com/office/drawing/2014/main" id="{13B729E8-CC41-396F-D765-D8BFA8E65E64}"/>
              </a:ext>
            </a:extLst>
          </p:cNvPr>
          <p:cNvSpPr txBox="1"/>
          <p:nvPr/>
        </p:nvSpPr>
        <p:spPr>
          <a:xfrm>
            <a:off x="5840036" y="1895649"/>
            <a:ext cx="2888183" cy="53796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>
              <a:lnSpc>
                <a:spcPct val="114000"/>
              </a:lnSpc>
              <a:buClr>
                <a:schemeClr val="tx2"/>
              </a:buClr>
              <a:buFont typeface="Wingdings" panose="05000000000000000000" pitchFamily="2" charset="2"/>
              <a:buChar char="Ø"/>
            </a:pPr>
            <a:r>
              <a:rPr lang="en-US" sz="1600">
                <a:solidFill>
                  <a:schemeClr val="tx1"/>
                </a:solidFill>
                <a:cs typeface="Arial"/>
              </a:rPr>
              <a:t>Obtain knowledge learned in one source task </a:t>
            </a:r>
          </a:p>
        </p:txBody>
      </p:sp>
      <p:sp>
        <p:nvSpPr>
          <p:cNvPr id="331" name="TextBox 330">
            <a:extLst>
              <a:ext uri="{FF2B5EF4-FFF2-40B4-BE49-F238E27FC236}">
                <a16:creationId xmlns:a16="http://schemas.microsoft.com/office/drawing/2014/main" id="{C83221FD-2293-3E5F-4F0C-499DF15E2214}"/>
              </a:ext>
            </a:extLst>
          </p:cNvPr>
          <p:cNvSpPr txBox="1"/>
          <p:nvPr/>
        </p:nvSpPr>
        <p:spPr>
          <a:xfrm>
            <a:off x="5825125" y="2502902"/>
            <a:ext cx="2888183" cy="53796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>
              <a:lnSpc>
                <a:spcPct val="113999"/>
              </a:lnSpc>
              <a:buClr>
                <a:schemeClr val="tx2"/>
              </a:buClr>
              <a:buFont typeface="Wingdings" panose="05000000000000000000" pitchFamily="2" charset="2"/>
              <a:buChar char="Ø"/>
            </a:pPr>
            <a:r>
              <a:rPr lang="en-US" sz="1600">
                <a:solidFill>
                  <a:schemeClr val="tx1"/>
                </a:solidFill>
                <a:cs typeface="Arial"/>
              </a:rPr>
              <a:t>Use it to improve learning in another related task</a:t>
            </a:r>
          </a:p>
        </p:txBody>
      </p:sp>
      <p:sp>
        <p:nvSpPr>
          <p:cNvPr id="332" name="TextBox 331">
            <a:extLst>
              <a:ext uri="{FF2B5EF4-FFF2-40B4-BE49-F238E27FC236}">
                <a16:creationId xmlns:a16="http://schemas.microsoft.com/office/drawing/2014/main" id="{A4015AA2-ABF2-04DB-F8D1-6CB9852AB4D5}"/>
              </a:ext>
            </a:extLst>
          </p:cNvPr>
          <p:cNvSpPr txBox="1"/>
          <p:nvPr/>
        </p:nvSpPr>
        <p:spPr>
          <a:xfrm>
            <a:off x="6122783" y="3396066"/>
            <a:ext cx="2888183" cy="53796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14000"/>
              </a:lnSpc>
            </a:pPr>
            <a:r>
              <a:rPr lang="en-US" sz="1600">
                <a:latin typeface="+mn-lt"/>
              </a:rPr>
              <a:t>Exploit the knowledge gained from similar tasks. </a:t>
            </a:r>
          </a:p>
        </p:txBody>
      </p:sp>
      <p:grpSp>
        <p:nvGrpSpPr>
          <p:cNvPr id="333" name="Group 332">
            <a:extLst>
              <a:ext uri="{FF2B5EF4-FFF2-40B4-BE49-F238E27FC236}">
                <a16:creationId xmlns:a16="http://schemas.microsoft.com/office/drawing/2014/main" id="{B9CC2FE4-7698-33E2-DC08-401D10136AA9}"/>
              </a:ext>
            </a:extLst>
          </p:cNvPr>
          <p:cNvGrpSpPr>
            <a:grpSpLocks noChangeAspect="1"/>
          </p:cNvGrpSpPr>
          <p:nvPr/>
        </p:nvGrpSpPr>
        <p:grpSpPr>
          <a:xfrm>
            <a:off x="5564893" y="3462019"/>
            <a:ext cx="406062" cy="406062"/>
            <a:chOff x="1011968" y="1619366"/>
            <a:chExt cx="269875" cy="269875"/>
          </a:xfrm>
        </p:grpSpPr>
        <p:sp>
          <p:nvSpPr>
            <p:cNvPr id="335" name="Oval 50">
              <a:extLst>
                <a:ext uri="{FF2B5EF4-FFF2-40B4-BE49-F238E27FC236}">
                  <a16:creationId xmlns:a16="http://schemas.microsoft.com/office/drawing/2014/main" id="{8C59C02D-2E68-F5C2-F68A-7C754B2285E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11968" y="1619366"/>
              <a:ext cx="269875" cy="269875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chemeClr val="bg1"/>
                </a:solidFill>
              </a:endParaRPr>
            </a:p>
          </p:txBody>
        </p:sp>
        <p:sp>
          <p:nvSpPr>
            <p:cNvPr id="336" name="Freeform 51">
              <a:extLst>
                <a:ext uri="{FF2B5EF4-FFF2-40B4-BE49-F238E27FC236}">
                  <a16:creationId xmlns:a16="http://schemas.microsoft.com/office/drawing/2014/main" id="{A1F6E000-6466-3AF2-02A9-F2FADD098A54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1981" y="1666990"/>
              <a:ext cx="96837" cy="174625"/>
            </a:xfrm>
            <a:custGeom>
              <a:avLst/>
              <a:gdLst>
                <a:gd name="T0" fmla="*/ 6 w 61"/>
                <a:gd name="T1" fmla="*/ 0 h 110"/>
                <a:gd name="T2" fmla="*/ 0 w 61"/>
                <a:gd name="T3" fmla="*/ 7 h 110"/>
                <a:gd name="T4" fmla="*/ 48 w 61"/>
                <a:gd name="T5" fmla="*/ 55 h 110"/>
                <a:gd name="T6" fmla="*/ 0 w 61"/>
                <a:gd name="T7" fmla="*/ 104 h 110"/>
                <a:gd name="T8" fmla="*/ 6 w 61"/>
                <a:gd name="T9" fmla="*/ 110 h 110"/>
                <a:gd name="T10" fmla="*/ 54 w 61"/>
                <a:gd name="T11" fmla="*/ 62 h 110"/>
                <a:gd name="T12" fmla="*/ 61 w 61"/>
                <a:gd name="T13" fmla="*/ 55 h 110"/>
                <a:gd name="T14" fmla="*/ 54 w 61"/>
                <a:gd name="T15" fmla="*/ 49 h 110"/>
                <a:gd name="T16" fmla="*/ 6 w 61"/>
                <a:gd name="T17" fmla="*/ 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1" h="110">
                  <a:moveTo>
                    <a:pt x="6" y="0"/>
                  </a:moveTo>
                  <a:lnTo>
                    <a:pt x="0" y="7"/>
                  </a:lnTo>
                  <a:lnTo>
                    <a:pt x="48" y="55"/>
                  </a:lnTo>
                  <a:lnTo>
                    <a:pt x="0" y="104"/>
                  </a:lnTo>
                  <a:lnTo>
                    <a:pt x="6" y="110"/>
                  </a:lnTo>
                  <a:lnTo>
                    <a:pt x="54" y="62"/>
                  </a:lnTo>
                  <a:lnTo>
                    <a:pt x="61" y="55"/>
                  </a:lnTo>
                  <a:lnTo>
                    <a:pt x="54" y="49"/>
                  </a:lnTo>
                  <a:lnTo>
                    <a:pt x="6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chemeClr val="bg1"/>
                </a:solidFill>
              </a:endParaRPr>
            </a:p>
          </p:txBody>
        </p:sp>
      </p:grpSp>
      <p:grpSp>
        <p:nvGrpSpPr>
          <p:cNvPr id="18" name="Group 17">
            <a:extLst>
              <a:ext uri="{FF2B5EF4-FFF2-40B4-BE49-F238E27FC236}">
                <a16:creationId xmlns:a16="http://schemas.microsoft.com/office/drawing/2014/main" id="{4520F04E-951F-4CE5-B153-647146D64DDE}"/>
              </a:ext>
            </a:extLst>
          </p:cNvPr>
          <p:cNvGrpSpPr/>
          <p:nvPr/>
        </p:nvGrpSpPr>
        <p:grpSpPr>
          <a:xfrm>
            <a:off x="2912450" y="1962634"/>
            <a:ext cx="733584" cy="534794"/>
            <a:chOff x="2912450" y="1942970"/>
            <a:chExt cx="733584" cy="534794"/>
          </a:xfrm>
        </p:grpSpPr>
        <p:sp>
          <p:nvSpPr>
            <p:cNvPr id="337" name="Oval 336">
              <a:extLst>
                <a:ext uri="{FF2B5EF4-FFF2-40B4-BE49-F238E27FC236}">
                  <a16:creationId xmlns:a16="http://schemas.microsoft.com/office/drawing/2014/main" id="{5F421522-33D4-2852-A28E-E30D4D468C97}"/>
                </a:ext>
              </a:extLst>
            </p:cNvPr>
            <p:cNvSpPr/>
            <p:nvPr/>
          </p:nvSpPr>
          <p:spPr>
            <a:xfrm>
              <a:off x="2912450" y="2019195"/>
              <a:ext cx="144000" cy="144000"/>
            </a:xfrm>
            <a:prstGeom prst="ellipse">
              <a:avLst/>
            </a:prstGeom>
            <a:solidFill>
              <a:schemeClr val="accent6"/>
            </a:solidFill>
            <a:ln w="12700"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14000"/>
                </a:lnSpc>
              </a:pPr>
              <a:endParaRPr lang="en-US"/>
            </a:p>
          </p:txBody>
        </p:sp>
        <p:sp>
          <p:nvSpPr>
            <p:cNvPr id="338" name="Oval 337">
              <a:extLst>
                <a:ext uri="{FF2B5EF4-FFF2-40B4-BE49-F238E27FC236}">
                  <a16:creationId xmlns:a16="http://schemas.microsoft.com/office/drawing/2014/main" id="{7934B7E4-378B-AA5B-72AE-71F0FDAAC3E0}"/>
                </a:ext>
              </a:extLst>
            </p:cNvPr>
            <p:cNvSpPr/>
            <p:nvPr/>
          </p:nvSpPr>
          <p:spPr>
            <a:xfrm>
              <a:off x="2912450" y="2283651"/>
              <a:ext cx="144000" cy="144000"/>
            </a:xfrm>
            <a:prstGeom prst="ellipse">
              <a:avLst/>
            </a:prstGeom>
            <a:solidFill>
              <a:schemeClr val="accent6"/>
            </a:solidFill>
            <a:ln w="12700"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14000"/>
                </a:lnSpc>
              </a:pPr>
              <a:endParaRPr lang="en-US"/>
            </a:p>
          </p:txBody>
        </p:sp>
        <p:sp>
          <p:nvSpPr>
            <p:cNvPr id="339" name="Oval 338">
              <a:extLst>
                <a:ext uri="{FF2B5EF4-FFF2-40B4-BE49-F238E27FC236}">
                  <a16:creationId xmlns:a16="http://schemas.microsoft.com/office/drawing/2014/main" id="{01F7F33D-111A-CD8E-C211-9232A784E1D6}"/>
                </a:ext>
              </a:extLst>
            </p:cNvPr>
            <p:cNvSpPr/>
            <p:nvPr/>
          </p:nvSpPr>
          <p:spPr>
            <a:xfrm>
              <a:off x="3198606" y="1942970"/>
              <a:ext cx="144000" cy="144000"/>
            </a:xfrm>
            <a:prstGeom prst="ellipse">
              <a:avLst/>
            </a:prstGeom>
            <a:solidFill>
              <a:schemeClr val="accent2"/>
            </a:solidFill>
            <a:ln w="12700"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14000"/>
                </a:lnSpc>
              </a:pPr>
              <a:endParaRPr lang="en-US"/>
            </a:p>
          </p:txBody>
        </p:sp>
        <p:sp>
          <p:nvSpPr>
            <p:cNvPr id="340" name="Oval 339">
              <a:extLst>
                <a:ext uri="{FF2B5EF4-FFF2-40B4-BE49-F238E27FC236}">
                  <a16:creationId xmlns:a16="http://schemas.microsoft.com/office/drawing/2014/main" id="{CCF7AE16-9FCA-AE30-4807-BEF2A4544282}"/>
                </a:ext>
              </a:extLst>
            </p:cNvPr>
            <p:cNvSpPr/>
            <p:nvPr/>
          </p:nvSpPr>
          <p:spPr>
            <a:xfrm>
              <a:off x="3201737" y="2132830"/>
              <a:ext cx="144000" cy="144000"/>
            </a:xfrm>
            <a:prstGeom prst="ellipse">
              <a:avLst/>
            </a:prstGeom>
            <a:solidFill>
              <a:schemeClr val="accent2"/>
            </a:solidFill>
            <a:ln w="12700"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14000"/>
                </a:lnSpc>
              </a:pPr>
              <a:endParaRPr lang="en-US"/>
            </a:p>
          </p:txBody>
        </p:sp>
        <p:sp>
          <p:nvSpPr>
            <p:cNvPr id="341" name="Oval 340">
              <a:extLst>
                <a:ext uri="{FF2B5EF4-FFF2-40B4-BE49-F238E27FC236}">
                  <a16:creationId xmlns:a16="http://schemas.microsoft.com/office/drawing/2014/main" id="{760AF1A6-7622-BF89-B806-2BE8ABA507F4}"/>
                </a:ext>
              </a:extLst>
            </p:cNvPr>
            <p:cNvSpPr/>
            <p:nvPr/>
          </p:nvSpPr>
          <p:spPr>
            <a:xfrm>
              <a:off x="3200742" y="2333764"/>
              <a:ext cx="144000" cy="144000"/>
            </a:xfrm>
            <a:prstGeom prst="ellipse">
              <a:avLst/>
            </a:prstGeom>
            <a:solidFill>
              <a:schemeClr val="accent2"/>
            </a:solidFill>
            <a:ln w="12700"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14000"/>
                </a:lnSpc>
              </a:pPr>
              <a:endParaRPr lang="en-US"/>
            </a:p>
          </p:txBody>
        </p:sp>
        <p:sp>
          <p:nvSpPr>
            <p:cNvPr id="342" name="Oval 341">
              <a:extLst>
                <a:ext uri="{FF2B5EF4-FFF2-40B4-BE49-F238E27FC236}">
                  <a16:creationId xmlns:a16="http://schemas.microsoft.com/office/drawing/2014/main" id="{75674CB0-E011-92D8-84D7-56FEFA369959}"/>
                </a:ext>
              </a:extLst>
            </p:cNvPr>
            <p:cNvSpPr/>
            <p:nvPr/>
          </p:nvSpPr>
          <p:spPr>
            <a:xfrm>
              <a:off x="3502034" y="2019195"/>
              <a:ext cx="144000" cy="144000"/>
            </a:xfrm>
            <a:prstGeom prst="ellipse">
              <a:avLst/>
            </a:prstGeom>
            <a:solidFill>
              <a:schemeClr val="bg1"/>
            </a:solidFill>
            <a:ln w="12700"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14000"/>
                </a:lnSpc>
              </a:pPr>
              <a:endParaRPr lang="en-US"/>
            </a:p>
          </p:txBody>
        </p:sp>
        <p:sp>
          <p:nvSpPr>
            <p:cNvPr id="343" name="Oval 342">
              <a:extLst>
                <a:ext uri="{FF2B5EF4-FFF2-40B4-BE49-F238E27FC236}">
                  <a16:creationId xmlns:a16="http://schemas.microsoft.com/office/drawing/2014/main" id="{D4E92724-2D2F-7205-0620-6A074897E3D0}"/>
                </a:ext>
              </a:extLst>
            </p:cNvPr>
            <p:cNvSpPr/>
            <p:nvPr/>
          </p:nvSpPr>
          <p:spPr>
            <a:xfrm>
              <a:off x="3502034" y="2283651"/>
              <a:ext cx="144000" cy="144000"/>
            </a:xfrm>
            <a:prstGeom prst="ellipse">
              <a:avLst/>
            </a:prstGeom>
            <a:solidFill>
              <a:schemeClr val="bg1"/>
            </a:solidFill>
            <a:ln w="12700"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14000"/>
                </a:lnSpc>
              </a:pPr>
              <a:endParaRPr lang="en-US"/>
            </a:p>
          </p:txBody>
        </p:sp>
        <p:cxnSp>
          <p:nvCxnSpPr>
            <p:cNvPr id="344" name="Straight Connector 343">
              <a:extLst>
                <a:ext uri="{FF2B5EF4-FFF2-40B4-BE49-F238E27FC236}">
                  <a16:creationId xmlns:a16="http://schemas.microsoft.com/office/drawing/2014/main" id="{9AB9AB71-07C2-93E5-BE00-84F692D349E1}"/>
                </a:ext>
              </a:extLst>
            </p:cNvPr>
            <p:cNvCxnSpPr>
              <a:cxnSpLocks/>
              <a:stCxn id="337" idx="6"/>
              <a:endCxn id="341" idx="2"/>
            </p:cNvCxnSpPr>
            <p:nvPr/>
          </p:nvCxnSpPr>
          <p:spPr>
            <a:xfrm>
              <a:off x="3056450" y="2091195"/>
              <a:ext cx="144292" cy="314569"/>
            </a:xfrm>
            <a:prstGeom prst="line">
              <a:avLst/>
            </a:prstGeom>
            <a:ln w="12700" cmpd="sng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5" name="Straight Connector 344">
              <a:extLst>
                <a:ext uri="{FF2B5EF4-FFF2-40B4-BE49-F238E27FC236}">
                  <a16:creationId xmlns:a16="http://schemas.microsoft.com/office/drawing/2014/main" id="{96AD9CDE-6A4D-7EC1-7B4D-8E6E1713B1CD}"/>
                </a:ext>
              </a:extLst>
            </p:cNvPr>
            <p:cNvCxnSpPr>
              <a:cxnSpLocks/>
              <a:stCxn id="338" idx="6"/>
              <a:endCxn id="340" idx="2"/>
            </p:cNvCxnSpPr>
            <p:nvPr/>
          </p:nvCxnSpPr>
          <p:spPr>
            <a:xfrm flipV="1">
              <a:off x="3056450" y="2204830"/>
              <a:ext cx="145287" cy="150821"/>
            </a:xfrm>
            <a:prstGeom prst="line">
              <a:avLst/>
            </a:prstGeom>
            <a:ln w="12700" cmpd="sng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6" name="Straight Connector 345">
              <a:extLst>
                <a:ext uri="{FF2B5EF4-FFF2-40B4-BE49-F238E27FC236}">
                  <a16:creationId xmlns:a16="http://schemas.microsoft.com/office/drawing/2014/main" id="{A98D66DE-789E-E6C0-9859-73FAE772396E}"/>
                </a:ext>
              </a:extLst>
            </p:cNvPr>
            <p:cNvCxnSpPr>
              <a:cxnSpLocks/>
              <a:stCxn id="338" idx="6"/>
              <a:endCxn id="341" idx="2"/>
            </p:cNvCxnSpPr>
            <p:nvPr/>
          </p:nvCxnSpPr>
          <p:spPr>
            <a:xfrm>
              <a:off x="3056450" y="2355651"/>
              <a:ext cx="144292" cy="50113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7" name="Straight Connector 346">
              <a:extLst>
                <a:ext uri="{FF2B5EF4-FFF2-40B4-BE49-F238E27FC236}">
                  <a16:creationId xmlns:a16="http://schemas.microsoft.com/office/drawing/2014/main" id="{9B4AEF37-02E7-0D33-4F9F-F6D147026F18}"/>
                </a:ext>
              </a:extLst>
            </p:cNvPr>
            <p:cNvCxnSpPr>
              <a:cxnSpLocks/>
              <a:stCxn id="339" idx="6"/>
              <a:endCxn id="342" idx="2"/>
            </p:cNvCxnSpPr>
            <p:nvPr/>
          </p:nvCxnSpPr>
          <p:spPr>
            <a:xfrm>
              <a:off x="3342606" y="2014970"/>
              <a:ext cx="159428" cy="76225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8" name="Straight Connector 347">
              <a:extLst>
                <a:ext uri="{FF2B5EF4-FFF2-40B4-BE49-F238E27FC236}">
                  <a16:creationId xmlns:a16="http://schemas.microsoft.com/office/drawing/2014/main" id="{CC4ED2F2-E5E5-5EEF-5F91-29B9AC0AC22F}"/>
                </a:ext>
              </a:extLst>
            </p:cNvPr>
            <p:cNvCxnSpPr>
              <a:cxnSpLocks/>
              <a:stCxn id="340" idx="6"/>
              <a:endCxn id="342" idx="2"/>
            </p:cNvCxnSpPr>
            <p:nvPr/>
          </p:nvCxnSpPr>
          <p:spPr>
            <a:xfrm flipV="1">
              <a:off x="3345737" y="2091195"/>
              <a:ext cx="156297" cy="113635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9" name="Straight Connector 348">
              <a:extLst>
                <a:ext uri="{FF2B5EF4-FFF2-40B4-BE49-F238E27FC236}">
                  <a16:creationId xmlns:a16="http://schemas.microsoft.com/office/drawing/2014/main" id="{10672F72-6161-E0B8-023B-9A4DDABF5207}"/>
                </a:ext>
              </a:extLst>
            </p:cNvPr>
            <p:cNvCxnSpPr>
              <a:cxnSpLocks/>
              <a:stCxn id="339" idx="6"/>
              <a:endCxn id="343" idx="2"/>
            </p:cNvCxnSpPr>
            <p:nvPr/>
          </p:nvCxnSpPr>
          <p:spPr>
            <a:xfrm>
              <a:off x="3342606" y="2014970"/>
              <a:ext cx="159428" cy="340681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0" name="Straight Connector 349">
              <a:extLst>
                <a:ext uri="{FF2B5EF4-FFF2-40B4-BE49-F238E27FC236}">
                  <a16:creationId xmlns:a16="http://schemas.microsoft.com/office/drawing/2014/main" id="{8ECBE43E-8BA3-5905-C04C-2A498EC68E15}"/>
                </a:ext>
              </a:extLst>
            </p:cNvPr>
            <p:cNvCxnSpPr>
              <a:cxnSpLocks/>
              <a:stCxn id="341" idx="6"/>
              <a:endCxn id="343" idx="2"/>
            </p:cNvCxnSpPr>
            <p:nvPr/>
          </p:nvCxnSpPr>
          <p:spPr>
            <a:xfrm flipV="1">
              <a:off x="3344742" y="2355651"/>
              <a:ext cx="157292" cy="50113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1" name="Straight Connector 350">
              <a:extLst>
                <a:ext uri="{FF2B5EF4-FFF2-40B4-BE49-F238E27FC236}">
                  <a16:creationId xmlns:a16="http://schemas.microsoft.com/office/drawing/2014/main" id="{01FC5CDE-7AD2-A1BF-8040-5E4C759AF4B3}"/>
                </a:ext>
              </a:extLst>
            </p:cNvPr>
            <p:cNvCxnSpPr>
              <a:cxnSpLocks/>
              <a:stCxn id="337" idx="6"/>
              <a:endCxn id="339" idx="2"/>
            </p:cNvCxnSpPr>
            <p:nvPr/>
          </p:nvCxnSpPr>
          <p:spPr>
            <a:xfrm flipV="1">
              <a:off x="3056450" y="2014970"/>
              <a:ext cx="142156" cy="76225"/>
            </a:xfrm>
            <a:prstGeom prst="line">
              <a:avLst/>
            </a:prstGeom>
            <a:ln w="12700" cmpd="sng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2" name="Straight Connector 351">
              <a:extLst>
                <a:ext uri="{FF2B5EF4-FFF2-40B4-BE49-F238E27FC236}">
                  <a16:creationId xmlns:a16="http://schemas.microsoft.com/office/drawing/2014/main" id="{F12A8C5E-07C2-296B-AFB2-53FD88E3B8B0}"/>
                </a:ext>
              </a:extLst>
            </p:cNvPr>
            <p:cNvCxnSpPr>
              <a:cxnSpLocks/>
              <a:stCxn id="338" idx="6"/>
              <a:endCxn id="339" idx="2"/>
            </p:cNvCxnSpPr>
            <p:nvPr/>
          </p:nvCxnSpPr>
          <p:spPr>
            <a:xfrm flipV="1">
              <a:off x="3056450" y="2014970"/>
              <a:ext cx="142156" cy="340681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3" name="Straight Connector 352">
              <a:extLst>
                <a:ext uri="{FF2B5EF4-FFF2-40B4-BE49-F238E27FC236}">
                  <a16:creationId xmlns:a16="http://schemas.microsoft.com/office/drawing/2014/main" id="{4CA455CA-0D98-5E4C-31CC-EA915C2724E0}"/>
                </a:ext>
              </a:extLst>
            </p:cNvPr>
            <p:cNvCxnSpPr>
              <a:cxnSpLocks/>
              <a:stCxn id="340" idx="6"/>
              <a:endCxn id="343" idx="2"/>
            </p:cNvCxnSpPr>
            <p:nvPr/>
          </p:nvCxnSpPr>
          <p:spPr>
            <a:xfrm>
              <a:off x="3345737" y="2204830"/>
              <a:ext cx="177385" cy="201733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54" name="Left Brace 353">
            <a:extLst>
              <a:ext uri="{FF2B5EF4-FFF2-40B4-BE49-F238E27FC236}">
                <a16:creationId xmlns:a16="http://schemas.microsoft.com/office/drawing/2014/main" id="{EA0BD59E-1129-77AD-D599-F87C5DC8253E}"/>
              </a:ext>
            </a:extLst>
          </p:cNvPr>
          <p:cNvSpPr/>
          <p:nvPr/>
        </p:nvSpPr>
        <p:spPr>
          <a:xfrm rot="16200000">
            <a:off x="3094224" y="2359585"/>
            <a:ext cx="125807" cy="458958"/>
          </a:xfrm>
          <a:prstGeom prst="leftBrace">
            <a:avLst/>
          </a:prstGeom>
          <a:solidFill>
            <a:schemeClr val="bg1"/>
          </a:solidFill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56" name="TextBox 355">
            <a:extLst>
              <a:ext uri="{FF2B5EF4-FFF2-40B4-BE49-F238E27FC236}">
                <a16:creationId xmlns:a16="http://schemas.microsoft.com/office/drawing/2014/main" id="{308B355A-8413-F3C9-9632-72A141BA2E40}"/>
              </a:ext>
            </a:extLst>
          </p:cNvPr>
          <p:cNvSpPr txBox="1"/>
          <p:nvPr/>
        </p:nvSpPr>
        <p:spPr>
          <a:xfrm>
            <a:off x="2690211" y="2630579"/>
            <a:ext cx="1016789" cy="23698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13999"/>
              </a:lnSpc>
            </a:pPr>
            <a:r>
              <a:rPr lang="de-DE" sz="900" b="1">
                <a:latin typeface="Arial"/>
                <a:cs typeface="Arial"/>
              </a:rPr>
              <a:t>Freeze weights</a:t>
            </a:r>
            <a:endParaRPr lang="de-DE" sz="900" b="1"/>
          </a:p>
        </p:txBody>
      </p:sp>
      <p:sp>
        <p:nvSpPr>
          <p:cNvPr id="114" name="Fußzeilenplatzhalter 4">
            <a:extLst>
              <a:ext uri="{FF2B5EF4-FFF2-40B4-BE49-F238E27FC236}">
                <a16:creationId xmlns:a16="http://schemas.microsoft.com/office/drawing/2014/main" id="{041DABE1-69AC-1938-E879-31BDBB3E3B80}"/>
              </a:ext>
            </a:extLst>
          </p:cNvPr>
          <p:cNvSpPr txBox="1">
            <a:spLocks/>
          </p:cNvSpPr>
          <p:nvPr/>
        </p:nvSpPr>
        <p:spPr>
          <a:xfrm>
            <a:off x="311162" y="4854985"/>
            <a:ext cx="7829538" cy="28851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1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r>
              <a:rPr lang="en-US" dirty="0">
                <a:latin typeface="Arial"/>
                <a:cs typeface="Arial"/>
              </a:rPr>
              <a:t>◻︎ Outline | ◻︎ Organizational</a:t>
            </a:r>
            <a:r>
              <a:rPr lang="en-US" b="1" dirty="0">
                <a:latin typeface="Arial"/>
                <a:cs typeface="Arial"/>
              </a:rPr>
              <a:t> </a:t>
            </a:r>
            <a:r>
              <a:rPr lang="en-US" dirty="0">
                <a:latin typeface="Arial"/>
                <a:cs typeface="Arial"/>
              </a:rPr>
              <a:t>structure</a:t>
            </a:r>
            <a:r>
              <a:rPr lang="en-US" b="1" dirty="0">
                <a:latin typeface="Arial"/>
                <a:cs typeface="Arial"/>
              </a:rPr>
              <a:t> </a:t>
            </a:r>
            <a:r>
              <a:rPr lang="en-US" dirty="0">
                <a:latin typeface="Arial"/>
                <a:cs typeface="Arial"/>
              </a:rPr>
              <a:t>| ◼︎ </a:t>
            </a:r>
            <a:r>
              <a:rPr lang="en-US" b="1" dirty="0">
                <a:latin typeface="Arial"/>
                <a:cs typeface="Arial"/>
              </a:rPr>
              <a:t>Research</a:t>
            </a:r>
            <a:r>
              <a:rPr lang="en-US" dirty="0">
                <a:latin typeface="Arial"/>
                <a:cs typeface="Arial"/>
              </a:rPr>
              <a:t> </a:t>
            </a:r>
            <a:r>
              <a:rPr lang="en-US" b="1" dirty="0">
                <a:latin typeface="Arial"/>
                <a:cs typeface="Arial"/>
              </a:rPr>
              <a:t>Topics</a:t>
            </a:r>
            <a:r>
              <a:rPr lang="en-US" dirty="0">
                <a:latin typeface="Arial"/>
                <a:cs typeface="Arial"/>
              </a:rPr>
              <a:t> | ◻︎ ML Pipeline  | ◻︎ Next steps</a:t>
            </a:r>
          </a:p>
        </p:txBody>
      </p:sp>
    </p:spTree>
    <p:extLst>
      <p:ext uri="{BB962C8B-B14F-4D97-AF65-F5344CB8AC3E}">
        <p14:creationId xmlns:p14="http://schemas.microsoft.com/office/powerpoint/2010/main" val="13504292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 advTm="20000"/>
    </mc:Choice>
    <mc:Fallback xmlns="">
      <p:transition spd="slow" advClick="0" advTm="20000"/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7ED68744-4E01-4801-A78D-D1B172F4C29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777099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7ED68744-4E01-4801-A78D-D1B172F4C29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el 2">
            <a:extLst>
              <a:ext uri="{FF2B5EF4-FFF2-40B4-BE49-F238E27FC236}">
                <a16:creationId xmlns:a16="http://schemas.microsoft.com/office/drawing/2014/main" id="{37327073-11DD-47A1-A0A3-AEC7A599651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7502" y="282065"/>
            <a:ext cx="7461162" cy="791179"/>
          </a:xfrm>
        </p:spPr>
        <p:txBody>
          <a:bodyPr vert="horz"/>
          <a:lstStyle/>
          <a:p>
            <a:r>
              <a:rPr lang="de-DE"/>
              <a:t>Using </a:t>
            </a:r>
            <a:r>
              <a:rPr lang="de-DE" b="1"/>
              <a:t>self supervised learning </a:t>
            </a:r>
            <a:r>
              <a:rPr lang="de-DE"/>
              <a:t>to learn a good representation from unlabled data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F623D925-8B03-4C79-B8CE-4001D099571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13</a:t>
            </a:fld>
            <a:endParaRPr lang="de-DE"/>
          </a:p>
        </p:txBody>
      </p:sp>
      <p:pic>
        <p:nvPicPr>
          <p:cNvPr id="8" name="Grafik 2" descr="countdown.gif">
            <a:extLst>
              <a:ext uri="{FF2B5EF4-FFF2-40B4-BE49-F238E27FC236}">
                <a16:creationId xmlns:a16="http://schemas.microsoft.com/office/drawing/2014/main" id="{9F18EF32-707B-47E4-B94B-5CA81854BA99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85113" y="4575685"/>
            <a:ext cx="1258887" cy="571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8" name="Textfeld 27">
            <a:extLst>
              <a:ext uri="{FF2B5EF4-FFF2-40B4-BE49-F238E27FC236}">
                <a16:creationId xmlns:a16="http://schemas.microsoft.com/office/drawing/2014/main" id="{D4057982-C54B-74DA-882A-9115EBB5DDC9}"/>
              </a:ext>
            </a:extLst>
          </p:cNvPr>
          <p:cNvSpPr txBox="1"/>
          <p:nvPr/>
        </p:nvSpPr>
        <p:spPr>
          <a:xfrm>
            <a:off x="3516331" y="3793665"/>
            <a:ext cx="2397583" cy="53796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14000"/>
              </a:lnSpc>
            </a:pPr>
            <a:r>
              <a:rPr lang="en-US" sz="1600" dirty="0">
                <a:latin typeface="+mn-lt"/>
              </a:rPr>
              <a:t>Leveraging unlabeled data sources</a:t>
            </a:r>
          </a:p>
        </p:txBody>
      </p:sp>
      <p:grpSp>
        <p:nvGrpSpPr>
          <p:cNvPr id="45" name="Group 44">
            <a:extLst>
              <a:ext uri="{FF2B5EF4-FFF2-40B4-BE49-F238E27FC236}">
                <a16:creationId xmlns:a16="http://schemas.microsoft.com/office/drawing/2014/main" id="{D0EF9A4D-0E56-41B1-8CFD-AFB05DC97490}"/>
              </a:ext>
            </a:extLst>
          </p:cNvPr>
          <p:cNvGrpSpPr>
            <a:grpSpLocks noChangeAspect="1"/>
          </p:cNvGrpSpPr>
          <p:nvPr/>
        </p:nvGrpSpPr>
        <p:grpSpPr>
          <a:xfrm>
            <a:off x="3097601" y="3909194"/>
            <a:ext cx="306910" cy="306910"/>
            <a:chOff x="982662" y="1847850"/>
            <a:chExt cx="269875" cy="269875"/>
          </a:xfrm>
        </p:grpSpPr>
        <p:sp>
          <p:nvSpPr>
            <p:cNvPr id="46" name="Oval 50">
              <a:extLst>
                <a:ext uri="{FF2B5EF4-FFF2-40B4-BE49-F238E27FC236}">
                  <a16:creationId xmlns:a16="http://schemas.microsoft.com/office/drawing/2014/main" id="{4C01151C-1C0D-488C-BC67-68D6E7BC8BF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82662" y="1847850"/>
              <a:ext cx="269875" cy="269875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47" name="Freeform 51">
              <a:extLst>
                <a:ext uri="{FF2B5EF4-FFF2-40B4-BE49-F238E27FC236}">
                  <a16:creationId xmlns:a16="http://schemas.microsoft.com/office/drawing/2014/main" id="{26C84721-41FA-4C18-A82A-A70A57BB4368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2675" y="1895475"/>
              <a:ext cx="96837" cy="174625"/>
            </a:xfrm>
            <a:custGeom>
              <a:avLst/>
              <a:gdLst>
                <a:gd name="T0" fmla="*/ 6 w 61"/>
                <a:gd name="T1" fmla="*/ 0 h 110"/>
                <a:gd name="T2" fmla="*/ 0 w 61"/>
                <a:gd name="T3" fmla="*/ 7 h 110"/>
                <a:gd name="T4" fmla="*/ 48 w 61"/>
                <a:gd name="T5" fmla="*/ 55 h 110"/>
                <a:gd name="T6" fmla="*/ 0 w 61"/>
                <a:gd name="T7" fmla="*/ 104 h 110"/>
                <a:gd name="T8" fmla="*/ 6 w 61"/>
                <a:gd name="T9" fmla="*/ 110 h 110"/>
                <a:gd name="T10" fmla="*/ 54 w 61"/>
                <a:gd name="T11" fmla="*/ 62 h 110"/>
                <a:gd name="T12" fmla="*/ 61 w 61"/>
                <a:gd name="T13" fmla="*/ 55 h 110"/>
                <a:gd name="T14" fmla="*/ 54 w 61"/>
                <a:gd name="T15" fmla="*/ 49 h 110"/>
                <a:gd name="T16" fmla="*/ 6 w 61"/>
                <a:gd name="T17" fmla="*/ 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1" h="110">
                  <a:moveTo>
                    <a:pt x="6" y="0"/>
                  </a:moveTo>
                  <a:lnTo>
                    <a:pt x="0" y="7"/>
                  </a:lnTo>
                  <a:lnTo>
                    <a:pt x="48" y="55"/>
                  </a:lnTo>
                  <a:lnTo>
                    <a:pt x="0" y="104"/>
                  </a:lnTo>
                  <a:lnTo>
                    <a:pt x="6" y="110"/>
                  </a:lnTo>
                  <a:lnTo>
                    <a:pt x="54" y="62"/>
                  </a:lnTo>
                  <a:lnTo>
                    <a:pt x="61" y="55"/>
                  </a:lnTo>
                  <a:lnTo>
                    <a:pt x="54" y="49"/>
                  </a:lnTo>
                  <a:lnTo>
                    <a:pt x="6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id="{FC6FD119-0E4C-4421-BF3C-2F46D3713E39}"/>
              </a:ext>
            </a:extLst>
          </p:cNvPr>
          <p:cNvGrpSpPr>
            <a:grpSpLocks/>
          </p:cNvGrpSpPr>
          <p:nvPr/>
        </p:nvGrpSpPr>
        <p:grpSpPr>
          <a:xfrm>
            <a:off x="720986" y="1544206"/>
            <a:ext cx="7702028" cy="1761804"/>
            <a:chOff x="1674402" y="2561087"/>
            <a:chExt cx="5834870" cy="1334700"/>
          </a:xfrm>
        </p:grpSpPr>
        <p:sp>
          <p:nvSpPr>
            <p:cNvPr id="25" name="Textfeld 24">
              <a:extLst>
                <a:ext uri="{FF2B5EF4-FFF2-40B4-BE49-F238E27FC236}">
                  <a16:creationId xmlns:a16="http://schemas.microsoft.com/office/drawing/2014/main" id="{51391949-2F96-A60B-A491-E1631DD60A19}"/>
                </a:ext>
              </a:extLst>
            </p:cNvPr>
            <p:cNvSpPr txBox="1"/>
            <p:nvPr/>
          </p:nvSpPr>
          <p:spPr>
            <a:xfrm>
              <a:off x="1778285" y="2591385"/>
              <a:ext cx="2397583" cy="36985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lnSpc>
                  <a:spcPct val="114000"/>
                </a:lnSpc>
              </a:pPr>
              <a:r>
                <a:rPr lang="en-US" sz="1452">
                  <a:latin typeface="+mn-lt"/>
                </a:rPr>
                <a:t>Design a simple </a:t>
              </a:r>
              <a:r>
                <a:rPr lang="en-US" sz="1452" b="1">
                  <a:latin typeface="+mn-lt"/>
                </a:rPr>
                <a:t>proxy-task</a:t>
              </a:r>
              <a:r>
                <a:rPr lang="en-US" sz="1452">
                  <a:latin typeface="+mn-lt"/>
                </a:rPr>
                <a:t> and train the model on unlabeled data</a:t>
              </a:r>
            </a:p>
          </p:txBody>
        </p:sp>
        <p:sp>
          <p:nvSpPr>
            <p:cNvPr id="26" name="Textfeld 25">
              <a:extLst>
                <a:ext uri="{FF2B5EF4-FFF2-40B4-BE49-F238E27FC236}">
                  <a16:creationId xmlns:a16="http://schemas.microsoft.com/office/drawing/2014/main" id="{198952EB-7061-E7D7-6C74-4B68F3F5290B}"/>
                </a:ext>
              </a:extLst>
            </p:cNvPr>
            <p:cNvSpPr txBox="1"/>
            <p:nvPr/>
          </p:nvSpPr>
          <p:spPr>
            <a:xfrm>
              <a:off x="5025088" y="2561087"/>
              <a:ext cx="2303644" cy="61913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lnSpc>
                  <a:spcPct val="114000"/>
                </a:lnSpc>
              </a:pPr>
              <a:r>
                <a:rPr lang="en-US" sz="1452">
                  <a:latin typeface="+mn-lt"/>
                </a:rPr>
                <a:t>Fine tune the model on a </a:t>
              </a:r>
              <a:r>
                <a:rPr lang="en-US" sz="1452" b="1">
                  <a:latin typeface="+mn-lt"/>
                </a:rPr>
                <a:t>small labeled dataset </a:t>
              </a:r>
              <a:r>
                <a:rPr lang="en-US" sz="1452">
                  <a:latin typeface="+mn-lt"/>
                </a:rPr>
                <a:t>for the specific task</a:t>
              </a:r>
            </a:p>
          </p:txBody>
        </p:sp>
        <p:grpSp>
          <p:nvGrpSpPr>
            <p:cNvPr id="49" name="Group 48">
              <a:extLst>
                <a:ext uri="{FF2B5EF4-FFF2-40B4-BE49-F238E27FC236}">
                  <a16:creationId xmlns:a16="http://schemas.microsoft.com/office/drawing/2014/main" id="{CE9A8132-6317-2166-246D-2F94FB0B5BCC}"/>
                </a:ext>
              </a:extLst>
            </p:cNvPr>
            <p:cNvGrpSpPr/>
            <p:nvPr/>
          </p:nvGrpSpPr>
          <p:grpSpPr>
            <a:xfrm>
              <a:off x="2767101" y="3130467"/>
              <a:ext cx="479260" cy="349387"/>
              <a:chOff x="1612092" y="1921083"/>
              <a:chExt cx="733584" cy="534794"/>
            </a:xfrm>
          </p:grpSpPr>
          <p:sp>
            <p:nvSpPr>
              <p:cNvPr id="50" name="Oval 49">
                <a:extLst>
                  <a:ext uri="{FF2B5EF4-FFF2-40B4-BE49-F238E27FC236}">
                    <a16:creationId xmlns:a16="http://schemas.microsoft.com/office/drawing/2014/main" id="{0774CA11-C059-B167-E385-CB4211556BA5}"/>
                  </a:ext>
                </a:extLst>
              </p:cNvPr>
              <p:cNvSpPr/>
              <p:nvPr/>
            </p:nvSpPr>
            <p:spPr>
              <a:xfrm>
                <a:off x="1612092" y="1997308"/>
                <a:ext cx="144000" cy="144000"/>
              </a:xfrm>
              <a:prstGeom prst="ellipse">
                <a:avLst/>
              </a:prstGeom>
              <a:solidFill>
                <a:schemeClr val="accent6"/>
              </a:solidFill>
              <a:ln w="16764">
                <a:solidFill>
                  <a:schemeClr val="tx1"/>
                </a:solidFill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120701" tIns="60350" rIns="120701" bIns="6035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lnSpc>
                    <a:spcPct val="114000"/>
                  </a:lnSpc>
                </a:pPr>
                <a:endParaRPr lang="en-US"/>
              </a:p>
            </p:txBody>
          </p:sp>
          <p:sp>
            <p:nvSpPr>
              <p:cNvPr id="51" name="Oval 50">
                <a:extLst>
                  <a:ext uri="{FF2B5EF4-FFF2-40B4-BE49-F238E27FC236}">
                    <a16:creationId xmlns:a16="http://schemas.microsoft.com/office/drawing/2014/main" id="{DFEB9F7D-9246-9FE1-4DCC-F70436FC8F22}"/>
                  </a:ext>
                </a:extLst>
              </p:cNvPr>
              <p:cNvSpPr/>
              <p:nvPr/>
            </p:nvSpPr>
            <p:spPr>
              <a:xfrm>
                <a:off x="1612092" y="2261764"/>
                <a:ext cx="144000" cy="144000"/>
              </a:xfrm>
              <a:prstGeom prst="ellipse">
                <a:avLst/>
              </a:prstGeom>
              <a:solidFill>
                <a:schemeClr val="accent6"/>
              </a:solidFill>
              <a:ln w="16764">
                <a:solidFill>
                  <a:schemeClr val="tx1"/>
                </a:solidFill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120701" tIns="60350" rIns="120701" bIns="6035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lnSpc>
                    <a:spcPct val="114000"/>
                  </a:lnSpc>
                </a:pPr>
                <a:endParaRPr lang="en-US"/>
              </a:p>
            </p:txBody>
          </p:sp>
          <p:sp>
            <p:nvSpPr>
              <p:cNvPr id="52" name="Oval 51">
                <a:extLst>
                  <a:ext uri="{FF2B5EF4-FFF2-40B4-BE49-F238E27FC236}">
                    <a16:creationId xmlns:a16="http://schemas.microsoft.com/office/drawing/2014/main" id="{D85CD702-77A0-6B8E-879A-F7A720E2098A}"/>
                  </a:ext>
                </a:extLst>
              </p:cNvPr>
              <p:cNvSpPr/>
              <p:nvPr/>
            </p:nvSpPr>
            <p:spPr>
              <a:xfrm>
                <a:off x="1898248" y="1921083"/>
                <a:ext cx="144000" cy="144000"/>
              </a:xfrm>
              <a:prstGeom prst="ellipse">
                <a:avLst/>
              </a:prstGeom>
              <a:solidFill>
                <a:schemeClr val="accent2"/>
              </a:solidFill>
              <a:ln w="16764">
                <a:solidFill>
                  <a:schemeClr val="tx1"/>
                </a:solidFill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120701" tIns="60350" rIns="120701" bIns="6035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lnSpc>
                    <a:spcPct val="114000"/>
                  </a:lnSpc>
                </a:pPr>
                <a:endParaRPr lang="en-US"/>
              </a:p>
            </p:txBody>
          </p:sp>
          <p:sp>
            <p:nvSpPr>
              <p:cNvPr id="53" name="Oval 52">
                <a:extLst>
                  <a:ext uri="{FF2B5EF4-FFF2-40B4-BE49-F238E27FC236}">
                    <a16:creationId xmlns:a16="http://schemas.microsoft.com/office/drawing/2014/main" id="{EA6A45DB-C524-5D2D-1A18-F0C4B9862B68}"/>
                  </a:ext>
                </a:extLst>
              </p:cNvPr>
              <p:cNvSpPr/>
              <p:nvPr/>
            </p:nvSpPr>
            <p:spPr>
              <a:xfrm>
                <a:off x="1901379" y="2110943"/>
                <a:ext cx="144000" cy="144000"/>
              </a:xfrm>
              <a:prstGeom prst="ellipse">
                <a:avLst/>
              </a:prstGeom>
              <a:solidFill>
                <a:schemeClr val="accent2"/>
              </a:solidFill>
              <a:ln w="16764">
                <a:solidFill>
                  <a:schemeClr val="tx1"/>
                </a:solidFill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120701" tIns="60350" rIns="120701" bIns="6035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lnSpc>
                    <a:spcPct val="114000"/>
                  </a:lnSpc>
                </a:pPr>
                <a:endParaRPr lang="en-US"/>
              </a:p>
            </p:txBody>
          </p:sp>
          <p:sp>
            <p:nvSpPr>
              <p:cNvPr id="54" name="Oval 53">
                <a:extLst>
                  <a:ext uri="{FF2B5EF4-FFF2-40B4-BE49-F238E27FC236}">
                    <a16:creationId xmlns:a16="http://schemas.microsoft.com/office/drawing/2014/main" id="{7D5E8EB2-6B5F-7429-1C2A-881137A3D75C}"/>
                  </a:ext>
                </a:extLst>
              </p:cNvPr>
              <p:cNvSpPr/>
              <p:nvPr/>
            </p:nvSpPr>
            <p:spPr>
              <a:xfrm>
                <a:off x="1900384" y="2311877"/>
                <a:ext cx="144000" cy="144000"/>
              </a:xfrm>
              <a:prstGeom prst="ellipse">
                <a:avLst/>
              </a:prstGeom>
              <a:solidFill>
                <a:schemeClr val="accent2"/>
              </a:solidFill>
              <a:ln w="16764">
                <a:solidFill>
                  <a:schemeClr val="tx1"/>
                </a:solidFill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120701" tIns="60350" rIns="120701" bIns="6035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lnSpc>
                    <a:spcPct val="114000"/>
                  </a:lnSpc>
                </a:pPr>
                <a:endParaRPr lang="en-US"/>
              </a:p>
            </p:txBody>
          </p:sp>
          <p:sp>
            <p:nvSpPr>
              <p:cNvPr id="55" name="Oval 54">
                <a:extLst>
                  <a:ext uri="{FF2B5EF4-FFF2-40B4-BE49-F238E27FC236}">
                    <a16:creationId xmlns:a16="http://schemas.microsoft.com/office/drawing/2014/main" id="{34AEA4F2-655D-66B2-B90F-F0A059FDC2DD}"/>
                  </a:ext>
                </a:extLst>
              </p:cNvPr>
              <p:cNvSpPr/>
              <p:nvPr/>
            </p:nvSpPr>
            <p:spPr>
              <a:xfrm>
                <a:off x="2201676" y="1997308"/>
                <a:ext cx="144000" cy="144000"/>
              </a:xfrm>
              <a:prstGeom prst="ellipse">
                <a:avLst/>
              </a:prstGeom>
              <a:solidFill>
                <a:schemeClr val="accent5"/>
              </a:solidFill>
              <a:ln w="16764">
                <a:solidFill>
                  <a:schemeClr val="tx1"/>
                </a:solidFill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120701" tIns="60350" rIns="120701" bIns="6035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lnSpc>
                    <a:spcPct val="114000"/>
                  </a:lnSpc>
                </a:pPr>
                <a:endParaRPr lang="en-US"/>
              </a:p>
            </p:txBody>
          </p:sp>
          <p:sp>
            <p:nvSpPr>
              <p:cNvPr id="56" name="Oval 55">
                <a:extLst>
                  <a:ext uri="{FF2B5EF4-FFF2-40B4-BE49-F238E27FC236}">
                    <a16:creationId xmlns:a16="http://schemas.microsoft.com/office/drawing/2014/main" id="{D00C1BBF-9FF7-57A0-AAA3-54C18D5707B7}"/>
                  </a:ext>
                </a:extLst>
              </p:cNvPr>
              <p:cNvSpPr/>
              <p:nvPr/>
            </p:nvSpPr>
            <p:spPr>
              <a:xfrm>
                <a:off x="2201676" y="2261764"/>
                <a:ext cx="144000" cy="144000"/>
              </a:xfrm>
              <a:prstGeom prst="ellipse">
                <a:avLst/>
              </a:prstGeom>
              <a:solidFill>
                <a:schemeClr val="accent5"/>
              </a:solidFill>
              <a:ln w="16764">
                <a:solidFill>
                  <a:schemeClr val="tx1"/>
                </a:solidFill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120701" tIns="60350" rIns="120701" bIns="6035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lnSpc>
                    <a:spcPct val="114000"/>
                  </a:lnSpc>
                </a:pPr>
                <a:endParaRPr lang="en-US"/>
              </a:p>
            </p:txBody>
          </p:sp>
          <p:cxnSp>
            <p:nvCxnSpPr>
              <p:cNvPr id="57" name="Straight Connector 56">
                <a:extLst>
                  <a:ext uri="{FF2B5EF4-FFF2-40B4-BE49-F238E27FC236}">
                    <a16:creationId xmlns:a16="http://schemas.microsoft.com/office/drawing/2014/main" id="{97E796A8-F9B2-5E33-5FF0-99C408706967}"/>
                  </a:ext>
                </a:extLst>
              </p:cNvPr>
              <p:cNvCxnSpPr>
                <a:cxnSpLocks/>
                <a:stCxn id="50" idx="6"/>
                <a:endCxn id="54" idx="2"/>
              </p:cNvCxnSpPr>
              <p:nvPr/>
            </p:nvCxnSpPr>
            <p:spPr>
              <a:xfrm>
                <a:off x="1756092" y="2069308"/>
                <a:ext cx="144292" cy="314569"/>
              </a:xfrm>
              <a:prstGeom prst="line">
                <a:avLst/>
              </a:prstGeom>
              <a:ln w="16764" cmpd="sng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8" name="Straight Connector 57">
                <a:extLst>
                  <a:ext uri="{FF2B5EF4-FFF2-40B4-BE49-F238E27FC236}">
                    <a16:creationId xmlns:a16="http://schemas.microsoft.com/office/drawing/2014/main" id="{1E907879-A599-E8F2-CCEF-8309B5603A63}"/>
                  </a:ext>
                </a:extLst>
              </p:cNvPr>
              <p:cNvCxnSpPr>
                <a:cxnSpLocks/>
                <a:stCxn id="51" idx="6"/>
                <a:endCxn id="53" idx="2"/>
              </p:cNvCxnSpPr>
              <p:nvPr/>
            </p:nvCxnSpPr>
            <p:spPr>
              <a:xfrm flipV="1">
                <a:off x="1756092" y="2182943"/>
                <a:ext cx="145287" cy="150821"/>
              </a:xfrm>
              <a:prstGeom prst="line">
                <a:avLst/>
              </a:prstGeom>
              <a:ln w="16764" cmpd="sng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9" name="Straight Connector 58">
                <a:extLst>
                  <a:ext uri="{FF2B5EF4-FFF2-40B4-BE49-F238E27FC236}">
                    <a16:creationId xmlns:a16="http://schemas.microsoft.com/office/drawing/2014/main" id="{5DB1075F-568F-CEBF-4F5D-A6AE1DE22E60}"/>
                  </a:ext>
                </a:extLst>
              </p:cNvPr>
              <p:cNvCxnSpPr>
                <a:cxnSpLocks/>
                <a:stCxn id="51" idx="6"/>
                <a:endCxn id="54" idx="2"/>
              </p:cNvCxnSpPr>
              <p:nvPr/>
            </p:nvCxnSpPr>
            <p:spPr>
              <a:xfrm>
                <a:off x="1756092" y="2333764"/>
                <a:ext cx="144292" cy="50113"/>
              </a:xfrm>
              <a:prstGeom prst="line">
                <a:avLst/>
              </a:prstGeom>
              <a:ln w="16764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0" name="Straight Connector 59">
                <a:extLst>
                  <a:ext uri="{FF2B5EF4-FFF2-40B4-BE49-F238E27FC236}">
                    <a16:creationId xmlns:a16="http://schemas.microsoft.com/office/drawing/2014/main" id="{1E848546-9F75-8616-5C5B-DCA2E2720CA5}"/>
                  </a:ext>
                </a:extLst>
              </p:cNvPr>
              <p:cNvCxnSpPr>
                <a:cxnSpLocks/>
                <a:stCxn id="52" idx="6"/>
                <a:endCxn id="55" idx="2"/>
              </p:cNvCxnSpPr>
              <p:nvPr/>
            </p:nvCxnSpPr>
            <p:spPr>
              <a:xfrm>
                <a:off x="2042248" y="1993083"/>
                <a:ext cx="159428" cy="76225"/>
              </a:xfrm>
              <a:prstGeom prst="line">
                <a:avLst/>
              </a:prstGeom>
              <a:ln w="16764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1" name="Straight Connector 60">
                <a:extLst>
                  <a:ext uri="{FF2B5EF4-FFF2-40B4-BE49-F238E27FC236}">
                    <a16:creationId xmlns:a16="http://schemas.microsoft.com/office/drawing/2014/main" id="{9957A3CF-57B6-D0F4-D59C-8FD4602BE245}"/>
                  </a:ext>
                </a:extLst>
              </p:cNvPr>
              <p:cNvCxnSpPr>
                <a:cxnSpLocks/>
                <a:stCxn id="53" idx="6"/>
                <a:endCxn id="55" idx="2"/>
              </p:cNvCxnSpPr>
              <p:nvPr/>
            </p:nvCxnSpPr>
            <p:spPr>
              <a:xfrm flipV="1">
                <a:off x="2045379" y="2069308"/>
                <a:ext cx="156297" cy="113635"/>
              </a:xfrm>
              <a:prstGeom prst="line">
                <a:avLst/>
              </a:prstGeom>
              <a:ln w="16764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2" name="Straight Connector 61">
                <a:extLst>
                  <a:ext uri="{FF2B5EF4-FFF2-40B4-BE49-F238E27FC236}">
                    <a16:creationId xmlns:a16="http://schemas.microsoft.com/office/drawing/2014/main" id="{31F597EF-B09B-4F0A-0043-C55A70EB3544}"/>
                  </a:ext>
                </a:extLst>
              </p:cNvPr>
              <p:cNvCxnSpPr>
                <a:cxnSpLocks/>
                <a:stCxn id="52" idx="6"/>
                <a:endCxn id="56" idx="2"/>
              </p:cNvCxnSpPr>
              <p:nvPr/>
            </p:nvCxnSpPr>
            <p:spPr>
              <a:xfrm>
                <a:off x="2042248" y="1993083"/>
                <a:ext cx="159428" cy="340681"/>
              </a:xfrm>
              <a:prstGeom prst="line">
                <a:avLst/>
              </a:prstGeom>
              <a:ln w="16764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3" name="Straight Connector 62">
                <a:extLst>
                  <a:ext uri="{FF2B5EF4-FFF2-40B4-BE49-F238E27FC236}">
                    <a16:creationId xmlns:a16="http://schemas.microsoft.com/office/drawing/2014/main" id="{262089D5-90A0-0CA5-C307-90A6C70B6C1F}"/>
                  </a:ext>
                </a:extLst>
              </p:cNvPr>
              <p:cNvCxnSpPr>
                <a:cxnSpLocks/>
                <a:stCxn id="54" idx="6"/>
                <a:endCxn id="56" idx="2"/>
              </p:cNvCxnSpPr>
              <p:nvPr/>
            </p:nvCxnSpPr>
            <p:spPr>
              <a:xfrm flipV="1">
                <a:off x="2044384" y="2333764"/>
                <a:ext cx="157292" cy="50113"/>
              </a:xfrm>
              <a:prstGeom prst="line">
                <a:avLst/>
              </a:prstGeom>
              <a:ln w="16764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4" name="Straight Connector 63">
                <a:extLst>
                  <a:ext uri="{FF2B5EF4-FFF2-40B4-BE49-F238E27FC236}">
                    <a16:creationId xmlns:a16="http://schemas.microsoft.com/office/drawing/2014/main" id="{BBE78874-A683-1297-E20A-3D5F1E4C6BA5}"/>
                  </a:ext>
                </a:extLst>
              </p:cNvPr>
              <p:cNvCxnSpPr>
                <a:cxnSpLocks/>
                <a:stCxn id="50" idx="6"/>
                <a:endCxn id="52" idx="2"/>
              </p:cNvCxnSpPr>
              <p:nvPr/>
            </p:nvCxnSpPr>
            <p:spPr>
              <a:xfrm flipV="1">
                <a:off x="1756092" y="1993083"/>
                <a:ext cx="142156" cy="76225"/>
              </a:xfrm>
              <a:prstGeom prst="line">
                <a:avLst/>
              </a:prstGeom>
              <a:ln w="16764" cmpd="sng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5" name="Straight Connector 64">
                <a:extLst>
                  <a:ext uri="{FF2B5EF4-FFF2-40B4-BE49-F238E27FC236}">
                    <a16:creationId xmlns:a16="http://schemas.microsoft.com/office/drawing/2014/main" id="{0972F90A-A584-8A27-9154-E42A8667D52C}"/>
                  </a:ext>
                </a:extLst>
              </p:cNvPr>
              <p:cNvCxnSpPr>
                <a:cxnSpLocks/>
                <a:stCxn id="51" idx="6"/>
                <a:endCxn id="52" idx="2"/>
              </p:cNvCxnSpPr>
              <p:nvPr/>
            </p:nvCxnSpPr>
            <p:spPr>
              <a:xfrm flipV="1">
                <a:off x="1756092" y="1993083"/>
                <a:ext cx="142156" cy="340681"/>
              </a:xfrm>
              <a:prstGeom prst="line">
                <a:avLst/>
              </a:prstGeom>
              <a:ln w="16764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6" name="Straight Connector 65">
                <a:extLst>
                  <a:ext uri="{FF2B5EF4-FFF2-40B4-BE49-F238E27FC236}">
                    <a16:creationId xmlns:a16="http://schemas.microsoft.com/office/drawing/2014/main" id="{57E01CF3-4B36-97FD-CA41-4C5FEC93219E}"/>
                  </a:ext>
                </a:extLst>
              </p:cNvPr>
              <p:cNvCxnSpPr>
                <a:cxnSpLocks/>
                <a:stCxn id="53" idx="6"/>
                <a:endCxn id="56" idx="2"/>
              </p:cNvCxnSpPr>
              <p:nvPr/>
            </p:nvCxnSpPr>
            <p:spPr>
              <a:xfrm>
                <a:off x="2045379" y="2182943"/>
                <a:ext cx="177385" cy="201733"/>
              </a:xfrm>
              <a:prstGeom prst="line">
                <a:avLst/>
              </a:prstGeom>
              <a:ln w="16764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67" name="Textfeld 12">
              <a:extLst>
                <a:ext uri="{FF2B5EF4-FFF2-40B4-BE49-F238E27FC236}">
                  <a16:creationId xmlns:a16="http://schemas.microsoft.com/office/drawing/2014/main" id="{3479E43C-1487-3615-5BCD-B8BF3DF40C57}"/>
                </a:ext>
              </a:extLst>
            </p:cNvPr>
            <p:cNvSpPr txBox="1"/>
            <p:nvPr/>
          </p:nvSpPr>
          <p:spPr>
            <a:xfrm>
              <a:off x="2799529" y="3525921"/>
              <a:ext cx="685026" cy="369866"/>
            </a:xfrm>
            <a:prstGeom prst="rect">
              <a:avLst/>
            </a:prstGeom>
            <a:noFill/>
          </p:spPr>
          <p:txBody>
            <a:bodyPr rot="0" spcFirstLastPara="0" vertOverflow="overflow" horzOverflow="overflow" vert="horz" wrap="square" lIns="0" tIns="0" rIns="0" bIns="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/>
            <a:p>
              <a:pPr>
                <a:lnSpc>
                  <a:spcPct val="113999"/>
                </a:lnSpc>
              </a:pPr>
              <a:r>
                <a:rPr lang="de-DE" sz="1320" b="1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/>
                  <a:cs typeface="Arial"/>
                </a:rPr>
                <a:t>Same picture?</a:t>
              </a:r>
              <a:endParaRPr lang="de-DE" sz="1320" b="1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sp>
          <p:nvSpPr>
            <p:cNvPr id="68" name="Freeform 23">
              <a:extLst>
                <a:ext uri="{FF2B5EF4-FFF2-40B4-BE49-F238E27FC236}">
                  <a16:creationId xmlns:a16="http://schemas.microsoft.com/office/drawing/2014/main" id="{4EF5234A-0797-ACA7-FD2C-4BB2AB7968C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74402" y="3420652"/>
              <a:ext cx="504144" cy="288208"/>
            </a:xfrm>
            <a:custGeom>
              <a:avLst/>
              <a:gdLst>
                <a:gd name="T0" fmla="*/ 755 w 1920"/>
                <a:gd name="T1" fmla="*/ 399 h 1212"/>
                <a:gd name="T2" fmla="*/ 777 w 1920"/>
                <a:gd name="T3" fmla="*/ 412 h 1212"/>
                <a:gd name="T4" fmla="*/ 1039 w 1920"/>
                <a:gd name="T5" fmla="*/ 935 h 1212"/>
                <a:gd name="T6" fmla="*/ 1032 w 1920"/>
                <a:gd name="T7" fmla="*/ 954 h 1212"/>
                <a:gd name="T8" fmla="*/ 1026 w 1920"/>
                <a:gd name="T9" fmla="*/ 956 h 1212"/>
                <a:gd name="T10" fmla="*/ 1012 w 1920"/>
                <a:gd name="T11" fmla="*/ 948 h 1212"/>
                <a:gd name="T12" fmla="*/ 755 w 1920"/>
                <a:gd name="T13" fmla="*/ 434 h 1212"/>
                <a:gd name="T14" fmla="*/ 582 w 1920"/>
                <a:gd name="T15" fmla="*/ 782 h 1212"/>
                <a:gd name="T16" fmla="*/ 567 w 1920"/>
                <a:gd name="T17" fmla="*/ 749 h 1212"/>
                <a:gd name="T18" fmla="*/ 735 w 1920"/>
                <a:gd name="T19" fmla="*/ 412 h 1212"/>
                <a:gd name="T20" fmla="*/ 755 w 1920"/>
                <a:gd name="T21" fmla="*/ 399 h 1212"/>
                <a:gd name="T22" fmla="*/ 57 w 1920"/>
                <a:gd name="T23" fmla="*/ 54 h 1212"/>
                <a:gd name="T24" fmla="*/ 57 w 1920"/>
                <a:gd name="T25" fmla="*/ 1158 h 1212"/>
                <a:gd name="T26" fmla="*/ 1863 w 1920"/>
                <a:gd name="T27" fmla="*/ 1158 h 1212"/>
                <a:gd name="T28" fmla="*/ 1863 w 1920"/>
                <a:gd name="T29" fmla="*/ 54 h 1212"/>
                <a:gd name="T30" fmla="*/ 57 w 1920"/>
                <a:gd name="T31" fmla="*/ 54 h 1212"/>
                <a:gd name="T32" fmla="*/ 58 w 1920"/>
                <a:gd name="T33" fmla="*/ 0 h 1212"/>
                <a:gd name="T34" fmla="*/ 1863 w 1920"/>
                <a:gd name="T35" fmla="*/ 0 h 1212"/>
                <a:gd name="T36" fmla="*/ 1920 w 1920"/>
                <a:gd name="T37" fmla="*/ 56 h 1212"/>
                <a:gd name="T38" fmla="*/ 1920 w 1920"/>
                <a:gd name="T39" fmla="*/ 1156 h 1212"/>
                <a:gd name="T40" fmla="*/ 1863 w 1920"/>
                <a:gd name="T41" fmla="*/ 1212 h 1212"/>
                <a:gd name="T42" fmla="*/ 58 w 1920"/>
                <a:gd name="T43" fmla="*/ 1212 h 1212"/>
                <a:gd name="T44" fmla="*/ 0 w 1920"/>
                <a:gd name="T45" fmla="*/ 1156 h 1212"/>
                <a:gd name="T46" fmla="*/ 0 w 1920"/>
                <a:gd name="T47" fmla="*/ 56 h 1212"/>
                <a:gd name="T48" fmla="*/ 58 w 1920"/>
                <a:gd name="T49" fmla="*/ 0 h 12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920" h="1212">
                  <a:moveTo>
                    <a:pt x="755" y="399"/>
                  </a:moveTo>
                  <a:cubicBezTo>
                    <a:pt x="764" y="399"/>
                    <a:pt x="772" y="404"/>
                    <a:pt x="777" y="412"/>
                  </a:cubicBezTo>
                  <a:cubicBezTo>
                    <a:pt x="777" y="412"/>
                    <a:pt x="777" y="412"/>
                    <a:pt x="1039" y="935"/>
                  </a:cubicBezTo>
                  <a:cubicBezTo>
                    <a:pt x="1042" y="943"/>
                    <a:pt x="1040" y="950"/>
                    <a:pt x="1032" y="954"/>
                  </a:cubicBezTo>
                  <a:cubicBezTo>
                    <a:pt x="1031" y="956"/>
                    <a:pt x="1028" y="956"/>
                    <a:pt x="1026" y="956"/>
                  </a:cubicBezTo>
                  <a:cubicBezTo>
                    <a:pt x="1019" y="956"/>
                    <a:pt x="1014" y="953"/>
                    <a:pt x="1012" y="948"/>
                  </a:cubicBezTo>
                  <a:cubicBezTo>
                    <a:pt x="1012" y="948"/>
                    <a:pt x="1012" y="948"/>
                    <a:pt x="755" y="434"/>
                  </a:cubicBezTo>
                  <a:cubicBezTo>
                    <a:pt x="755" y="434"/>
                    <a:pt x="755" y="434"/>
                    <a:pt x="582" y="782"/>
                  </a:cubicBezTo>
                  <a:cubicBezTo>
                    <a:pt x="582" y="782"/>
                    <a:pt x="582" y="782"/>
                    <a:pt x="567" y="749"/>
                  </a:cubicBezTo>
                  <a:cubicBezTo>
                    <a:pt x="567" y="749"/>
                    <a:pt x="567" y="749"/>
                    <a:pt x="735" y="412"/>
                  </a:cubicBezTo>
                  <a:cubicBezTo>
                    <a:pt x="739" y="404"/>
                    <a:pt x="746" y="399"/>
                    <a:pt x="755" y="399"/>
                  </a:cubicBezTo>
                  <a:close/>
                  <a:moveTo>
                    <a:pt x="57" y="54"/>
                  </a:moveTo>
                  <a:cubicBezTo>
                    <a:pt x="57" y="1158"/>
                    <a:pt x="57" y="1158"/>
                    <a:pt x="57" y="1158"/>
                  </a:cubicBezTo>
                  <a:cubicBezTo>
                    <a:pt x="1863" y="1158"/>
                    <a:pt x="1863" y="1158"/>
                    <a:pt x="1863" y="1158"/>
                  </a:cubicBezTo>
                  <a:cubicBezTo>
                    <a:pt x="1863" y="54"/>
                    <a:pt x="1863" y="54"/>
                    <a:pt x="1863" y="54"/>
                  </a:cubicBezTo>
                  <a:cubicBezTo>
                    <a:pt x="1863" y="54"/>
                    <a:pt x="1863" y="54"/>
                    <a:pt x="57" y="54"/>
                  </a:cubicBezTo>
                  <a:close/>
                  <a:moveTo>
                    <a:pt x="58" y="0"/>
                  </a:moveTo>
                  <a:cubicBezTo>
                    <a:pt x="1863" y="0"/>
                    <a:pt x="1863" y="0"/>
                    <a:pt x="1863" y="0"/>
                  </a:cubicBezTo>
                  <a:cubicBezTo>
                    <a:pt x="1894" y="0"/>
                    <a:pt x="1920" y="25"/>
                    <a:pt x="1920" y="56"/>
                  </a:cubicBezTo>
                  <a:cubicBezTo>
                    <a:pt x="1920" y="1156"/>
                    <a:pt x="1920" y="1156"/>
                    <a:pt x="1920" y="1156"/>
                  </a:cubicBezTo>
                  <a:cubicBezTo>
                    <a:pt x="1920" y="1187"/>
                    <a:pt x="1894" y="1212"/>
                    <a:pt x="1863" y="1212"/>
                  </a:cubicBezTo>
                  <a:cubicBezTo>
                    <a:pt x="58" y="1212"/>
                    <a:pt x="58" y="1212"/>
                    <a:pt x="58" y="1212"/>
                  </a:cubicBezTo>
                  <a:cubicBezTo>
                    <a:pt x="25" y="1212"/>
                    <a:pt x="0" y="1187"/>
                    <a:pt x="0" y="1156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25"/>
                    <a:pt x="25" y="0"/>
                    <a:pt x="58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120701" tIns="60350" rIns="120701" bIns="6035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69" name="Group 68">
              <a:extLst>
                <a:ext uri="{FF2B5EF4-FFF2-40B4-BE49-F238E27FC236}">
                  <a16:creationId xmlns:a16="http://schemas.microsoft.com/office/drawing/2014/main" id="{5AC4D08C-6334-EACF-12D5-5ECDE3356586}"/>
                </a:ext>
              </a:extLst>
            </p:cNvPr>
            <p:cNvGrpSpPr/>
            <p:nvPr/>
          </p:nvGrpSpPr>
          <p:grpSpPr>
            <a:xfrm>
              <a:off x="1674402" y="2921565"/>
              <a:ext cx="504144" cy="458090"/>
              <a:chOff x="2269248" y="2056454"/>
              <a:chExt cx="671979" cy="610593"/>
            </a:xfrm>
          </p:grpSpPr>
          <p:pic>
            <p:nvPicPr>
              <p:cNvPr id="70" name="Grafik 36" descr="Cabriolet mit einfarbiger Füllung">
                <a:extLst>
                  <a:ext uri="{FF2B5EF4-FFF2-40B4-BE49-F238E27FC236}">
                    <a16:creationId xmlns:a16="http://schemas.microsoft.com/office/drawing/2014/main" id="{3471C7A5-8E1D-E04F-FA75-7991FCFE8BF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>
                <a:extLst>
                  <a:ext uri="{96DAC541-7B7A-43D3-8B79-37D633B846F1}">
                    <asvg:svgBlip xmlns:asvg="http://schemas.microsoft.com/office/drawing/2016/SVG/main" r:embed="rId8"/>
                  </a:ext>
                </a:extLst>
              </a:blip>
              <a:stretch>
                <a:fillRect/>
              </a:stretch>
            </p:blipFill>
            <p:spPr>
              <a:xfrm>
                <a:off x="2335267" y="2056454"/>
                <a:ext cx="559743" cy="610593"/>
              </a:xfrm>
              <a:prstGeom prst="rect">
                <a:avLst/>
              </a:prstGeom>
            </p:spPr>
          </p:pic>
          <p:sp>
            <p:nvSpPr>
              <p:cNvPr id="71" name="Rechteck 37">
                <a:extLst>
                  <a:ext uri="{FF2B5EF4-FFF2-40B4-BE49-F238E27FC236}">
                    <a16:creationId xmlns:a16="http://schemas.microsoft.com/office/drawing/2014/main" id="{84E5DE7F-48A7-3494-5418-894859AE72C1}"/>
                  </a:ext>
                </a:extLst>
              </p:cNvPr>
              <p:cNvSpPr/>
              <p:nvPr/>
            </p:nvSpPr>
            <p:spPr>
              <a:xfrm>
                <a:off x="2269248" y="2182473"/>
                <a:ext cx="671979" cy="384155"/>
              </a:xfrm>
              <a:prstGeom prst="rect">
                <a:avLst/>
              </a:prstGeom>
              <a:noFill/>
              <a:ln w="33528"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20701" tIns="60350" rIns="120701" bIns="6035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lnSpc>
                    <a:spcPct val="114000"/>
                  </a:lnSpc>
                </a:pPr>
                <a:endParaRPr lang="de-DE"/>
              </a:p>
            </p:txBody>
          </p:sp>
        </p:grpSp>
        <p:grpSp>
          <p:nvGrpSpPr>
            <p:cNvPr id="72" name="Group 71">
              <a:extLst>
                <a:ext uri="{FF2B5EF4-FFF2-40B4-BE49-F238E27FC236}">
                  <a16:creationId xmlns:a16="http://schemas.microsoft.com/office/drawing/2014/main" id="{BBE48CFC-0E79-2F5A-BCAC-C538AC2F6761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3806286" y="3149997"/>
              <a:ext cx="306910" cy="306910"/>
              <a:chOff x="5961063" y="3294063"/>
              <a:chExt cx="269875" cy="269875"/>
            </a:xfrm>
          </p:grpSpPr>
          <p:sp>
            <p:nvSpPr>
              <p:cNvPr id="73" name="Oval 18">
                <a:extLst>
                  <a:ext uri="{FF2B5EF4-FFF2-40B4-BE49-F238E27FC236}">
                    <a16:creationId xmlns:a16="http://schemas.microsoft.com/office/drawing/2014/main" id="{702F1EFD-34DB-3571-87AE-49CE0058D66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961063" y="3294063"/>
                <a:ext cx="269875" cy="269875"/>
              </a:xfrm>
              <a:prstGeom prst="ellipse">
                <a:avLst/>
              </a:prstGeom>
              <a:solidFill>
                <a:srgbClr val="E71C57"/>
              </a:solidFill>
              <a:ln>
                <a:noFill/>
              </a:ln>
            </p:spPr>
            <p:txBody>
              <a:bodyPr vert="horz" wrap="square" lIns="120701" tIns="60350" rIns="120701" bIns="6035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4" name="Freeform 19">
                <a:extLst>
                  <a:ext uri="{FF2B5EF4-FFF2-40B4-BE49-F238E27FC236}">
                    <a16:creationId xmlns:a16="http://schemas.microsoft.com/office/drawing/2014/main" id="{106C1C27-5DC5-3C13-9CA8-4F04D3BA71A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40438" y="3373438"/>
                <a:ext cx="111125" cy="111125"/>
              </a:xfrm>
              <a:custGeom>
                <a:avLst/>
                <a:gdLst>
                  <a:gd name="T0" fmla="*/ 63 w 70"/>
                  <a:gd name="T1" fmla="*/ 0 h 70"/>
                  <a:gd name="T2" fmla="*/ 35 w 70"/>
                  <a:gd name="T3" fmla="*/ 29 h 70"/>
                  <a:gd name="T4" fmla="*/ 6 w 70"/>
                  <a:gd name="T5" fmla="*/ 0 h 70"/>
                  <a:gd name="T6" fmla="*/ 0 w 70"/>
                  <a:gd name="T7" fmla="*/ 6 h 70"/>
                  <a:gd name="T8" fmla="*/ 28 w 70"/>
                  <a:gd name="T9" fmla="*/ 35 h 70"/>
                  <a:gd name="T10" fmla="*/ 0 w 70"/>
                  <a:gd name="T11" fmla="*/ 63 h 70"/>
                  <a:gd name="T12" fmla="*/ 6 w 70"/>
                  <a:gd name="T13" fmla="*/ 70 h 70"/>
                  <a:gd name="T14" fmla="*/ 35 w 70"/>
                  <a:gd name="T15" fmla="*/ 41 h 70"/>
                  <a:gd name="T16" fmla="*/ 63 w 70"/>
                  <a:gd name="T17" fmla="*/ 70 h 70"/>
                  <a:gd name="T18" fmla="*/ 70 w 70"/>
                  <a:gd name="T19" fmla="*/ 63 h 70"/>
                  <a:gd name="T20" fmla="*/ 41 w 70"/>
                  <a:gd name="T21" fmla="*/ 35 h 70"/>
                  <a:gd name="T22" fmla="*/ 70 w 70"/>
                  <a:gd name="T23" fmla="*/ 6 h 70"/>
                  <a:gd name="T24" fmla="*/ 63 w 70"/>
                  <a:gd name="T25" fmla="*/ 0 h 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70" h="70">
                    <a:moveTo>
                      <a:pt x="63" y="0"/>
                    </a:moveTo>
                    <a:lnTo>
                      <a:pt x="35" y="29"/>
                    </a:lnTo>
                    <a:lnTo>
                      <a:pt x="6" y="0"/>
                    </a:lnTo>
                    <a:lnTo>
                      <a:pt x="0" y="6"/>
                    </a:lnTo>
                    <a:lnTo>
                      <a:pt x="28" y="35"/>
                    </a:lnTo>
                    <a:lnTo>
                      <a:pt x="0" y="63"/>
                    </a:lnTo>
                    <a:lnTo>
                      <a:pt x="6" y="70"/>
                    </a:lnTo>
                    <a:lnTo>
                      <a:pt x="35" y="41"/>
                    </a:lnTo>
                    <a:lnTo>
                      <a:pt x="63" y="70"/>
                    </a:lnTo>
                    <a:lnTo>
                      <a:pt x="70" y="63"/>
                    </a:lnTo>
                    <a:lnTo>
                      <a:pt x="41" y="35"/>
                    </a:lnTo>
                    <a:lnTo>
                      <a:pt x="70" y="6"/>
                    </a:lnTo>
                    <a:lnTo>
                      <a:pt x="63" y="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120701" tIns="60350" rIns="120701" bIns="6035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cxnSp>
          <p:nvCxnSpPr>
            <p:cNvPr id="75" name="Straight Arrow Connector 74">
              <a:extLst>
                <a:ext uri="{FF2B5EF4-FFF2-40B4-BE49-F238E27FC236}">
                  <a16:creationId xmlns:a16="http://schemas.microsoft.com/office/drawing/2014/main" id="{C68BB722-6CB8-17B5-BC3B-18E8200681E8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3391258" y="3301538"/>
              <a:ext cx="343279" cy="0"/>
            </a:xfrm>
            <a:prstGeom prst="straightConnector1">
              <a:avLst/>
            </a:prstGeom>
            <a:ln w="50292" cap="rnd">
              <a:solidFill>
                <a:srgbClr val="445064"/>
              </a:solidFill>
              <a:prstDash val="sysDot"/>
              <a:headEnd type="triangle"/>
              <a:tailEnd type="non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76" name="Straight Arrow Connector 75">
              <a:extLst>
                <a:ext uri="{FF2B5EF4-FFF2-40B4-BE49-F238E27FC236}">
                  <a16:creationId xmlns:a16="http://schemas.microsoft.com/office/drawing/2014/main" id="{0E4076D0-8C66-DF54-0F1A-9B595F22784E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259755" y="3417504"/>
              <a:ext cx="415635" cy="135576"/>
            </a:xfrm>
            <a:prstGeom prst="straightConnector1">
              <a:avLst/>
            </a:prstGeom>
            <a:ln w="50292" cap="rnd">
              <a:solidFill>
                <a:srgbClr val="445064"/>
              </a:solidFill>
              <a:prstDash val="sysDot"/>
              <a:headEnd type="triangle"/>
              <a:tailEnd type="non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77" name="Straight Arrow Connector 76">
              <a:extLst>
                <a:ext uri="{FF2B5EF4-FFF2-40B4-BE49-F238E27FC236}">
                  <a16:creationId xmlns:a16="http://schemas.microsoft.com/office/drawing/2014/main" id="{979E419A-8ECE-169D-F5D6-8691AD29EE65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268986" y="3118572"/>
              <a:ext cx="407626" cy="122022"/>
            </a:xfrm>
            <a:prstGeom prst="straightConnector1">
              <a:avLst/>
            </a:prstGeom>
            <a:ln w="50292" cap="rnd">
              <a:solidFill>
                <a:srgbClr val="445064"/>
              </a:solidFill>
              <a:prstDash val="sysDot"/>
              <a:headEnd type="triangle"/>
              <a:tailEnd type="non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sp>
          <p:nvSpPr>
            <p:cNvPr id="80" name="Freeform 24">
              <a:extLst>
                <a:ext uri="{FF2B5EF4-FFF2-40B4-BE49-F238E27FC236}">
                  <a16:creationId xmlns:a16="http://schemas.microsoft.com/office/drawing/2014/main" id="{255593A1-00F2-CA79-FE1A-403612976D3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84892" y="3485780"/>
              <a:ext cx="282498" cy="158684"/>
            </a:xfrm>
            <a:custGeom>
              <a:avLst/>
              <a:gdLst>
                <a:gd name="T0" fmla="*/ 844 w 1535"/>
                <a:gd name="T1" fmla="*/ 351 h 827"/>
                <a:gd name="T2" fmla="*/ 857 w 1535"/>
                <a:gd name="T3" fmla="*/ 359 h 827"/>
                <a:gd name="T4" fmla="*/ 1020 w 1535"/>
                <a:gd name="T5" fmla="*/ 684 h 827"/>
                <a:gd name="T6" fmla="*/ 1008 w 1535"/>
                <a:gd name="T7" fmla="*/ 705 h 827"/>
                <a:gd name="T8" fmla="*/ 889 w 1535"/>
                <a:gd name="T9" fmla="*/ 705 h 827"/>
                <a:gd name="T10" fmla="*/ 774 w 1535"/>
                <a:gd name="T11" fmla="*/ 476 h 827"/>
                <a:gd name="T12" fmla="*/ 831 w 1535"/>
                <a:gd name="T13" fmla="*/ 359 h 827"/>
                <a:gd name="T14" fmla="*/ 844 w 1535"/>
                <a:gd name="T15" fmla="*/ 351 h 827"/>
                <a:gd name="T16" fmla="*/ 248 w 1535"/>
                <a:gd name="T17" fmla="*/ 339 h 827"/>
                <a:gd name="T18" fmla="*/ 260 w 1535"/>
                <a:gd name="T19" fmla="*/ 347 h 827"/>
                <a:gd name="T20" fmla="*/ 490 w 1535"/>
                <a:gd name="T21" fmla="*/ 806 h 827"/>
                <a:gd name="T22" fmla="*/ 477 w 1535"/>
                <a:gd name="T23" fmla="*/ 827 h 827"/>
                <a:gd name="T24" fmla="*/ 18 w 1535"/>
                <a:gd name="T25" fmla="*/ 827 h 827"/>
                <a:gd name="T26" fmla="*/ 5 w 1535"/>
                <a:gd name="T27" fmla="*/ 806 h 827"/>
                <a:gd name="T28" fmla="*/ 235 w 1535"/>
                <a:gd name="T29" fmla="*/ 347 h 827"/>
                <a:gd name="T30" fmla="*/ 248 w 1535"/>
                <a:gd name="T31" fmla="*/ 339 h 827"/>
                <a:gd name="T32" fmla="*/ 1384 w 1535"/>
                <a:gd name="T33" fmla="*/ 0 h 827"/>
                <a:gd name="T34" fmla="*/ 1535 w 1535"/>
                <a:gd name="T35" fmla="*/ 153 h 827"/>
                <a:gd name="T36" fmla="*/ 1384 w 1535"/>
                <a:gd name="T37" fmla="*/ 305 h 827"/>
                <a:gd name="T38" fmla="*/ 1233 w 1535"/>
                <a:gd name="T39" fmla="*/ 153 h 827"/>
                <a:gd name="T40" fmla="*/ 1384 w 1535"/>
                <a:gd name="T41" fmla="*/ 0 h 8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535" h="827">
                  <a:moveTo>
                    <a:pt x="844" y="351"/>
                  </a:moveTo>
                  <a:cubicBezTo>
                    <a:pt x="849" y="351"/>
                    <a:pt x="854" y="353"/>
                    <a:pt x="857" y="359"/>
                  </a:cubicBezTo>
                  <a:cubicBezTo>
                    <a:pt x="1020" y="684"/>
                    <a:pt x="1020" y="684"/>
                    <a:pt x="1020" y="684"/>
                  </a:cubicBezTo>
                  <a:cubicBezTo>
                    <a:pt x="1025" y="693"/>
                    <a:pt x="1019" y="705"/>
                    <a:pt x="1008" y="705"/>
                  </a:cubicBezTo>
                  <a:cubicBezTo>
                    <a:pt x="889" y="705"/>
                    <a:pt x="889" y="705"/>
                    <a:pt x="889" y="705"/>
                  </a:cubicBezTo>
                  <a:cubicBezTo>
                    <a:pt x="774" y="476"/>
                    <a:pt x="774" y="476"/>
                    <a:pt x="774" y="476"/>
                  </a:cubicBezTo>
                  <a:cubicBezTo>
                    <a:pt x="831" y="359"/>
                    <a:pt x="831" y="359"/>
                    <a:pt x="831" y="359"/>
                  </a:cubicBezTo>
                  <a:cubicBezTo>
                    <a:pt x="834" y="353"/>
                    <a:pt x="839" y="351"/>
                    <a:pt x="844" y="351"/>
                  </a:cubicBezTo>
                  <a:close/>
                  <a:moveTo>
                    <a:pt x="248" y="339"/>
                  </a:moveTo>
                  <a:cubicBezTo>
                    <a:pt x="253" y="339"/>
                    <a:pt x="258" y="342"/>
                    <a:pt x="260" y="347"/>
                  </a:cubicBezTo>
                  <a:cubicBezTo>
                    <a:pt x="260" y="347"/>
                    <a:pt x="260" y="347"/>
                    <a:pt x="490" y="806"/>
                  </a:cubicBezTo>
                  <a:cubicBezTo>
                    <a:pt x="495" y="816"/>
                    <a:pt x="489" y="827"/>
                    <a:pt x="477" y="827"/>
                  </a:cubicBezTo>
                  <a:cubicBezTo>
                    <a:pt x="477" y="827"/>
                    <a:pt x="477" y="827"/>
                    <a:pt x="18" y="827"/>
                  </a:cubicBezTo>
                  <a:cubicBezTo>
                    <a:pt x="6" y="827"/>
                    <a:pt x="0" y="816"/>
                    <a:pt x="5" y="806"/>
                  </a:cubicBezTo>
                  <a:cubicBezTo>
                    <a:pt x="5" y="806"/>
                    <a:pt x="5" y="806"/>
                    <a:pt x="235" y="347"/>
                  </a:cubicBezTo>
                  <a:cubicBezTo>
                    <a:pt x="237" y="342"/>
                    <a:pt x="243" y="339"/>
                    <a:pt x="248" y="339"/>
                  </a:cubicBezTo>
                  <a:close/>
                  <a:moveTo>
                    <a:pt x="1384" y="0"/>
                  </a:moveTo>
                  <a:cubicBezTo>
                    <a:pt x="1467" y="0"/>
                    <a:pt x="1535" y="69"/>
                    <a:pt x="1535" y="153"/>
                  </a:cubicBezTo>
                  <a:cubicBezTo>
                    <a:pt x="1535" y="237"/>
                    <a:pt x="1467" y="305"/>
                    <a:pt x="1384" y="305"/>
                  </a:cubicBezTo>
                  <a:cubicBezTo>
                    <a:pt x="1301" y="305"/>
                    <a:pt x="1233" y="237"/>
                    <a:pt x="1233" y="153"/>
                  </a:cubicBezTo>
                  <a:cubicBezTo>
                    <a:pt x="1233" y="69"/>
                    <a:pt x="1301" y="0"/>
                    <a:pt x="1384" y="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vert="horz" wrap="square" lIns="120701" tIns="60350" rIns="120701" bIns="6035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84" name="Group 83">
              <a:extLst>
                <a:ext uri="{FF2B5EF4-FFF2-40B4-BE49-F238E27FC236}">
                  <a16:creationId xmlns:a16="http://schemas.microsoft.com/office/drawing/2014/main" id="{56A47F27-94A7-C722-9938-05925E0B06EA}"/>
                </a:ext>
              </a:extLst>
            </p:cNvPr>
            <p:cNvGrpSpPr/>
            <p:nvPr/>
          </p:nvGrpSpPr>
          <p:grpSpPr>
            <a:xfrm>
              <a:off x="4880898" y="3133505"/>
              <a:ext cx="504144" cy="458090"/>
              <a:chOff x="2269248" y="2056454"/>
              <a:chExt cx="671979" cy="610593"/>
            </a:xfrm>
          </p:grpSpPr>
          <p:pic>
            <p:nvPicPr>
              <p:cNvPr id="85" name="Grafik 36" descr="Cabriolet mit einfarbiger Füllung">
                <a:extLst>
                  <a:ext uri="{FF2B5EF4-FFF2-40B4-BE49-F238E27FC236}">
                    <a16:creationId xmlns:a16="http://schemas.microsoft.com/office/drawing/2014/main" id="{64C5D021-87B6-1F11-F172-C98D9567F5E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>
                <a:extLst>
                  <a:ext uri="{96DAC541-7B7A-43D3-8B79-37D633B846F1}">
                    <asvg:svgBlip xmlns:asvg="http://schemas.microsoft.com/office/drawing/2016/SVG/main" r:embed="rId8"/>
                  </a:ext>
                </a:extLst>
              </a:blip>
              <a:stretch>
                <a:fillRect/>
              </a:stretch>
            </p:blipFill>
            <p:spPr>
              <a:xfrm>
                <a:off x="2335267" y="2056454"/>
                <a:ext cx="559743" cy="610593"/>
              </a:xfrm>
              <a:prstGeom prst="rect">
                <a:avLst/>
              </a:prstGeom>
            </p:spPr>
          </p:pic>
          <p:sp>
            <p:nvSpPr>
              <p:cNvPr id="86" name="Rechteck 37">
                <a:extLst>
                  <a:ext uri="{FF2B5EF4-FFF2-40B4-BE49-F238E27FC236}">
                    <a16:creationId xmlns:a16="http://schemas.microsoft.com/office/drawing/2014/main" id="{28559894-8F48-48BB-4516-BA4A82E9F87C}"/>
                  </a:ext>
                </a:extLst>
              </p:cNvPr>
              <p:cNvSpPr/>
              <p:nvPr/>
            </p:nvSpPr>
            <p:spPr>
              <a:xfrm>
                <a:off x="2269248" y="2182473"/>
                <a:ext cx="671979" cy="384155"/>
              </a:xfrm>
              <a:prstGeom prst="rect">
                <a:avLst/>
              </a:prstGeom>
              <a:noFill/>
              <a:ln w="33528"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20701" tIns="60350" rIns="120701" bIns="6035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lnSpc>
                    <a:spcPct val="114000"/>
                  </a:lnSpc>
                </a:pPr>
                <a:endParaRPr lang="de-DE"/>
              </a:p>
            </p:txBody>
          </p:sp>
        </p:grpSp>
        <p:pic>
          <p:nvPicPr>
            <p:cNvPr id="87" name="Grafik 52" descr="Kollision mit einfarbiger Füllung">
              <a:extLst>
                <a:ext uri="{FF2B5EF4-FFF2-40B4-BE49-F238E27FC236}">
                  <a16:creationId xmlns:a16="http://schemas.microsoft.com/office/drawing/2014/main" id="{72C6826D-3BF9-7689-3F7E-7BDE174BE9AC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5219871" y="3235559"/>
              <a:ext cx="169368" cy="169368"/>
            </a:xfrm>
            <a:prstGeom prst="rect">
              <a:avLst/>
            </a:prstGeom>
          </p:spPr>
        </p:pic>
        <p:cxnSp>
          <p:nvCxnSpPr>
            <p:cNvPr id="88" name="Straight Arrow Connector 87">
              <a:extLst>
                <a:ext uri="{FF2B5EF4-FFF2-40B4-BE49-F238E27FC236}">
                  <a16:creationId xmlns:a16="http://schemas.microsoft.com/office/drawing/2014/main" id="{DD034DD4-C467-EFD1-7FBA-0E4683054111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491387" y="3372153"/>
              <a:ext cx="343279" cy="0"/>
            </a:xfrm>
            <a:prstGeom prst="straightConnector1">
              <a:avLst/>
            </a:prstGeom>
            <a:ln w="50292" cap="rnd">
              <a:solidFill>
                <a:srgbClr val="445064"/>
              </a:solidFill>
              <a:prstDash val="sysDot"/>
              <a:headEnd type="triangle"/>
              <a:tailEnd type="non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grpSp>
          <p:nvGrpSpPr>
            <p:cNvPr id="89" name="Group 88">
              <a:extLst>
                <a:ext uri="{FF2B5EF4-FFF2-40B4-BE49-F238E27FC236}">
                  <a16:creationId xmlns:a16="http://schemas.microsoft.com/office/drawing/2014/main" id="{C2144E80-6672-2F6B-83AA-26AEEEF1DC98}"/>
                </a:ext>
              </a:extLst>
            </p:cNvPr>
            <p:cNvGrpSpPr/>
            <p:nvPr/>
          </p:nvGrpSpPr>
          <p:grpSpPr>
            <a:xfrm>
              <a:off x="5888981" y="3184676"/>
              <a:ext cx="479260" cy="349387"/>
              <a:chOff x="1612092" y="1921083"/>
              <a:chExt cx="733584" cy="534794"/>
            </a:xfrm>
          </p:grpSpPr>
          <p:sp>
            <p:nvSpPr>
              <p:cNvPr id="90" name="Oval 89">
                <a:extLst>
                  <a:ext uri="{FF2B5EF4-FFF2-40B4-BE49-F238E27FC236}">
                    <a16:creationId xmlns:a16="http://schemas.microsoft.com/office/drawing/2014/main" id="{2DE4E4CD-84B3-4D1F-3607-2DBD7FCCFBF0}"/>
                  </a:ext>
                </a:extLst>
              </p:cNvPr>
              <p:cNvSpPr/>
              <p:nvPr/>
            </p:nvSpPr>
            <p:spPr>
              <a:xfrm>
                <a:off x="1612092" y="1997308"/>
                <a:ext cx="144000" cy="144000"/>
              </a:xfrm>
              <a:prstGeom prst="ellipse">
                <a:avLst/>
              </a:prstGeom>
              <a:solidFill>
                <a:schemeClr val="accent6"/>
              </a:solidFill>
              <a:ln w="16764">
                <a:solidFill>
                  <a:schemeClr val="tx1"/>
                </a:solidFill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120701" tIns="60350" rIns="120701" bIns="6035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lnSpc>
                    <a:spcPct val="114000"/>
                  </a:lnSpc>
                </a:pPr>
                <a:endParaRPr lang="en-US"/>
              </a:p>
            </p:txBody>
          </p:sp>
          <p:sp>
            <p:nvSpPr>
              <p:cNvPr id="91" name="Oval 90">
                <a:extLst>
                  <a:ext uri="{FF2B5EF4-FFF2-40B4-BE49-F238E27FC236}">
                    <a16:creationId xmlns:a16="http://schemas.microsoft.com/office/drawing/2014/main" id="{A59714BA-96BC-18E8-19A5-48D7D208C1C7}"/>
                  </a:ext>
                </a:extLst>
              </p:cNvPr>
              <p:cNvSpPr/>
              <p:nvPr/>
            </p:nvSpPr>
            <p:spPr>
              <a:xfrm>
                <a:off x="1612092" y="2261764"/>
                <a:ext cx="144000" cy="144000"/>
              </a:xfrm>
              <a:prstGeom prst="ellipse">
                <a:avLst/>
              </a:prstGeom>
              <a:solidFill>
                <a:schemeClr val="accent6"/>
              </a:solidFill>
              <a:ln w="16764">
                <a:solidFill>
                  <a:schemeClr val="tx1"/>
                </a:solidFill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120701" tIns="60350" rIns="120701" bIns="6035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lnSpc>
                    <a:spcPct val="114000"/>
                  </a:lnSpc>
                </a:pPr>
                <a:endParaRPr lang="en-US"/>
              </a:p>
            </p:txBody>
          </p:sp>
          <p:sp>
            <p:nvSpPr>
              <p:cNvPr id="92" name="Oval 91">
                <a:extLst>
                  <a:ext uri="{FF2B5EF4-FFF2-40B4-BE49-F238E27FC236}">
                    <a16:creationId xmlns:a16="http://schemas.microsoft.com/office/drawing/2014/main" id="{003469DE-9069-4429-D538-F65359D84AD2}"/>
                  </a:ext>
                </a:extLst>
              </p:cNvPr>
              <p:cNvSpPr/>
              <p:nvPr/>
            </p:nvSpPr>
            <p:spPr>
              <a:xfrm>
                <a:off x="1898248" y="1921083"/>
                <a:ext cx="144000" cy="144000"/>
              </a:xfrm>
              <a:prstGeom prst="ellipse">
                <a:avLst/>
              </a:prstGeom>
              <a:solidFill>
                <a:schemeClr val="accent2"/>
              </a:solidFill>
              <a:ln w="16764">
                <a:solidFill>
                  <a:schemeClr val="tx1"/>
                </a:solidFill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120701" tIns="60350" rIns="120701" bIns="6035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lnSpc>
                    <a:spcPct val="114000"/>
                  </a:lnSpc>
                </a:pPr>
                <a:endParaRPr lang="en-US"/>
              </a:p>
            </p:txBody>
          </p:sp>
          <p:sp>
            <p:nvSpPr>
              <p:cNvPr id="93" name="Oval 92">
                <a:extLst>
                  <a:ext uri="{FF2B5EF4-FFF2-40B4-BE49-F238E27FC236}">
                    <a16:creationId xmlns:a16="http://schemas.microsoft.com/office/drawing/2014/main" id="{F7F35B57-AA8D-8E11-332B-2F3C26C55B40}"/>
                  </a:ext>
                </a:extLst>
              </p:cNvPr>
              <p:cNvSpPr/>
              <p:nvPr/>
            </p:nvSpPr>
            <p:spPr>
              <a:xfrm>
                <a:off x="1901379" y="2110943"/>
                <a:ext cx="144000" cy="144000"/>
              </a:xfrm>
              <a:prstGeom prst="ellipse">
                <a:avLst/>
              </a:prstGeom>
              <a:solidFill>
                <a:schemeClr val="accent2"/>
              </a:solidFill>
              <a:ln w="16764">
                <a:solidFill>
                  <a:schemeClr val="tx1"/>
                </a:solidFill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120701" tIns="60350" rIns="120701" bIns="6035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lnSpc>
                    <a:spcPct val="114000"/>
                  </a:lnSpc>
                </a:pPr>
                <a:endParaRPr lang="en-US"/>
              </a:p>
            </p:txBody>
          </p:sp>
          <p:sp>
            <p:nvSpPr>
              <p:cNvPr id="94" name="Oval 93">
                <a:extLst>
                  <a:ext uri="{FF2B5EF4-FFF2-40B4-BE49-F238E27FC236}">
                    <a16:creationId xmlns:a16="http://schemas.microsoft.com/office/drawing/2014/main" id="{0E1EF3F4-4B30-1CAB-6D31-565C02AC613A}"/>
                  </a:ext>
                </a:extLst>
              </p:cNvPr>
              <p:cNvSpPr/>
              <p:nvPr/>
            </p:nvSpPr>
            <p:spPr>
              <a:xfrm>
                <a:off x="1900384" y="2311877"/>
                <a:ext cx="144000" cy="144000"/>
              </a:xfrm>
              <a:prstGeom prst="ellipse">
                <a:avLst/>
              </a:prstGeom>
              <a:solidFill>
                <a:schemeClr val="accent2"/>
              </a:solidFill>
              <a:ln w="16764">
                <a:solidFill>
                  <a:schemeClr val="tx1"/>
                </a:solidFill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120701" tIns="60350" rIns="120701" bIns="6035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lnSpc>
                    <a:spcPct val="114000"/>
                  </a:lnSpc>
                </a:pPr>
                <a:endParaRPr lang="en-US"/>
              </a:p>
            </p:txBody>
          </p:sp>
          <p:sp>
            <p:nvSpPr>
              <p:cNvPr id="95" name="Oval 94">
                <a:extLst>
                  <a:ext uri="{FF2B5EF4-FFF2-40B4-BE49-F238E27FC236}">
                    <a16:creationId xmlns:a16="http://schemas.microsoft.com/office/drawing/2014/main" id="{BD783AF7-286F-5A1A-B61A-9D80DDA5E22B}"/>
                  </a:ext>
                </a:extLst>
              </p:cNvPr>
              <p:cNvSpPr/>
              <p:nvPr/>
            </p:nvSpPr>
            <p:spPr>
              <a:xfrm>
                <a:off x="2201676" y="1997308"/>
                <a:ext cx="144000" cy="144000"/>
              </a:xfrm>
              <a:prstGeom prst="ellipse">
                <a:avLst/>
              </a:prstGeom>
              <a:solidFill>
                <a:schemeClr val="accent5">
                  <a:lumMod val="60000"/>
                  <a:lumOff val="40000"/>
                </a:schemeClr>
              </a:solidFill>
              <a:ln w="16764">
                <a:solidFill>
                  <a:schemeClr val="tx1"/>
                </a:solidFill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120701" tIns="60350" rIns="120701" bIns="6035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lnSpc>
                    <a:spcPct val="114000"/>
                  </a:lnSpc>
                </a:pPr>
                <a:endParaRPr lang="en-US"/>
              </a:p>
            </p:txBody>
          </p:sp>
          <p:sp>
            <p:nvSpPr>
              <p:cNvPr id="96" name="Oval 95">
                <a:extLst>
                  <a:ext uri="{FF2B5EF4-FFF2-40B4-BE49-F238E27FC236}">
                    <a16:creationId xmlns:a16="http://schemas.microsoft.com/office/drawing/2014/main" id="{7BC97CB4-4341-5BAF-D3C4-F03657E37F77}"/>
                  </a:ext>
                </a:extLst>
              </p:cNvPr>
              <p:cNvSpPr/>
              <p:nvPr/>
            </p:nvSpPr>
            <p:spPr>
              <a:xfrm>
                <a:off x="2201676" y="2261764"/>
                <a:ext cx="144000" cy="144000"/>
              </a:xfrm>
              <a:prstGeom prst="ellipse">
                <a:avLst/>
              </a:prstGeom>
              <a:solidFill>
                <a:schemeClr val="accent5">
                  <a:lumMod val="60000"/>
                  <a:lumOff val="40000"/>
                </a:schemeClr>
              </a:solidFill>
              <a:ln w="16764">
                <a:solidFill>
                  <a:schemeClr val="tx1"/>
                </a:solidFill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120701" tIns="60350" rIns="120701" bIns="6035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lnSpc>
                    <a:spcPct val="114000"/>
                  </a:lnSpc>
                </a:pPr>
                <a:endParaRPr lang="en-US"/>
              </a:p>
            </p:txBody>
          </p:sp>
          <p:cxnSp>
            <p:nvCxnSpPr>
              <p:cNvPr id="97" name="Straight Connector 96">
                <a:extLst>
                  <a:ext uri="{FF2B5EF4-FFF2-40B4-BE49-F238E27FC236}">
                    <a16:creationId xmlns:a16="http://schemas.microsoft.com/office/drawing/2014/main" id="{AF585DDB-7A53-AFC9-877B-848B932E8034}"/>
                  </a:ext>
                </a:extLst>
              </p:cNvPr>
              <p:cNvCxnSpPr>
                <a:cxnSpLocks/>
                <a:stCxn id="90" idx="6"/>
                <a:endCxn id="94" idx="2"/>
              </p:cNvCxnSpPr>
              <p:nvPr/>
            </p:nvCxnSpPr>
            <p:spPr>
              <a:xfrm>
                <a:off x="1756092" y="2069308"/>
                <a:ext cx="144292" cy="314569"/>
              </a:xfrm>
              <a:prstGeom prst="line">
                <a:avLst/>
              </a:prstGeom>
              <a:ln w="16764" cmpd="sng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8" name="Straight Connector 97">
                <a:extLst>
                  <a:ext uri="{FF2B5EF4-FFF2-40B4-BE49-F238E27FC236}">
                    <a16:creationId xmlns:a16="http://schemas.microsoft.com/office/drawing/2014/main" id="{BF7E6C2F-8F14-7FE5-B0F6-AF190441D8BB}"/>
                  </a:ext>
                </a:extLst>
              </p:cNvPr>
              <p:cNvCxnSpPr>
                <a:cxnSpLocks/>
                <a:stCxn id="91" idx="6"/>
                <a:endCxn id="93" idx="2"/>
              </p:cNvCxnSpPr>
              <p:nvPr/>
            </p:nvCxnSpPr>
            <p:spPr>
              <a:xfrm flipV="1">
                <a:off x="1756092" y="2182943"/>
                <a:ext cx="145287" cy="150821"/>
              </a:xfrm>
              <a:prstGeom prst="line">
                <a:avLst/>
              </a:prstGeom>
              <a:ln w="16764" cmpd="sng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9" name="Straight Connector 98">
                <a:extLst>
                  <a:ext uri="{FF2B5EF4-FFF2-40B4-BE49-F238E27FC236}">
                    <a16:creationId xmlns:a16="http://schemas.microsoft.com/office/drawing/2014/main" id="{29D0D40F-85AC-FE90-DE4A-6F6F2ACC64F5}"/>
                  </a:ext>
                </a:extLst>
              </p:cNvPr>
              <p:cNvCxnSpPr>
                <a:cxnSpLocks/>
                <a:stCxn id="91" idx="6"/>
                <a:endCxn id="94" idx="2"/>
              </p:cNvCxnSpPr>
              <p:nvPr/>
            </p:nvCxnSpPr>
            <p:spPr>
              <a:xfrm>
                <a:off x="1756092" y="2333764"/>
                <a:ext cx="144292" cy="50113"/>
              </a:xfrm>
              <a:prstGeom prst="line">
                <a:avLst/>
              </a:prstGeom>
              <a:ln w="16764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0" name="Straight Connector 99">
                <a:extLst>
                  <a:ext uri="{FF2B5EF4-FFF2-40B4-BE49-F238E27FC236}">
                    <a16:creationId xmlns:a16="http://schemas.microsoft.com/office/drawing/2014/main" id="{FE567EB7-3A45-20B7-0659-0E699CDCF46E}"/>
                  </a:ext>
                </a:extLst>
              </p:cNvPr>
              <p:cNvCxnSpPr>
                <a:cxnSpLocks/>
                <a:stCxn id="92" idx="6"/>
                <a:endCxn id="95" idx="2"/>
              </p:cNvCxnSpPr>
              <p:nvPr/>
            </p:nvCxnSpPr>
            <p:spPr>
              <a:xfrm>
                <a:off x="2042248" y="1993083"/>
                <a:ext cx="159428" cy="76225"/>
              </a:xfrm>
              <a:prstGeom prst="line">
                <a:avLst/>
              </a:prstGeom>
              <a:ln w="16764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1" name="Straight Connector 100">
                <a:extLst>
                  <a:ext uri="{FF2B5EF4-FFF2-40B4-BE49-F238E27FC236}">
                    <a16:creationId xmlns:a16="http://schemas.microsoft.com/office/drawing/2014/main" id="{48743299-BFBC-44A8-6448-A57FAE518B12}"/>
                  </a:ext>
                </a:extLst>
              </p:cNvPr>
              <p:cNvCxnSpPr>
                <a:cxnSpLocks/>
                <a:stCxn id="93" idx="6"/>
                <a:endCxn id="95" idx="2"/>
              </p:cNvCxnSpPr>
              <p:nvPr/>
            </p:nvCxnSpPr>
            <p:spPr>
              <a:xfrm flipV="1">
                <a:off x="2045379" y="2069308"/>
                <a:ext cx="156297" cy="113635"/>
              </a:xfrm>
              <a:prstGeom prst="line">
                <a:avLst/>
              </a:prstGeom>
              <a:ln w="16764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2" name="Straight Connector 101">
                <a:extLst>
                  <a:ext uri="{FF2B5EF4-FFF2-40B4-BE49-F238E27FC236}">
                    <a16:creationId xmlns:a16="http://schemas.microsoft.com/office/drawing/2014/main" id="{CCCDB286-FB2A-884F-D58B-C2639DBB6EA3}"/>
                  </a:ext>
                </a:extLst>
              </p:cNvPr>
              <p:cNvCxnSpPr>
                <a:cxnSpLocks/>
                <a:stCxn id="92" idx="6"/>
                <a:endCxn id="96" idx="2"/>
              </p:cNvCxnSpPr>
              <p:nvPr/>
            </p:nvCxnSpPr>
            <p:spPr>
              <a:xfrm>
                <a:off x="2042248" y="1993083"/>
                <a:ext cx="159428" cy="340681"/>
              </a:xfrm>
              <a:prstGeom prst="line">
                <a:avLst/>
              </a:prstGeom>
              <a:ln w="16764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3" name="Straight Connector 102">
                <a:extLst>
                  <a:ext uri="{FF2B5EF4-FFF2-40B4-BE49-F238E27FC236}">
                    <a16:creationId xmlns:a16="http://schemas.microsoft.com/office/drawing/2014/main" id="{01B7E3BF-52F4-6033-4D5A-450786000F07}"/>
                  </a:ext>
                </a:extLst>
              </p:cNvPr>
              <p:cNvCxnSpPr>
                <a:cxnSpLocks/>
                <a:stCxn id="94" idx="6"/>
                <a:endCxn id="96" idx="2"/>
              </p:cNvCxnSpPr>
              <p:nvPr/>
            </p:nvCxnSpPr>
            <p:spPr>
              <a:xfrm flipV="1">
                <a:off x="2044384" y="2333764"/>
                <a:ext cx="157292" cy="50113"/>
              </a:xfrm>
              <a:prstGeom prst="line">
                <a:avLst/>
              </a:prstGeom>
              <a:ln w="16764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4" name="Straight Connector 103">
                <a:extLst>
                  <a:ext uri="{FF2B5EF4-FFF2-40B4-BE49-F238E27FC236}">
                    <a16:creationId xmlns:a16="http://schemas.microsoft.com/office/drawing/2014/main" id="{AA317219-585E-1F86-11D6-CD92AF2A61CC}"/>
                  </a:ext>
                </a:extLst>
              </p:cNvPr>
              <p:cNvCxnSpPr>
                <a:cxnSpLocks/>
                <a:stCxn id="90" idx="6"/>
                <a:endCxn id="92" idx="2"/>
              </p:cNvCxnSpPr>
              <p:nvPr/>
            </p:nvCxnSpPr>
            <p:spPr>
              <a:xfrm flipV="1">
                <a:off x="1756092" y="1993083"/>
                <a:ext cx="142156" cy="76225"/>
              </a:xfrm>
              <a:prstGeom prst="line">
                <a:avLst/>
              </a:prstGeom>
              <a:ln w="16764" cmpd="sng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5" name="Straight Connector 104">
                <a:extLst>
                  <a:ext uri="{FF2B5EF4-FFF2-40B4-BE49-F238E27FC236}">
                    <a16:creationId xmlns:a16="http://schemas.microsoft.com/office/drawing/2014/main" id="{9C522E7B-E296-6F3E-8BA5-077BCC8E5D15}"/>
                  </a:ext>
                </a:extLst>
              </p:cNvPr>
              <p:cNvCxnSpPr>
                <a:cxnSpLocks/>
                <a:stCxn id="91" idx="6"/>
                <a:endCxn id="92" idx="2"/>
              </p:cNvCxnSpPr>
              <p:nvPr/>
            </p:nvCxnSpPr>
            <p:spPr>
              <a:xfrm flipV="1">
                <a:off x="1756092" y="1993083"/>
                <a:ext cx="142156" cy="340681"/>
              </a:xfrm>
              <a:prstGeom prst="line">
                <a:avLst/>
              </a:prstGeom>
              <a:ln w="16764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6" name="Straight Connector 105">
                <a:extLst>
                  <a:ext uri="{FF2B5EF4-FFF2-40B4-BE49-F238E27FC236}">
                    <a16:creationId xmlns:a16="http://schemas.microsoft.com/office/drawing/2014/main" id="{D37450EA-8821-4DA5-C47C-2EB15452EA0C}"/>
                  </a:ext>
                </a:extLst>
              </p:cNvPr>
              <p:cNvCxnSpPr>
                <a:cxnSpLocks/>
                <a:stCxn id="93" idx="6"/>
                <a:endCxn id="96" idx="2"/>
              </p:cNvCxnSpPr>
              <p:nvPr/>
            </p:nvCxnSpPr>
            <p:spPr>
              <a:xfrm>
                <a:off x="2045379" y="2182943"/>
                <a:ext cx="177385" cy="201733"/>
              </a:xfrm>
              <a:prstGeom prst="line">
                <a:avLst/>
              </a:prstGeom>
              <a:ln w="16764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cxnSp>
          <p:nvCxnSpPr>
            <p:cNvPr id="107" name="Straight Arrow Connector 106">
              <a:extLst>
                <a:ext uri="{FF2B5EF4-FFF2-40B4-BE49-F238E27FC236}">
                  <a16:creationId xmlns:a16="http://schemas.microsoft.com/office/drawing/2014/main" id="{EA4C0966-33EA-A735-1D32-0331001B8292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6462974" y="3357519"/>
              <a:ext cx="343279" cy="0"/>
            </a:xfrm>
            <a:prstGeom prst="straightConnector1">
              <a:avLst/>
            </a:prstGeom>
            <a:ln w="50292" cap="rnd">
              <a:solidFill>
                <a:srgbClr val="445064"/>
              </a:solidFill>
              <a:prstDash val="sysDot"/>
              <a:headEnd type="triangle"/>
              <a:tailEnd type="non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sp>
          <p:nvSpPr>
            <p:cNvPr id="109" name="Textfeld 12">
              <a:extLst>
                <a:ext uri="{FF2B5EF4-FFF2-40B4-BE49-F238E27FC236}">
                  <a16:creationId xmlns:a16="http://schemas.microsoft.com/office/drawing/2014/main" id="{79665588-4452-0ED7-F1AD-D7A7A3134416}"/>
                </a:ext>
              </a:extLst>
            </p:cNvPr>
            <p:cNvSpPr txBox="1"/>
            <p:nvPr/>
          </p:nvSpPr>
          <p:spPr>
            <a:xfrm>
              <a:off x="6923574" y="3174904"/>
              <a:ext cx="585698" cy="369866"/>
            </a:xfrm>
            <a:prstGeom prst="rect">
              <a:avLst/>
            </a:prstGeom>
            <a:noFill/>
          </p:spPr>
          <p:txBody>
            <a:bodyPr rot="0" spcFirstLastPara="0" vertOverflow="overflow" horzOverflow="overflow" vert="horz" wrap="square" lIns="0" tIns="0" rIns="0" bIns="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/>
            <a:p>
              <a:pPr>
                <a:lnSpc>
                  <a:spcPct val="113999"/>
                </a:lnSpc>
              </a:pPr>
              <a:r>
                <a:rPr lang="de-DE" sz="1320" b="1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/>
                  <a:cs typeface="Arial"/>
                </a:rPr>
                <a:t>Class: Scratch!</a:t>
              </a:r>
              <a:endParaRPr lang="de-DE" sz="1320" b="1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</p:grpSp>
      <p:sp>
        <p:nvSpPr>
          <p:cNvPr id="78" name="Oval 20">
            <a:extLst>
              <a:ext uri="{FF2B5EF4-FFF2-40B4-BE49-F238E27FC236}">
                <a16:creationId xmlns:a16="http://schemas.microsoft.com/office/drawing/2014/main" id="{973779FB-D1B9-4C1D-9128-D3E9498B96BF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4905578" y="1511683"/>
            <a:ext cx="306910" cy="306910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1200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79" name="Oval 20">
            <a:extLst>
              <a:ext uri="{FF2B5EF4-FFF2-40B4-BE49-F238E27FC236}">
                <a16:creationId xmlns:a16="http://schemas.microsoft.com/office/drawing/2014/main" id="{D9F05FF6-BD69-4E68-948C-E06B7565F387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424911" y="1544820"/>
            <a:ext cx="306910" cy="306910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1200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81" name="Fußzeilenplatzhalter 4">
            <a:extLst>
              <a:ext uri="{FF2B5EF4-FFF2-40B4-BE49-F238E27FC236}">
                <a16:creationId xmlns:a16="http://schemas.microsoft.com/office/drawing/2014/main" id="{22ED8DC5-2E19-0D77-C891-BE08F32736BF}"/>
              </a:ext>
            </a:extLst>
          </p:cNvPr>
          <p:cNvSpPr txBox="1">
            <a:spLocks/>
          </p:cNvSpPr>
          <p:nvPr/>
        </p:nvSpPr>
        <p:spPr>
          <a:xfrm>
            <a:off x="311162" y="4854985"/>
            <a:ext cx="7829538" cy="28851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1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r>
              <a:rPr lang="en-US" dirty="0">
                <a:latin typeface="Arial"/>
                <a:cs typeface="Arial"/>
              </a:rPr>
              <a:t>◻︎ Outline | ◻︎ Organizational</a:t>
            </a:r>
            <a:r>
              <a:rPr lang="en-US" b="1" dirty="0">
                <a:latin typeface="Arial"/>
                <a:cs typeface="Arial"/>
              </a:rPr>
              <a:t> </a:t>
            </a:r>
            <a:r>
              <a:rPr lang="en-US" dirty="0">
                <a:latin typeface="Arial"/>
                <a:cs typeface="Arial"/>
              </a:rPr>
              <a:t>structure</a:t>
            </a:r>
            <a:r>
              <a:rPr lang="en-US" b="1" dirty="0">
                <a:latin typeface="Arial"/>
                <a:cs typeface="Arial"/>
              </a:rPr>
              <a:t> </a:t>
            </a:r>
            <a:r>
              <a:rPr lang="en-US" dirty="0">
                <a:latin typeface="Arial"/>
                <a:cs typeface="Arial"/>
              </a:rPr>
              <a:t>| ◼︎ </a:t>
            </a:r>
            <a:r>
              <a:rPr lang="en-US" b="1" dirty="0">
                <a:latin typeface="Arial"/>
                <a:cs typeface="Arial"/>
              </a:rPr>
              <a:t>Research</a:t>
            </a:r>
            <a:r>
              <a:rPr lang="en-US" dirty="0">
                <a:latin typeface="Arial"/>
                <a:cs typeface="Arial"/>
              </a:rPr>
              <a:t> </a:t>
            </a:r>
            <a:r>
              <a:rPr lang="en-US" b="1" dirty="0">
                <a:latin typeface="Arial"/>
                <a:cs typeface="Arial"/>
              </a:rPr>
              <a:t>Topics</a:t>
            </a:r>
            <a:r>
              <a:rPr lang="en-US" dirty="0">
                <a:latin typeface="Arial"/>
                <a:cs typeface="Arial"/>
              </a:rPr>
              <a:t> | ◻︎ ML Pipeline  | ◻︎ Next steps</a:t>
            </a:r>
          </a:p>
        </p:txBody>
      </p:sp>
    </p:spTree>
    <p:extLst>
      <p:ext uri="{BB962C8B-B14F-4D97-AF65-F5344CB8AC3E}">
        <p14:creationId xmlns:p14="http://schemas.microsoft.com/office/powerpoint/2010/main" val="11981766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 advTm="20000"/>
    </mc:Choice>
    <mc:Fallback xmlns="">
      <p:transition spd="slow" advClick="0" advTm="20000"/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B05E7C11-A39E-45CC-9F72-77650D2007A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25185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B05E7C11-A39E-45CC-9F72-77650D2007A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itle 1">
            <a:extLst>
              <a:ext uri="{FF2B5EF4-FFF2-40B4-BE49-F238E27FC236}">
                <a16:creationId xmlns:a16="http://schemas.microsoft.com/office/drawing/2014/main" id="{11CE5A3E-A3B0-45A2-94F1-DED5F089EB6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2500" y="467100"/>
            <a:ext cx="3476045" cy="498598"/>
          </a:xfrm>
        </p:spPr>
        <p:txBody>
          <a:bodyPr vert="horz"/>
          <a:lstStyle/>
          <a:p>
            <a:r>
              <a:rPr lang="en-US"/>
              <a:t>We organize our findings in a </a:t>
            </a:r>
            <a:r>
              <a:rPr lang="en-US" err="1"/>
              <a:t>MLOps</a:t>
            </a:r>
            <a:r>
              <a:rPr lang="en-US"/>
              <a:t> Pipeline</a:t>
            </a:r>
          </a:p>
        </p:txBody>
      </p:sp>
      <p:sp useBgFill="1">
        <p:nvSpPr>
          <p:cNvPr id="14" name="Rectangle 13">
            <a:extLst>
              <a:ext uri="{FF2B5EF4-FFF2-40B4-BE49-F238E27FC236}">
                <a16:creationId xmlns:a16="http://schemas.microsoft.com/office/drawing/2014/main" id="{96628B94-7804-42F0-AB9D-14CEA4BE1D0B}"/>
              </a:ext>
            </a:extLst>
          </p:cNvPr>
          <p:cNvSpPr/>
          <p:nvPr/>
        </p:nvSpPr>
        <p:spPr>
          <a:xfrm>
            <a:off x="8909824" y="2783339"/>
            <a:ext cx="234176" cy="2360161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4000"/>
              </a:lnSpc>
            </a:pPr>
            <a:endParaRPr lang="en-US"/>
          </a:p>
        </p:txBody>
      </p:sp>
      <p:sp>
        <p:nvSpPr>
          <p:cNvPr id="27" name="Title 1">
            <a:extLst>
              <a:ext uri="{FF2B5EF4-FFF2-40B4-BE49-F238E27FC236}">
                <a16:creationId xmlns:a16="http://schemas.microsoft.com/office/drawing/2014/main" id="{863BC6EF-1DCE-4E44-BC8F-75D3EBBCCD95}"/>
              </a:ext>
            </a:extLst>
          </p:cNvPr>
          <p:cNvSpPr txBox="1">
            <a:spLocks/>
          </p:cNvSpPr>
          <p:nvPr/>
        </p:nvSpPr>
        <p:spPr>
          <a:xfrm>
            <a:off x="5915928" y="467100"/>
            <a:ext cx="2438362" cy="849754"/>
          </a:xfrm>
          <a:prstGeom prst="rect">
            <a:avLst/>
          </a:prstGeom>
        </p:spPr>
        <p:txBody>
          <a:bodyPr vert="horz"/>
          <a:lstStyle>
            <a:lvl1pPr algn="l" rtl="0" eaLnBrk="1" fontAlgn="base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sz="2200" b="0" kern="1200">
                <a:solidFill>
                  <a:schemeClr val="tx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9pPr>
          </a:lstStyle>
          <a:p>
            <a:r>
              <a:rPr lang="en-US">
                <a:solidFill>
                  <a:schemeClr val="bg1"/>
                </a:solidFill>
              </a:rPr>
              <a:t>We will use TFX for our pipeline</a:t>
            </a:r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id="{1F94681A-0CCF-4A7C-B8D5-9836966C6AF8}"/>
              </a:ext>
            </a:extLst>
          </p:cNvPr>
          <p:cNvGrpSpPr>
            <a:grpSpLocks noChangeAspect="1"/>
          </p:cNvGrpSpPr>
          <p:nvPr/>
        </p:nvGrpSpPr>
        <p:grpSpPr>
          <a:xfrm>
            <a:off x="5228870" y="646584"/>
            <a:ext cx="490786" cy="490786"/>
            <a:chOff x="1854515" y="1847850"/>
            <a:chExt cx="269875" cy="269875"/>
          </a:xfrm>
        </p:grpSpPr>
        <p:sp>
          <p:nvSpPr>
            <p:cNvPr id="29" name="Oval 50">
              <a:extLst>
                <a:ext uri="{FF2B5EF4-FFF2-40B4-BE49-F238E27FC236}">
                  <a16:creationId xmlns:a16="http://schemas.microsoft.com/office/drawing/2014/main" id="{F1F4B965-A1AA-437F-93B9-F0CE69B8462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54515" y="1847850"/>
              <a:ext cx="269875" cy="269875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  <p:sp>
          <p:nvSpPr>
            <p:cNvPr id="30" name="Freeform 51">
              <a:extLst>
                <a:ext uri="{FF2B5EF4-FFF2-40B4-BE49-F238E27FC236}">
                  <a16:creationId xmlns:a16="http://schemas.microsoft.com/office/drawing/2014/main" id="{535247E5-1262-4A1E-BE91-F0080C402C06}"/>
                </a:ext>
              </a:extLst>
            </p:cNvPr>
            <p:cNvSpPr>
              <a:spLocks/>
            </p:cNvSpPr>
            <p:nvPr/>
          </p:nvSpPr>
          <p:spPr bwMode="auto">
            <a:xfrm>
              <a:off x="1954529" y="1895475"/>
              <a:ext cx="96837" cy="174625"/>
            </a:xfrm>
            <a:custGeom>
              <a:avLst/>
              <a:gdLst>
                <a:gd name="T0" fmla="*/ 6 w 61"/>
                <a:gd name="T1" fmla="*/ 0 h 110"/>
                <a:gd name="T2" fmla="*/ 0 w 61"/>
                <a:gd name="T3" fmla="*/ 7 h 110"/>
                <a:gd name="T4" fmla="*/ 48 w 61"/>
                <a:gd name="T5" fmla="*/ 55 h 110"/>
                <a:gd name="T6" fmla="*/ 0 w 61"/>
                <a:gd name="T7" fmla="*/ 104 h 110"/>
                <a:gd name="T8" fmla="*/ 6 w 61"/>
                <a:gd name="T9" fmla="*/ 110 h 110"/>
                <a:gd name="T10" fmla="*/ 54 w 61"/>
                <a:gd name="T11" fmla="*/ 62 h 110"/>
                <a:gd name="T12" fmla="*/ 61 w 61"/>
                <a:gd name="T13" fmla="*/ 55 h 110"/>
                <a:gd name="T14" fmla="*/ 54 w 61"/>
                <a:gd name="T15" fmla="*/ 49 h 110"/>
                <a:gd name="T16" fmla="*/ 6 w 61"/>
                <a:gd name="T17" fmla="*/ 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1" h="110">
                  <a:moveTo>
                    <a:pt x="6" y="0"/>
                  </a:moveTo>
                  <a:lnTo>
                    <a:pt x="0" y="7"/>
                  </a:lnTo>
                  <a:lnTo>
                    <a:pt x="48" y="55"/>
                  </a:lnTo>
                  <a:lnTo>
                    <a:pt x="0" y="104"/>
                  </a:lnTo>
                  <a:lnTo>
                    <a:pt x="6" y="110"/>
                  </a:lnTo>
                  <a:lnTo>
                    <a:pt x="54" y="62"/>
                  </a:lnTo>
                  <a:lnTo>
                    <a:pt x="61" y="55"/>
                  </a:lnTo>
                  <a:lnTo>
                    <a:pt x="54" y="49"/>
                  </a:lnTo>
                  <a:lnTo>
                    <a:pt x="6" y="0"/>
                  </a:lnTo>
                  <a:close/>
                </a:path>
              </a:pathLst>
            </a:custGeom>
            <a:solidFill>
              <a:schemeClr val="tx2"/>
            </a:solidFill>
            <a:ln>
              <a:solidFill>
                <a:schemeClr val="tx2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</p:grpSp>
      <p:pic>
        <p:nvPicPr>
          <p:cNvPr id="31" name="Picture 6">
            <a:extLst>
              <a:ext uri="{FF2B5EF4-FFF2-40B4-BE49-F238E27FC236}">
                <a16:creationId xmlns:a16="http://schemas.microsoft.com/office/drawing/2014/main" id="{355CCDEE-E614-467D-9FBF-1F944C1EB3D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70944" y="3141006"/>
            <a:ext cx="1155968" cy="5979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2" name="Grafik 32">
            <a:extLst>
              <a:ext uri="{FF2B5EF4-FFF2-40B4-BE49-F238E27FC236}">
                <a16:creationId xmlns:a16="http://schemas.microsoft.com/office/drawing/2014/main" id="{DEB9654A-DB00-45EF-A8ED-896310F2D4E8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6241152" y="3241650"/>
            <a:ext cx="1372960" cy="1146232"/>
          </a:xfrm>
          <a:prstGeom prst="rect">
            <a:avLst/>
          </a:prstGeom>
        </p:spPr>
      </p:pic>
      <p:pic>
        <p:nvPicPr>
          <p:cNvPr id="33" name="Grafik 44" descr="Ein Bild, das Text enthält.&#10;&#10;Beschreibung automatisch generiert.">
            <a:extLst>
              <a:ext uri="{FF2B5EF4-FFF2-40B4-BE49-F238E27FC236}">
                <a16:creationId xmlns:a16="http://schemas.microsoft.com/office/drawing/2014/main" id="{4F1501E9-2B17-4EAF-A900-2AC35BDC40BE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4671022" y="3408682"/>
            <a:ext cx="1372964" cy="347990"/>
          </a:xfrm>
          <a:prstGeom prst="rect">
            <a:avLst/>
          </a:prstGeom>
        </p:spPr>
      </p:pic>
      <p:grpSp>
        <p:nvGrpSpPr>
          <p:cNvPr id="5" name="Group 4">
            <a:extLst>
              <a:ext uri="{FF2B5EF4-FFF2-40B4-BE49-F238E27FC236}">
                <a16:creationId xmlns:a16="http://schemas.microsoft.com/office/drawing/2014/main" id="{F0721C03-E33C-4EB0-B64E-30A014D4E063}"/>
              </a:ext>
            </a:extLst>
          </p:cNvPr>
          <p:cNvGrpSpPr>
            <a:grpSpLocks/>
          </p:cNvGrpSpPr>
          <p:nvPr/>
        </p:nvGrpSpPr>
        <p:grpSpPr>
          <a:xfrm>
            <a:off x="307514" y="2183509"/>
            <a:ext cx="4188838" cy="1199657"/>
            <a:chOff x="416745" y="1770366"/>
            <a:chExt cx="5984056" cy="1713797"/>
          </a:xfrm>
        </p:grpSpPr>
        <p:sp>
          <p:nvSpPr>
            <p:cNvPr id="15" name="ValueChainHeader">
              <a:extLst>
                <a:ext uri="{FF2B5EF4-FFF2-40B4-BE49-F238E27FC236}">
                  <a16:creationId xmlns:a16="http://schemas.microsoft.com/office/drawing/2014/main" id="{E5201550-82B3-4F5B-9053-92CF905AD9AB}"/>
                </a:ext>
              </a:extLst>
            </p:cNvPr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gray">
            <a:xfrm>
              <a:off x="1912374" y="1815451"/>
              <a:ext cx="1497170" cy="1090422"/>
            </a:xfrm>
            <a:prstGeom prst="chevron">
              <a:avLst>
                <a:gd name="adj" fmla="val 12004"/>
              </a:avLst>
            </a:prstGeom>
            <a:solidFill>
              <a:schemeClr val="tx2"/>
            </a:solidFill>
            <a:ln w="38100" cap="rnd" algn="ctr">
              <a:noFill/>
              <a:round/>
              <a:headEnd/>
              <a:tailEnd/>
            </a:ln>
          </p:spPr>
          <p:txBody>
            <a:bodyPr lIns="0" tIns="0" rIns="0" bIns="0" anchor="ctr" anchorCtr="0"/>
            <a:lstStyle/>
            <a:p>
              <a:pPr algn="ctr" eaLnBrk="0" hangingPunct="0"/>
              <a:endParaRPr lang="en-US" b="1">
                <a:solidFill>
                  <a:srgbClr val="FFFFFF"/>
                </a:solidFill>
                <a:sym typeface="Trebuchet MS" panose="020B0603020202020204" pitchFamily="34" charset="0"/>
              </a:endParaRPr>
            </a:p>
          </p:txBody>
        </p:sp>
        <p:sp>
          <p:nvSpPr>
            <p:cNvPr id="16" name="ValueChainStarter">
              <a:extLst>
                <a:ext uri="{FF2B5EF4-FFF2-40B4-BE49-F238E27FC236}">
                  <a16:creationId xmlns:a16="http://schemas.microsoft.com/office/drawing/2014/main" id="{55442BBE-00B4-4177-92B1-D5CB1DE0D9B3}"/>
                </a:ext>
              </a:extLst>
            </p:cNvPr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gray">
            <a:xfrm>
              <a:off x="416745" y="1815451"/>
              <a:ext cx="1497170" cy="1090422"/>
            </a:xfrm>
            <a:prstGeom prst="homePlate">
              <a:avLst>
                <a:gd name="adj" fmla="val 12004"/>
              </a:avLst>
            </a:prstGeom>
            <a:solidFill>
              <a:schemeClr val="tx2"/>
            </a:solidFill>
            <a:ln w="38100" cap="rnd" algn="ctr">
              <a:noFill/>
              <a:round/>
              <a:headEnd/>
              <a:tailEnd/>
            </a:ln>
          </p:spPr>
          <p:txBody>
            <a:bodyPr lIns="0" tIns="0" rIns="0" bIns="0" anchor="ctr" anchorCtr="0"/>
            <a:lstStyle/>
            <a:p>
              <a:pPr algn="ctr" eaLnBrk="0" hangingPunct="0"/>
              <a:endParaRPr lang="en-US" b="1">
                <a:solidFill>
                  <a:srgbClr val="FFFFFF"/>
                </a:solidFill>
                <a:sym typeface="Trebuchet MS" panose="020B0603020202020204" pitchFamily="34" charset="0"/>
              </a:endParaRPr>
            </a:p>
          </p:txBody>
        </p:sp>
        <p:sp>
          <p:nvSpPr>
            <p:cNvPr id="17" name="ValueChainHeader">
              <a:extLst>
                <a:ext uri="{FF2B5EF4-FFF2-40B4-BE49-F238E27FC236}">
                  <a16:creationId xmlns:a16="http://schemas.microsoft.com/office/drawing/2014/main" id="{A1EA4E2C-7144-46B5-A800-F30E2EAD8A60}"/>
                </a:ext>
              </a:extLst>
            </p:cNvPr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gray">
            <a:xfrm>
              <a:off x="3408002" y="1815451"/>
              <a:ext cx="1497170" cy="1090422"/>
            </a:xfrm>
            <a:prstGeom prst="chevron">
              <a:avLst>
                <a:gd name="adj" fmla="val 12004"/>
              </a:avLst>
            </a:prstGeom>
            <a:solidFill>
              <a:schemeClr val="tx2"/>
            </a:solidFill>
            <a:ln w="38100" cap="rnd" algn="ctr">
              <a:noFill/>
              <a:round/>
              <a:headEnd/>
              <a:tailEnd/>
            </a:ln>
          </p:spPr>
          <p:txBody>
            <a:bodyPr lIns="0" tIns="0" rIns="0" bIns="0" anchor="ctr" anchorCtr="0"/>
            <a:lstStyle/>
            <a:p>
              <a:pPr algn="ctr" eaLnBrk="0" hangingPunct="0"/>
              <a:endParaRPr lang="en-US" b="1">
                <a:solidFill>
                  <a:srgbClr val="FFFFFF"/>
                </a:solidFill>
                <a:sym typeface="Trebuchet MS" panose="020B0603020202020204" pitchFamily="34" charset="0"/>
              </a:endParaRPr>
            </a:p>
          </p:txBody>
        </p:sp>
        <p:sp>
          <p:nvSpPr>
            <p:cNvPr id="18" name="ValueChainHeader">
              <a:extLst>
                <a:ext uri="{FF2B5EF4-FFF2-40B4-BE49-F238E27FC236}">
                  <a16:creationId xmlns:a16="http://schemas.microsoft.com/office/drawing/2014/main" id="{B4DAB559-1FB9-4316-B585-20F640ADEC6D}"/>
                </a:ext>
              </a:extLst>
            </p:cNvPr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gray">
            <a:xfrm>
              <a:off x="4903631" y="1815451"/>
              <a:ext cx="1497170" cy="1090422"/>
            </a:xfrm>
            <a:prstGeom prst="chevron">
              <a:avLst>
                <a:gd name="adj" fmla="val 12004"/>
              </a:avLst>
            </a:prstGeom>
            <a:solidFill>
              <a:schemeClr val="tx2"/>
            </a:solidFill>
            <a:ln w="38100" cap="rnd" algn="ctr">
              <a:noFill/>
              <a:round/>
              <a:headEnd/>
              <a:tailEnd/>
            </a:ln>
          </p:spPr>
          <p:txBody>
            <a:bodyPr lIns="0" tIns="0" rIns="0" bIns="0" anchor="ctr" anchorCtr="0"/>
            <a:lstStyle/>
            <a:p>
              <a:pPr algn="ctr" eaLnBrk="0" hangingPunct="0"/>
              <a:endParaRPr lang="en-US" b="1">
                <a:solidFill>
                  <a:srgbClr val="FFFFFF"/>
                </a:solidFill>
                <a:sym typeface="Trebuchet MS" panose="020B0603020202020204" pitchFamily="34" charset="0"/>
              </a:endParaRPr>
            </a:p>
          </p:txBody>
        </p:sp>
        <p:sp>
          <p:nvSpPr>
            <p:cNvPr id="20" name="ee4pHeader1">
              <a:extLst>
                <a:ext uri="{FF2B5EF4-FFF2-40B4-BE49-F238E27FC236}">
                  <a16:creationId xmlns:a16="http://schemas.microsoft.com/office/drawing/2014/main" id="{4A7330A4-9B5D-4A5A-A60D-CB04B8332E67}"/>
                </a:ext>
              </a:extLst>
            </p:cNvPr>
            <p:cNvSpPr txBox="1"/>
            <p:nvPr/>
          </p:nvSpPr>
          <p:spPr>
            <a:xfrm>
              <a:off x="416745" y="2914463"/>
              <a:ext cx="1342560" cy="569700"/>
            </a:xfrm>
            <a:prstGeom prst="rect">
              <a:avLst/>
            </a:prstGeom>
            <a:noFill/>
            <a:ln cap="rnd">
              <a:noFill/>
              <a:round/>
            </a:ln>
          </p:spPr>
          <p:txBody>
            <a:bodyPr wrap="square" lIns="0" tIns="0" rIns="0" bIns="0" rtlCol="0" anchor="b" anchorCtr="0">
              <a:noAutofit/>
            </a:bodyPr>
            <a:lstStyle/>
            <a:p>
              <a:pPr algn="ctr"/>
              <a:r>
                <a:rPr lang="en-US" sz="980">
                  <a:solidFill>
                    <a:schemeClr val="tx2"/>
                  </a:solidFill>
                </a:rPr>
                <a:t>Data collection</a:t>
              </a:r>
            </a:p>
          </p:txBody>
        </p:sp>
        <p:sp>
          <p:nvSpPr>
            <p:cNvPr id="21" name="ee4pHeader1">
              <a:extLst>
                <a:ext uri="{FF2B5EF4-FFF2-40B4-BE49-F238E27FC236}">
                  <a16:creationId xmlns:a16="http://schemas.microsoft.com/office/drawing/2014/main" id="{CAB9FFDB-FE34-436B-8B91-EFC9DEDD3F8A}"/>
                </a:ext>
              </a:extLst>
            </p:cNvPr>
            <p:cNvSpPr txBox="1"/>
            <p:nvPr/>
          </p:nvSpPr>
          <p:spPr>
            <a:xfrm>
              <a:off x="1912374" y="2914463"/>
              <a:ext cx="1342560" cy="569700"/>
            </a:xfrm>
            <a:prstGeom prst="rect">
              <a:avLst/>
            </a:prstGeom>
            <a:noFill/>
            <a:ln cap="rnd">
              <a:noFill/>
              <a:round/>
            </a:ln>
          </p:spPr>
          <p:txBody>
            <a:bodyPr wrap="square" lIns="0" tIns="0" rIns="0" bIns="0" rtlCol="0" anchor="b" anchorCtr="0">
              <a:noAutofit/>
            </a:bodyPr>
            <a:lstStyle/>
            <a:p>
              <a:pPr algn="ctr"/>
              <a:r>
                <a:rPr lang="en-US" sz="980">
                  <a:solidFill>
                    <a:schemeClr val="tx2"/>
                  </a:solidFill>
                </a:rPr>
                <a:t>Experimentation</a:t>
              </a:r>
            </a:p>
          </p:txBody>
        </p:sp>
        <p:sp>
          <p:nvSpPr>
            <p:cNvPr id="22" name="ee4pHeader1">
              <a:extLst>
                <a:ext uri="{FF2B5EF4-FFF2-40B4-BE49-F238E27FC236}">
                  <a16:creationId xmlns:a16="http://schemas.microsoft.com/office/drawing/2014/main" id="{4C47662B-EEC2-4F37-B8B3-A6ADF946B330}"/>
                </a:ext>
              </a:extLst>
            </p:cNvPr>
            <p:cNvSpPr txBox="1"/>
            <p:nvPr/>
          </p:nvSpPr>
          <p:spPr>
            <a:xfrm>
              <a:off x="3408002" y="2914463"/>
              <a:ext cx="1342560" cy="569700"/>
            </a:xfrm>
            <a:prstGeom prst="rect">
              <a:avLst/>
            </a:prstGeom>
            <a:noFill/>
            <a:ln cap="rnd">
              <a:noFill/>
              <a:round/>
            </a:ln>
          </p:spPr>
          <p:txBody>
            <a:bodyPr wrap="square" lIns="0" tIns="0" rIns="0" bIns="0" rtlCol="0" anchor="b" anchorCtr="0">
              <a:noAutofit/>
            </a:bodyPr>
            <a:lstStyle/>
            <a:p>
              <a:pPr algn="ctr"/>
              <a:r>
                <a:rPr lang="en-US" sz="980">
                  <a:solidFill>
                    <a:schemeClr val="tx2"/>
                  </a:solidFill>
                </a:rPr>
                <a:t>Tuning</a:t>
              </a:r>
            </a:p>
          </p:txBody>
        </p:sp>
        <p:sp>
          <p:nvSpPr>
            <p:cNvPr id="23" name="ee4pHeader1">
              <a:extLst>
                <a:ext uri="{FF2B5EF4-FFF2-40B4-BE49-F238E27FC236}">
                  <a16:creationId xmlns:a16="http://schemas.microsoft.com/office/drawing/2014/main" id="{E67ACADC-4BC2-4EA4-A22A-A5EEEBFEB211}"/>
                </a:ext>
              </a:extLst>
            </p:cNvPr>
            <p:cNvSpPr txBox="1"/>
            <p:nvPr/>
          </p:nvSpPr>
          <p:spPr>
            <a:xfrm>
              <a:off x="4888225" y="2914463"/>
              <a:ext cx="1342560" cy="569700"/>
            </a:xfrm>
            <a:prstGeom prst="rect">
              <a:avLst/>
            </a:prstGeom>
            <a:noFill/>
            <a:ln cap="rnd">
              <a:noFill/>
              <a:round/>
            </a:ln>
          </p:spPr>
          <p:txBody>
            <a:bodyPr wrap="square" lIns="0" tIns="0" rIns="0" bIns="0" rtlCol="0" anchor="b" anchorCtr="0">
              <a:noAutofit/>
            </a:bodyPr>
            <a:lstStyle/>
            <a:p>
              <a:pPr algn="ctr"/>
              <a:r>
                <a:rPr lang="en-US" sz="980">
                  <a:solidFill>
                    <a:schemeClr val="tx2"/>
                  </a:solidFill>
                </a:rPr>
                <a:t>Serving</a:t>
              </a:r>
            </a:p>
          </p:txBody>
        </p:sp>
        <p:grpSp>
          <p:nvGrpSpPr>
            <p:cNvPr id="24" name="Group 17">
              <a:extLst>
                <a:ext uri="{FF2B5EF4-FFF2-40B4-BE49-F238E27FC236}">
                  <a16:creationId xmlns:a16="http://schemas.microsoft.com/office/drawing/2014/main" id="{298A6193-5B44-4E24-B586-4647DE4225AB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744980" y="1940312"/>
              <a:ext cx="840700" cy="840700"/>
              <a:chOff x="1924" y="1164"/>
              <a:chExt cx="288" cy="288"/>
            </a:xfrm>
          </p:grpSpPr>
          <p:sp>
            <p:nvSpPr>
              <p:cNvPr id="25" name="AutoShape 16">
                <a:extLst>
                  <a:ext uri="{FF2B5EF4-FFF2-40B4-BE49-F238E27FC236}">
                    <a16:creationId xmlns:a16="http://schemas.microsoft.com/office/drawing/2014/main" id="{0FA09231-8ECB-4003-B673-E549275E340D}"/>
                  </a:ext>
                </a:extLst>
              </p:cNvPr>
              <p:cNvSpPr>
                <a:spLocks noChangeAspect="1" noChangeArrowheads="1" noTextEdit="1"/>
              </p:cNvSpPr>
              <p:nvPr/>
            </p:nvSpPr>
            <p:spPr bwMode="auto">
              <a:xfrm>
                <a:off x="1924" y="1164"/>
                <a:ext cx="288" cy="28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64008" tIns="32004" rIns="64008" bIns="3200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" name="Freeform 18">
                <a:extLst>
                  <a:ext uri="{FF2B5EF4-FFF2-40B4-BE49-F238E27FC236}">
                    <a16:creationId xmlns:a16="http://schemas.microsoft.com/office/drawing/2014/main" id="{82845C6C-030F-44DC-B483-7D043A25627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956" y="1181"/>
                <a:ext cx="226" cy="255"/>
              </a:xfrm>
              <a:custGeom>
                <a:avLst/>
                <a:gdLst>
                  <a:gd name="T0" fmla="*/ 672 w 783"/>
                  <a:gd name="T1" fmla="*/ 123 h 883"/>
                  <a:gd name="T2" fmla="*/ 0 w 783"/>
                  <a:gd name="T3" fmla="*/ 123 h 883"/>
                  <a:gd name="T4" fmla="*/ 771 w 783"/>
                  <a:gd name="T5" fmla="*/ 805 h 883"/>
                  <a:gd name="T6" fmla="*/ 650 w 783"/>
                  <a:gd name="T7" fmla="*/ 652 h 883"/>
                  <a:gd name="T8" fmla="*/ 627 w 783"/>
                  <a:gd name="T9" fmla="*/ 664 h 883"/>
                  <a:gd name="T10" fmla="*/ 659 w 783"/>
                  <a:gd name="T11" fmla="*/ 523 h 883"/>
                  <a:gd name="T12" fmla="*/ 352 w 783"/>
                  <a:gd name="T13" fmla="*/ 343 h 883"/>
                  <a:gd name="T14" fmla="*/ 314 w 783"/>
                  <a:gd name="T15" fmla="*/ 612 h 883"/>
                  <a:gd name="T16" fmla="*/ 469 w 783"/>
                  <a:gd name="T17" fmla="*/ 689 h 883"/>
                  <a:gd name="T18" fmla="*/ 587 w 783"/>
                  <a:gd name="T19" fmla="*/ 695 h 883"/>
                  <a:gd name="T20" fmla="*/ 571 w 783"/>
                  <a:gd name="T21" fmla="*/ 725 h 883"/>
                  <a:gd name="T22" fmla="*/ 707 w 783"/>
                  <a:gd name="T23" fmla="*/ 883 h 883"/>
                  <a:gd name="T24" fmla="*/ 748 w 783"/>
                  <a:gd name="T25" fmla="*/ 867 h 883"/>
                  <a:gd name="T26" fmla="*/ 561 w 783"/>
                  <a:gd name="T27" fmla="*/ 619 h 883"/>
                  <a:gd name="T28" fmla="*/ 317 w 783"/>
                  <a:gd name="T29" fmla="*/ 475 h 883"/>
                  <a:gd name="T30" fmla="*/ 468 w 783"/>
                  <a:gd name="T31" fmla="*/ 343 h 883"/>
                  <a:gd name="T32" fmla="*/ 561 w 783"/>
                  <a:gd name="T33" fmla="*/ 619 h 883"/>
                  <a:gd name="T34" fmla="*/ 435 w 783"/>
                  <a:gd name="T35" fmla="*/ 540 h 883"/>
                  <a:gd name="T36" fmla="*/ 385 w 783"/>
                  <a:gd name="T37" fmla="*/ 491 h 883"/>
                  <a:gd name="T38" fmla="*/ 357 w 783"/>
                  <a:gd name="T39" fmla="*/ 491 h 883"/>
                  <a:gd name="T40" fmla="*/ 357 w 783"/>
                  <a:gd name="T41" fmla="*/ 520 h 883"/>
                  <a:gd name="T42" fmla="*/ 434 w 783"/>
                  <a:gd name="T43" fmla="*/ 590 h 883"/>
                  <a:gd name="T44" fmla="*/ 449 w 783"/>
                  <a:gd name="T45" fmla="*/ 584 h 883"/>
                  <a:gd name="T46" fmla="*/ 583 w 783"/>
                  <a:gd name="T47" fmla="*/ 446 h 883"/>
                  <a:gd name="T48" fmla="*/ 549 w 783"/>
                  <a:gd name="T49" fmla="*/ 431 h 883"/>
                  <a:gd name="T50" fmla="*/ 672 w 783"/>
                  <a:gd name="T51" fmla="*/ 299 h 883"/>
                  <a:gd name="T52" fmla="*/ 532 w 783"/>
                  <a:gd name="T53" fmla="*/ 269 h 883"/>
                  <a:gd name="T54" fmla="*/ 249 w 783"/>
                  <a:gd name="T55" fmla="*/ 409 h 883"/>
                  <a:gd name="T56" fmla="*/ 351 w 783"/>
                  <a:gd name="T57" fmla="*/ 291 h 883"/>
                  <a:gd name="T58" fmla="*/ 0 w 783"/>
                  <a:gd name="T59" fmla="*/ 206 h 883"/>
                  <a:gd name="T60" fmla="*/ 249 w 783"/>
                  <a:gd name="T61" fmla="*/ 409 h 883"/>
                  <a:gd name="T62" fmla="*/ 234 w 783"/>
                  <a:gd name="T63" fmla="*/ 464 h 883"/>
                  <a:gd name="T64" fmla="*/ 0 w 783"/>
                  <a:gd name="T65" fmla="*/ 380 h 883"/>
                  <a:gd name="T66" fmla="*/ 247 w 783"/>
                  <a:gd name="T67" fmla="*/ 580 h 883"/>
                  <a:gd name="T68" fmla="*/ 435 w 783"/>
                  <a:gd name="T69" fmla="*/ 731 h 883"/>
                  <a:gd name="T70" fmla="*/ 270 w 783"/>
                  <a:gd name="T71" fmla="*/ 626 h 883"/>
                  <a:gd name="T72" fmla="*/ 0 w 783"/>
                  <a:gd name="T73" fmla="*/ 636 h 883"/>
                  <a:gd name="T74" fmla="*/ 526 w 783"/>
                  <a:gd name="T75" fmla="*/ 730 h 883"/>
                  <a:gd name="T76" fmla="*/ 469 w 783"/>
                  <a:gd name="T77" fmla="*/ 733 h 8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783" h="883">
                    <a:moveTo>
                      <a:pt x="336" y="247"/>
                    </a:moveTo>
                    <a:cubicBezTo>
                      <a:pt x="521" y="247"/>
                      <a:pt x="672" y="191"/>
                      <a:pt x="672" y="123"/>
                    </a:cubicBezTo>
                    <a:cubicBezTo>
                      <a:pt x="672" y="55"/>
                      <a:pt x="521" y="0"/>
                      <a:pt x="336" y="0"/>
                    </a:cubicBezTo>
                    <a:cubicBezTo>
                      <a:pt x="151" y="0"/>
                      <a:pt x="0" y="55"/>
                      <a:pt x="0" y="123"/>
                    </a:cubicBezTo>
                    <a:cubicBezTo>
                      <a:pt x="0" y="191"/>
                      <a:pt x="151" y="247"/>
                      <a:pt x="336" y="247"/>
                    </a:cubicBezTo>
                    <a:close/>
                    <a:moveTo>
                      <a:pt x="771" y="805"/>
                    </a:moveTo>
                    <a:cubicBezTo>
                      <a:pt x="771" y="805"/>
                      <a:pt x="771" y="805"/>
                      <a:pt x="660" y="658"/>
                    </a:cubicBezTo>
                    <a:cubicBezTo>
                      <a:pt x="658" y="655"/>
                      <a:pt x="654" y="653"/>
                      <a:pt x="650" y="652"/>
                    </a:cubicBezTo>
                    <a:cubicBezTo>
                      <a:pt x="646" y="652"/>
                      <a:pt x="642" y="653"/>
                      <a:pt x="639" y="656"/>
                    </a:cubicBezTo>
                    <a:cubicBezTo>
                      <a:pt x="639" y="656"/>
                      <a:pt x="639" y="656"/>
                      <a:pt x="627" y="664"/>
                    </a:cubicBezTo>
                    <a:cubicBezTo>
                      <a:pt x="627" y="664"/>
                      <a:pt x="627" y="664"/>
                      <a:pt x="604" y="634"/>
                    </a:cubicBezTo>
                    <a:cubicBezTo>
                      <a:pt x="634" y="604"/>
                      <a:pt x="653" y="565"/>
                      <a:pt x="659" y="523"/>
                    </a:cubicBezTo>
                    <a:cubicBezTo>
                      <a:pt x="666" y="472"/>
                      <a:pt x="653" y="422"/>
                      <a:pt x="622" y="381"/>
                    </a:cubicBezTo>
                    <a:cubicBezTo>
                      <a:pt x="558" y="296"/>
                      <a:pt x="437" y="279"/>
                      <a:pt x="352" y="343"/>
                    </a:cubicBezTo>
                    <a:cubicBezTo>
                      <a:pt x="311" y="374"/>
                      <a:pt x="285" y="419"/>
                      <a:pt x="277" y="470"/>
                    </a:cubicBezTo>
                    <a:cubicBezTo>
                      <a:pt x="270" y="521"/>
                      <a:pt x="283" y="571"/>
                      <a:pt x="314" y="612"/>
                    </a:cubicBezTo>
                    <a:cubicBezTo>
                      <a:pt x="346" y="654"/>
                      <a:pt x="391" y="680"/>
                      <a:pt x="442" y="687"/>
                    </a:cubicBezTo>
                    <a:cubicBezTo>
                      <a:pt x="451" y="689"/>
                      <a:pt x="460" y="689"/>
                      <a:pt x="469" y="689"/>
                    </a:cubicBezTo>
                    <a:cubicBezTo>
                      <a:pt x="502" y="689"/>
                      <a:pt x="534" y="681"/>
                      <a:pt x="563" y="664"/>
                    </a:cubicBezTo>
                    <a:cubicBezTo>
                      <a:pt x="563" y="664"/>
                      <a:pt x="563" y="664"/>
                      <a:pt x="587" y="695"/>
                    </a:cubicBezTo>
                    <a:cubicBezTo>
                      <a:pt x="587" y="695"/>
                      <a:pt x="587" y="695"/>
                      <a:pt x="574" y="705"/>
                    </a:cubicBezTo>
                    <a:cubicBezTo>
                      <a:pt x="568" y="710"/>
                      <a:pt x="567" y="719"/>
                      <a:pt x="571" y="725"/>
                    </a:cubicBezTo>
                    <a:cubicBezTo>
                      <a:pt x="571" y="725"/>
                      <a:pt x="571" y="725"/>
                      <a:pt x="682" y="871"/>
                    </a:cubicBezTo>
                    <a:cubicBezTo>
                      <a:pt x="687" y="879"/>
                      <a:pt x="697" y="883"/>
                      <a:pt x="707" y="883"/>
                    </a:cubicBezTo>
                    <a:cubicBezTo>
                      <a:pt x="709" y="883"/>
                      <a:pt x="712" y="882"/>
                      <a:pt x="715" y="882"/>
                    </a:cubicBezTo>
                    <a:cubicBezTo>
                      <a:pt x="726" y="880"/>
                      <a:pt x="738" y="875"/>
                      <a:pt x="748" y="867"/>
                    </a:cubicBezTo>
                    <a:cubicBezTo>
                      <a:pt x="774" y="848"/>
                      <a:pt x="783" y="821"/>
                      <a:pt x="771" y="805"/>
                    </a:cubicBezTo>
                    <a:close/>
                    <a:moveTo>
                      <a:pt x="561" y="619"/>
                    </a:moveTo>
                    <a:cubicBezTo>
                      <a:pt x="493" y="670"/>
                      <a:pt x="397" y="656"/>
                      <a:pt x="346" y="589"/>
                    </a:cubicBezTo>
                    <a:cubicBezTo>
                      <a:pt x="321" y="556"/>
                      <a:pt x="311" y="516"/>
                      <a:pt x="317" y="475"/>
                    </a:cubicBezTo>
                    <a:cubicBezTo>
                      <a:pt x="322" y="435"/>
                      <a:pt x="343" y="399"/>
                      <a:pt x="376" y="374"/>
                    </a:cubicBezTo>
                    <a:cubicBezTo>
                      <a:pt x="404" y="354"/>
                      <a:pt x="436" y="343"/>
                      <a:pt x="468" y="343"/>
                    </a:cubicBezTo>
                    <a:cubicBezTo>
                      <a:pt x="514" y="343"/>
                      <a:pt x="560" y="364"/>
                      <a:pt x="591" y="404"/>
                    </a:cubicBezTo>
                    <a:cubicBezTo>
                      <a:pt x="642" y="472"/>
                      <a:pt x="628" y="568"/>
                      <a:pt x="561" y="619"/>
                    </a:cubicBezTo>
                    <a:close/>
                    <a:moveTo>
                      <a:pt x="549" y="431"/>
                    </a:moveTo>
                    <a:cubicBezTo>
                      <a:pt x="435" y="540"/>
                      <a:pt x="435" y="540"/>
                      <a:pt x="435" y="540"/>
                    </a:cubicBezTo>
                    <a:cubicBezTo>
                      <a:pt x="386" y="491"/>
                      <a:pt x="386" y="491"/>
                      <a:pt x="386" y="491"/>
                    </a:cubicBezTo>
                    <a:cubicBezTo>
                      <a:pt x="385" y="491"/>
                      <a:pt x="385" y="491"/>
                      <a:pt x="385" y="491"/>
                    </a:cubicBezTo>
                    <a:cubicBezTo>
                      <a:pt x="377" y="484"/>
                      <a:pt x="365" y="484"/>
                      <a:pt x="357" y="491"/>
                    </a:cubicBezTo>
                    <a:cubicBezTo>
                      <a:pt x="357" y="491"/>
                      <a:pt x="357" y="491"/>
                      <a:pt x="357" y="491"/>
                    </a:cubicBezTo>
                    <a:cubicBezTo>
                      <a:pt x="353" y="495"/>
                      <a:pt x="350" y="501"/>
                      <a:pt x="351" y="507"/>
                    </a:cubicBezTo>
                    <a:cubicBezTo>
                      <a:pt x="351" y="512"/>
                      <a:pt x="353" y="517"/>
                      <a:pt x="357" y="520"/>
                    </a:cubicBezTo>
                    <a:cubicBezTo>
                      <a:pt x="419" y="583"/>
                      <a:pt x="419" y="583"/>
                      <a:pt x="419" y="583"/>
                    </a:cubicBezTo>
                    <a:cubicBezTo>
                      <a:pt x="423" y="587"/>
                      <a:pt x="428" y="590"/>
                      <a:pt x="434" y="590"/>
                    </a:cubicBezTo>
                    <a:cubicBezTo>
                      <a:pt x="439" y="590"/>
                      <a:pt x="444" y="588"/>
                      <a:pt x="448" y="584"/>
                    </a:cubicBezTo>
                    <a:cubicBezTo>
                      <a:pt x="448" y="584"/>
                      <a:pt x="448" y="584"/>
                      <a:pt x="449" y="584"/>
                    </a:cubicBezTo>
                    <a:cubicBezTo>
                      <a:pt x="578" y="460"/>
                      <a:pt x="578" y="460"/>
                      <a:pt x="578" y="460"/>
                    </a:cubicBezTo>
                    <a:cubicBezTo>
                      <a:pt x="581" y="456"/>
                      <a:pt x="583" y="451"/>
                      <a:pt x="583" y="446"/>
                    </a:cubicBezTo>
                    <a:cubicBezTo>
                      <a:pt x="584" y="440"/>
                      <a:pt x="581" y="435"/>
                      <a:pt x="578" y="431"/>
                    </a:cubicBezTo>
                    <a:cubicBezTo>
                      <a:pt x="570" y="423"/>
                      <a:pt x="557" y="423"/>
                      <a:pt x="549" y="431"/>
                    </a:cubicBezTo>
                    <a:close/>
                    <a:moveTo>
                      <a:pt x="648" y="343"/>
                    </a:moveTo>
                    <a:cubicBezTo>
                      <a:pt x="664" y="330"/>
                      <a:pt x="672" y="315"/>
                      <a:pt x="672" y="299"/>
                    </a:cubicBezTo>
                    <a:cubicBezTo>
                      <a:pt x="672" y="206"/>
                      <a:pt x="672" y="206"/>
                      <a:pt x="672" y="206"/>
                    </a:cubicBezTo>
                    <a:cubicBezTo>
                      <a:pt x="639" y="234"/>
                      <a:pt x="590" y="255"/>
                      <a:pt x="532" y="269"/>
                    </a:cubicBezTo>
                    <a:cubicBezTo>
                      <a:pt x="577" y="282"/>
                      <a:pt x="617" y="307"/>
                      <a:pt x="648" y="343"/>
                    </a:cubicBezTo>
                    <a:close/>
                    <a:moveTo>
                      <a:pt x="249" y="409"/>
                    </a:moveTo>
                    <a:cubicBezTo>
                      <a:pt x="265" y="369"/>
                      <a:pt x="291" y="334"/>
                      <a:pt x="326" y="308"/>
                    </a:cubicBezTo>
                    <a:cubicBezTo>
                      <a:pt x="334" y="302"/>
                      <a:pt x="342" y="296"/>
                      <a:pt x="351" y="291"/>
                    </a:cubicBezTo>
                    <a:cubicBezTo>
                      <a:pt x="346" y="291"/>
                      <a:pt x="341" y="291"/>
                      <a:pt x="336" y="291"/>
                    </a:cubicBezTo>
                    <a:cubicBezTo>
                      <a:pt x="202" y="291"/>
                      <a:pt x="67" y="262"/>
                      <a:pt x="0" y="206"/>
                    </a:cubicBezTo>
                    <a:cubicBezTo>
                      <a:pt x="0" y="299"/>
                      <a:pt x="0" y="299"/>
                      <a:pt x="0" y="299"/>
                    </a:cubicBezTo>
                    <a:cubicBezTo>
                      <a:pt x="0" y="355"/>
                      <a:pt x="106" y="397"/>
                      <a:pt x="249" y="409"/>
                    </a:cubicBezTo>
                    <a:close/>
                    <a:moveTo>
                      <a:pt x="247" y="580"/>
                    </a:moveTo>
                    <a:cubicBezTo>
                      <a:pt x="233" y="543"/>
                      <a:pt x="228" y="504"/>
                      <a:pt x="234" y="464"/>
                    </a:cubicBezTo>
                    <a:cubicBezTo>
                      <a:pt x="234" y="460"/>
                      <a:pt x="235" y="456"/>
                      <a:pt x="236" y="452"/>
                    </a:cubicBezTo>
                    <a:cubicBezTo>
                      <a:pt x="142" y="443"/>
                      <a:pt x="51" y="421"/>
                      <a:pt x="0" y="380"/>
                    </a:cubicBezTo>
                    <a:cubicBezTo>
                      <a:pt x="0" y="468"/>
                      <a:pt x="0" y="468"/>
                      <a:pt x="0" y="468"/>
                    </a:cubicBezTo>
                    <a:cubicBezTo>
                      <a:pt x="0" y="526"/>
                      <a:pt x="105" y="567"/>
                      <a:pt x="247" y="580"/>
                    </a:cubicBezTo>
                    <a:close/>
                    <a:moveTo>
                      <a:pt x="469" y="733"/>
                    </a:moveTo>
                    <a:cubicBezTo>
                      <a:pt x="458" y="733"/>
                      <a:pt x="447" y="733"/>
                      <a:pt x="435" y="731"/>
                    </a:cubicBezTo>
                    <a:cubicBezTo>
                      <a:pt x="373" y="722"/>
                      <a:pt x="318" y="689"/>
                      <a:pt x="279" y="639"/>
                    </a:cubicBezTo>
                    <a:cubicBezTo>
                      <a:pt x="276" y="635"/>
                      <a:pt x="273" y="630"/>
                      <a:pt x="270" y="626"/>
                    </a:cubicBezTo>
                    <a:cubicBezTo>
                      <a:pt x="164" y="619"/>
                      <a:pt x="58" y="597"/>
                      <a:pt x="0" y="551"/>
                    </a:cubicBezTo>
                    <a:cubicBezTo>
                      <a:pt x="0" y="636"/>
                      <a:pt x="0" y="636"/>
                      <a:pt x="0" y="636"/>
                    </a:cubicBezTo>
                    <a:cubicBezTo>
                      <a:pt x="0" y="703"/>
                      <a:pt x="151" y="748"/>
                      <a:pt x="336" y="748"/>
                    </a:cubicBezTo>
                    <a:cubicBezTo>
                      <a:pt x="407" y="748"/>
                      <a:pt x="472" y="742"/>
                      <a:pt x="526" y="730"/>
                    </a:cubicBezTo>
                    <a:cubicBezTo>
                      <a:pt x="526" y="729"/>
                      <a:pt x="526" y="727"/>
                      <a:pt x="525" y="726"/>
                    </a:cubicBezTo>
                    <a:cubicBezTo>
                      <a:pt x="507" y="731"/>
                      <a:pt x="488" y="733"/>
                      <a:pt x="469" y="733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vert="horz" wrap="square" lIns="64008" tIns="32004" rIns="64008" bIns="3200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34" name="Group 33">
              <a:extLst>
                <a:ext uri="{FF2B5EF4-FFF2-40B4-BE49-F238E27FC236}">
                  <a16:creationId xmlns:a16="http://schemas.microsoft.com/office/drawing/2014/main" id="{7E3EAC76-A0FA-4A44-8FAF-543780577643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3565720" y="1770366"/>
              <a:ext cx="1181732" cy="1180592"/>
              <a:chOff x="5273675" y="2606675"/>
              <a:chExt cx="1646238" cy="1644650"/>
            </a:xfrm>
          </p:grpSpPr>
          <p:sp>
            <p:nvSpPr>
              <p:cNvPr id="35" name="AutoShape 3">
                <a:extLst>
                  <a:ext uri="{FF2B5EF4-FFF2-40B4-BE49-F238E27FC236}">
                    <a16:creationId xmlns:a16="http://schemas.microsoft.com/office/drawing/2014/main" id="{2F9B8F04-424A-40C2-9E1B-F522302B961E}"/>
                  </a:ext>
                </a:extLst>
              </p:cNvPr>
              <p:cNvSpPr>
                <a:spLocks noChangeAspect="1" noChangeArrowheads="1" noTextEdit="1"/>
              </p:cNvSpPr>
              <p:nvPr/>
            </p:nvSpPr>
            <p:spPr bwMode="auto">
              <a:xfrm>
                <a:off x="5273675" y="2606675"/>
                <a:ext cx="1646238" cy="164465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64008" tIns="32004" rIns="64008" bIns="3200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6" name="Freeform 20">
                <a:extLst>
                  <a:ext uri="{FF2B5EF4-FFF2-40B4-BE49-F238E27FC236}">
                    <a16:creationId xmlns:a16="http://schemas.microsoft.com/office/drawing/2014/main" id="{25C1DE97-EC51-49EE-AE37-2A5E65769D3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345113" y="2930525"/>
                <a:ext cx="1502259" cy="993775"/>
              </a:xfrm>
              <a:custGeom>
                <a:avLst/>
                <a:gdLst>
                  <a:gd name="connsiteX0" fmla="*/ 484981 w 1502259"/>
                  <a:gd name="connsiteY0" fmla="*/ 385763 h 993775"/>
                  <a:gd name="connsiteX1" fmla="*/ 619125 w 1502259"/>
                  <a:gd name="connsiteY1" fmla="*/ 519113 h 993775"/>
                  <a:gd name="connsiteX2" fmla="*/ 484981 w 1502259"/>
                  <a:gd name="connsiteY2" fmla="*/ 652463 h 993775"/>
                  <a:gd name="connsiteX3" fmla="*/ 350837 w 1502259"/>
                  <a:gd name="connsiteY3" fmla="*/ 519113 h 993775"/>
                  <a:gd name="connsiteX4" fmla="*/ 484981 w 1502259"/>
                  <a:gd name="connsiteY4" fmla="*/ 385763 h 993775"/>
                  <a:gd name="connsiteX5" fmla="*/ 485774 w 1502259"/>
                  <a:gd name="connsiteY5" fmla="*/ 246062 h 993775"/>
                  <a:gd name="connsiteX6" fmla="*/ 214311 w 1502259"/>
                  <a:gd name="connsiteY6" fmla="*/ 518319 h 993775"/>
                  <a:gd name="connsiteX7" fmla="*/ 485774 w 1502259"/>
                  <a:gd name="connsiteY7" fmla="*/ 790576 h 993775"/>
                  <a:gd name="connsiteX8" fmla="*/ 757237 w 1502259"/>
                  <a:gd name="connsiteY8" fmla="*/ 518319 h 993775"/>
                  <a:gd name="connsiteX9" fmla="*/ 485774 w 1502259"/>
                  <a:gd name="connsiteY9" fmla="*/ 246062 h 993775"/>
                  <a:gd name="connsiteX10" fmla="*/ 485774 w 1502259"/>
                  <a:gd name="connsiteY10" fmla="*/ 215899 h 993775"/>
                  <a:gd name="connsiteX11" fmla="*/ 788987 w 1502259"/>
                  <a:gd name="connsiteY11" fmla="*/ 519112 h 993775"/>
                  <a:gd name="connsiteX12" fmla="*/ 485774 w 1502259"/>
                  <a:gd name="connsiteY12" fmla="*/ 822325 h 993775"/>
                  <a:gd name="connsiteX13" fmla="*/ 182561 w 1502259"/>
                  <a:gd name="connsiteY13" fmla="*/ 519112 h 993775"/>
                  <a:gd name="connsiteX14" fmla="*/ 485774 w 1502259"/>
                  <a:gd name="connsiteY14" fmla="*/ 215899 h 993775"/>
                  <a:gd name="connsiteX15" fmla="*/ 1210014 w 1502259"/>
                  <a:gd name="connsiteY15" fmla="*/ 159164 h 993775"/>
                  <a:gd name="connsiteX16" fmla="*/ 1160255 w 1502259"/>
                  <a:gd name="connsiteY16" fmla="*/ 169871 h 993775"/>
                  <a:gd name="connsiteX17" fmla="*/ 1094623 w 1502259"/>
                  <a:gd name="connsiteY17" fmla="*/ 338509 h 993775"/>
                  <a:gd name="connsiteX18" fmla="*/ 1262270 w 1502259"/>
                  <a:gd name="connsiteY18" fmla="*/ 405679 h 993775"/>
                  <a:gd name="connsiteX19" fmla="*/ 1327189 w 1502259"/>
                  <a:gd name="connsiteY19" fmla="*/ 237040 h 993775"/>
                  <a:gd name="connsiteX20" fmla="*/ 1210014 w 1502259"/>
                  <a:gd name="connsiteY20" fmla="*/ 159164 h 993775"/>
                  <a:gd name="connsiteX21" fmla="*/ 485339 w 1502259"/>
                  <a:gd name="connsiteY21" fmla="*/ 63500 h 993775"/>
                  <a:gd name="connsiteX22" fmla="*/ 434623 w 1502259"/>
                  <a:gd name="connsiteY22" fmla="*/ 65640 h 993775"/>
                  <a:gd name="connsiteX23" fmla="*/ 399621 w 1502259"/>
                  <a:gd name="connsiteY23" fmla="*/ 159813 h 993775"/>
                  <a:gd name="connsiteX24" fmla="*/ 391050 w 1502259"/>
                  <a:gd name="connsiteY24" fmla="*/ 161953 h 993775"/>
                  <a:gd name="connsiteX25" fmla="*/ 326047 w 1502259"/>
                  <a:gd name="connsiteY25" fmla="*/ 183356 h 993775"/>
                  <a:gd name="connsiteX26" fmla="*/ 318904 w 1502259"/>
                  <a:gd name="connsiteY26" fmla="*/ 186923 h 993775"/>
                  <a:gd name="connsiteX27" fmla="*/ 233901 w 1502259"/>
                  <a:gd name="connsiteY27" fmla="*/ 138410 h 993775"/>
                  <a:gd name="connsiteX28" fmla="*/ 193899 w 1502259"/>
                  <a:gd name="connsiteY28" fmla="*/ 169087 h 993775"/>
                  <a:gd name="connsiteX29" fmla="*/ 156755 w 1502259"/>
                  <a:gd name="connsiteY29" fmla="*/ 204045 h 993775"/>
                  <a:gd name="connsiteX30" fmla="*/ 186756 w 1502259"/>
                  <a:gd name="connsiteY30" fmla="*/ 288229 h 993775"/>
                  <a:gd name="connsiteX31" fmla="*/ 181042 w 1502259"/>
                  <a:gd name="connsiteY31" fmla="*/ 295364 h 993775"/>
                  <a:gd name="connsiteX32" fmla="*/ 136754 w 1502259"/>
                  <a:gd name="connsiteY32" fmla="*/ 365993 h 993775"/>
                  <a:gd name="connsiteX33" fmla="*/ 133183 w 1502259"/>
                  <a:gd name="connsiteY33" fmla="*/ 373127 h 993775"/>
                  <a:gd name="connsiteX34" fmla="*/ 49608 w 1502259"/>
                  <a:gd name="connsiteY34" fmla="*/ 388823 h 993775"/>
                  <a:gd name="connsiteX35" fmla="*/ 38893 w 1502259"/>
                  <a:gd name="connsiteY35" fmla="*/ 438049 h 993775"/>
                  <a:gd name="connsiteX36" fmla="*/ 31750 w 1502259"/>
                  <a:gd name="connsiteY36" fmla="*/ 488702 h 993775"/>
                  <a:gd name="connsiteX37" fmla="*/ 101753 w 1502259"/>
                  <a:gd name="connsiteY37" fmla="*/ 530081 h 993775"/>
                  <a:gd name="connsiteX38" fmla="*/ 102467 w 1502259"/>
                  <a:gd name="connsiteY38" fmla="*/ 537929 h 993775"/>
                  <a:gd name="connsiteX39" fmla="*/ 118896 w 1502259"/>
                  <a:gd name="connsiteY39" fmla="*/ 627107 h 993775"/>
                  <a:gd name="connsiteX40" fmla="*/ 121039 w 1502259"/>
                  <a:gd name="connsiteY40" fmla="*/ 635668 h 993775"/>
                  <a:gd name="connsiteX41" fmla="*/ 68895 w 1502259"/>
                  <a:gd name="connsiteY41" fmla="*/ 699163 h 993775"/>
                  <a:gd name="connsiteX42" fmla="*/ 92467 w 1502259"/>
                  <a:gd name="connsiteY42" fmla="*/ 744109 h 993775"/>
                  <a:gd name="connsiteX43" fmla="*/ 119611 w 1502259"/>
                  <a:gd name="connsiteY43" fmla="*/ 786914 h 993775"/>
                  <a:gd name="connsiteX44" fmla="*/ 206757 w 1502259"/>
                  <a:gd name="connsiteY44" fmla="*/ 772646 h 993775"/>
                  <a:gd name="connsiteX45" fmla="*/ 212471 w 1502259"/>
                  <a:gd name="connsiteY45" fmla="*/ 777640 h 993775"/>
                  <a:gd name="connsiteX46" fmla="*/ 274617 w 1502259"/>
                  <a:gd name="connsiteY46" fmla="*/ 827580 h 993775"/>
                  <a:gd name="connsiteX47" fmla="*/ 281760 w 1502259"/>
                  <a:gd name="connsiteY47" fmla="*/ 831860 h 993775"/>
                  <a:gd name="connsiteX48" fmla="*/ 282474 w 1502259"/>
                  <a:gd name="connsiteY48" fmla="*/ 923892 h 993775"/>
                  <a:gd name="connsiteX49" fmla="*/ 329619 w 1502259"/>
                  <a:gd name="connsiteY49" fmla="*/ 943868 h 993775"/>
                  <a:gd name="connsiteX50" fmla="*/ 378192 w 1502259"/>
                  <a:gd name="connsiteY50" fmla="*/ 958850 h 993775"/>
                  <a:gd name="connsiteX51" fmla="*/ 441051 w 1502259"/>
                  <a:gd name="connsiteY51" fmla="*/ 886081 h 993775"/>
                  <a:gd name="connsiteX52" fmla="*/ 448909 w 1502259"/>
                  <a:gd name="connsiteY52" fmla="*/ 886794 h 993775"/>
                  <a:gd name="connsiteX53" fmla="*/ 485339 w 1502259"/>
                  <a:gd name="connsiteY53" fmla="*/ 888221 h 993775"/>
                  <a:gd name="connsiteX54" fmla="*/ 521055 w 1502259"/>
                  <a:gd name="connsiteY54" fmla="*/ 886794 h 993775"/>
                  <a:gd name="connsiteX55" fmla="*/ 528912 w 1502259"/>
                  <a:gd name="connsiteY55" fmla="*/ 886081 h 993775"/>
                  <a:gd name="connsiteX56" fmla="*/ 591057 w 1502259"/>
                  <a:gd name="connsiteY56" fmla="*/ 958850 h 993775"/>
                  <a:gd name="connsiteX57" fmla="*/ 639630 w 1502259"/>
                  <a:gd name="connsiteY57" fmla="*/ 943868 h 993775"/>
                  <a:gd name="connsiteX58" fmla="*/ 686775 w 1502259"/>
                  <a:gd name="connsiteY58" fmla="*/ 924606 h 993775"/>
                  <a:gd name="connsiteX59" fmla="*/ 687489 w 1502259"/>
                  <a:gd name="connsiteY59" fmla="*/ 832574 h 993775"/>
                  <a:gd name="connsiteX60" fmla="*/ 695347 w 1502259"/>
                  <a:gd name="connsiteY60" fmla="*/ 828293 h 993775"/>
                  <a:gd name="connsiteX61" fmla="*/ 758206 w 1502259"/>
                  <a:gd name="connsiteY61" fmla="*/ 778353 h 993775"/>
                  <a:gd name="connsiteX62" fmla="*/ 763921 w 1502259"/>
                  <a:gd name="connsiteY62" fmla="*/ 772646 h 993775"/>
                  <a:gd name="connsiteX63" fmla="*/ 850353 w 1502259"/>
                  <a:gd name="connsiteY63" fmla="*/ 786914 h 993775"/>
                  <a:gd name="connsiteX64" fmla="*/ 877497 w 1502259"/>
                  <a:gd name="connsiteY64" fmla="*/ 744109 h 993775"/>
                  <a:gd name="connsiteX65" fmla="*/ 900355 w 1502259"/>
                  <a:gd name="connsiteY65" fmla="*/ 699163 h 993775"/>
                  <a:gd name="connsiteX66" fmla="*/ 849638 w 1502259"/>
                  <a:gd name="connsiteY66" fmla="*/ 636381 h 993775"/>
                  <a:gd name="connsiteX67" fmla="*/ 852496 w 1502259"/>
                  <a:gd name="connsiteY67" fmla="*/ 627820 h 993775"/>
                  <a:gd name="connsiteX68" fmla="*/ 868211 w 1502259"/>
                  <a:gd name="connsiteY68" fmla="*/ 538642 h 993775"/>
                  <a:gd name="connsiteX69" fmla="*/ 868211 w 1502259"/>
                  <a:gd name="connsiteY69" fmla="*/ 530081 h 993775"/>
                  <a:gd name="connsiteX70" fmla="*/ 938213 w 1502259"/>
                  <a:gd name="connsiteY70" fmla="*/ 488702 h 993775"/>
                  <a:gd name="connsiteX71" fmla="*/ 931784 w 1502259"/>
                  <a:gd name="connsiteY71" fmla="*/ 438762 h 993775"/>
                  <a:gd name="connsiteX72" fmla="*/ 920355 w 1502259"/>
                  <a:gd name="connsiteY72" fmla="*/ 389536 h 993775"/>
                  <a:gd name="connsiteX73" fmla="*/ 838209 w 1502259"/>
                  <a:gd name="connsiteY73" fmla="*/ 373841 h 993775"/>
                  <a:gd name="connsiteX74" fmla="*/ 834638 w 1502259"/>
                  <a:gd name="connsiteY74" fmla="*/ 366706 h 993775"/>
                  <a:gd name="connsiteX75" fmla="*/ 790350 w 1502259"/>
                  <a:gd name="connsiteY75" fmla="*/ 295364 h 993775"/>
                  <a:gd name="connsiteX76" fmla="*/ 784636 w 1502259"/>
                  <a:gd name="connsiteY76" fmla="*/ 288229 h 993775"/>
                  <a:gd name="connsiteX77" fmla="*/ 813923 w 1502259"/>
                  <a:gd name="connsiteY77" fmla="*/ 204045 h 993775"/>
                  <a:gd name="connsiteX78" fmla="*/ 776779 w 1502259"/>
                  <a:gd name="connsiteY78" fmla="*/ 169801 h 993775"/>
                  <a:gd name="connsiteX79" fmla="*/ 736777 w 1502259"/>
                  <a:gd name="connsiteY79" fmla="*/ 139123 h 993775"/>
                  <a:gd name="connsiteX80" fmla="*/ 651774 w 1502259"/>
                  <a:gd name="connsiteY80" fmla="*/ 186923 h 993775"/>
                  <a:gd name="connsiteX81" fmla="*/ 644631 w 1502259"/>
                  <a:gd name="connsiteY81" fmla="*/ 183356 h 993775"/>
                  <a:gd name="connsiteX82" fmla="*/ 578914 w 1502259"/>
                  <a:gd name="connsiteY82" fmla="*/ 161953 h 993775"/>
                  <a:gd name="connsiteX83" fmla="*/ 571056 w 1502259"/>
                  <a:gd name="connsiteY83" fmla="*/ 159813 h 993775"/>
                  <a:gd name="connsiteX84" fmla="*/ 536055 w 1502259"/>
                  <a:gd name="connsiteY84" fmla="*/ 65640 h 993775"/>
                  <a:gd name="connsiteX85" fmla="*/ 485339 w 1502259"/>
                  <a:gd name="connsiteY85" fmla="*/ 63500 h 993775"/>
                  <a:gd name="connsiteX86" fmla="*/ 485339 w 1502259"/>
                  <a:gd name="connsiteY86" fmla="*/ 31750 h 993775"/>
                  <a:gd name="connsiteX87" fmla="*/ 548861 w 1502259"/>
                  <a:gd name="connsiteY87" fmla="*/ 35318 h 993775"/>
                  <a:gd name="connsiteX88" fmla="*/ 558139 w 1502259"/>
                  <a:gd name="connsiteY88" fmla="*/ 36032 h 993775"/>
                  <a:gd name="connsiteX89" fmla="*/ 594540 w 1502259"/>
                  <a:gd name="connsiteY89" fmla="*/ 133091 h 993775"/>
                  <a:gd name="connsiteX90" fmla="*/ 649497 w 1502259"/>
                  <a:gd name="connsiteY90" fmla="*/ 151646 h 993775"/>
                  <a:gd name="connsiteX91" fmla="*/ 738000 w 1502259"/>
                  <a:gd name="connsiteY91" fmla="*/ 101690 h 993775"/>
                  <a:gd name="connsiteX92" fmla="*/ 745851 w 1502259"/>
                  <a:gd name="connsiteY92" fmla="*/ 106685 h 993775"/>
                  <a:gd name="connsiteX93" fmla="*/ 796526 w 1502259"/>
                  <a:gd name="connsiteY93" fmla="*/ 145223 h 993775"/>
                  <a:gd name="connsiteX94" fmla="*/ 843632 w 1502259"/>
                  <a:gd name="connsiteY94" fmla="*/ 188757 h 993775"/>
                  <a:gd name="connsiteX95" fmla="*/ 850056 w 1502259"/>
                  <a:gd name="connsiteY95" fmla="*/ 195894 h 993775"/>
                  <a:gd name="connsiteX96" fmla="*/ 820079 w 1502259"/>
                  <a:gd name="connsiteY96" fmla="*/ 282248 h 993775"/>
                  <a:gd name="connsiteX97" fmla="*/ 858621 w 1502259"/>
                  <a:gd name="connsiteY97" fmla="*/ 345764 h 993775"/>
                  <a:gd name="connsiteX98" fmla="*/ 944983 w 1502259"/>
                  <a:gd name="connsiteY98" fmla="*/ 361465 h 993775"/>
                  <a:gd name="connsiteX99" fmla="*/ 947837 w 1502259"/>
                  <a:gd name="connsiteY99" fmla="*/ 370743 h 993775"/>
                  <a:gd name="connsiteX100" fmla="*/ 962112 w 1502259"/>
                  <a:gd name="connsiteY100" fmla="*/ 432832 h 993775"/>
                  <a:gd name="connsiteX101" fmla="*/ 969963 w 1502259"/>
                  <a:gd name="connsiteY101" fmla="*/ 496348 h 993775"/>
                  <a:gd name="connsiteX102" fmla="*/ 969963 w 1502259"/>
                  <a:gd name="connsiteY102" fmla="*/ 505626 h 993775"/>
                  <a:gd name="connsiteX103" fmla="*/ 898590 w 1502259"/>
                  <a:gd name="connsiteY103" fmla="*/ 548446 h 993775"/>
                  <a:gd name="connsiteX104" fmla="*/ 883602 w 1502259"/>
                  <a:gd name="connsiteY104" fmla="*/ 629091 h 993775"/>
                  <a:gd name="connsiteX105" fmla="*/ 937132 w 1502259"/>
                  <a:gd name="connsiteY105" fmla="*/ 694034 h 993775"/>
                  <a:gd name="connsiteX106" fmla="*/ 932849 w 1502259"/>
                  <a:gd name="connsiteY106" fmla="*/ 702598 h 993775"/>
                  <a:gd name="connsiteX107" fmla="*/ 904300 w 1502259"/>
                  <a:gd name="connsiteY107" fmla="*/ 759692 h 993775"/>
                  <a:gd name="connsiteX108" fmla="*/ 869327 w 1502259"/>
                  <a:gd name="connsiteY108" fmla="*/ 813217 h 993775"/>
                  <a:gd name="connsiteX109" fmla="*/ 863617 w 1502259"/>
                  <a:gd name="connsiteY109" fmla="*/ 821067 h 993775"/>
                  <a:gd name="connsiteX110" fmla="*/ 774400 w 1502259"/>
                  <a:gd name="connsiteY110" fmla="*/ 806080 h 993775"/>
                  <a:gd name="connsiteX111" fmla="*/ 718729 w 1502259"/>
                  <a:gd name="connsiteY111" fmla="*/ 850328 h 993775"/>
                  <a:gd name="connsiteX112" fmla="*/ 718016 w 1502259"/>
                  <a:gd name="connsiteY112" fmla="*/ 943818 h 993775"/>
                  <a:gd name="connsiteX113" fmla="*/ 709451 w 1502259"/>
                  <a:gd name="connsiteY113" fmla="*/ 948100 h 993775"/>
                  <a:gd name="connsiteX114" fmla="*/ 650211 w 1502259"/>
                  <a:gd name="connsiteY114" fmla="*/ 973079 h 993775"/>
                  <a:gd name="connsiteX115" fmla="*/ 589544 w 1502259"/>
                  <a:gd name="connsiteY115" fmla="*/ 991634 h 993775"/>
                  <a:gd name="connsiteX116" fmla="*/ 580265 w 1502259"/>
                  <a:gd name="connsiteY116" fmla="*/ 993775 h 993775"/>
                  <a:gd name="connsiteX117" fmla="*/ 516029 w 1502259"/>
                  <a:gd name="connsiteY117" fmla="*/ 918126 h 993775"/>
                  <a:gd name="connsiteX118" fmla="*/ 454648 w 1502259"/>
                  <a:gd name="connsiteY118" fmla="*/ 918126 h 993775"/>
                  <a:gd name="connsiteX119" fmla="*/ 389698 w 1502259"/>
                  <a:gd name="connsiteY119" fmla="*/ 993775 h 993775"/>
                  <a:gd name="connsiteX120" fmla="*/ 380420 w 1502259"/>
                  <a:gd name="connsiteY120" fmla="*/ 991634 h 993775"/>
                  <a:gd name="connsiteX121" fmla="*/ 319039 w 1502259"/>
                  <a:gd name="connsiteY121" fmla="*/ 973079 h 993775"/>
                  <a:gd name="connsiteX122" fmla="*/ 260513 w 1502259"/>
                  <a:gd name="connsiteY122" fmla="*/ 948100 h 993775"/>
                  <a:gd name="connsiteX123" fmla="*/ 251948 w 1502259"/>
                  <a:gd name="connsiteY123" fmla="*/ 943818 h 993775"/>
                  <a:gd name="connsiteX124" fmla="*/ 250520 w 1502259"/>
                  <a:gd name="connsiteY124" fmla="*/ 849614 h 993775"/>
                  <a:gd name="connsiteX125" fmla="*/ 196277 w 1502259"/>
                  <a:gd name="connsiteY125" fmla="*/ 806080 h 993775"/>
                  <a:gd name="connsiteX126" fmla="*/ 106346 w 1502259"/>
                  <a:gd name="connsiteY126" fmla="*/ 820354 h 993775"/>
                  <a:gd name="connsiteX127" fmla="*/ 100637 w 1502259"/>
                  <a:gd name="connsiteY127" fmla="*/ 813217 h 993775"/>
                  <a:gd name="connsiteX128" fmla="*/ 65664 w 1502259"/>
                  <a:gd name="connsiteY128" fmla="*/ 759692 h 993775"/>
                  <a:gd name="connsiteX129" fmla="*/ 36401 w 1502259"/>
                  <a:gd name="connsiteY129" fmla="*/ 702598 h 993775"/>
                  <a:gd name="connsiteX130" fmla="*/ 32832 w 1502259"/>
                  <a:gd name="connsiteY130" fmla="*/ 694034 h 993775"/>
                  <a:gd name="connsiteX131" fmla="*/ 86362 w 1502259"/>
                  <a:gd name="connsiteY131" fmla="*/ 628377 h 993775"/>
                  <a:gd name="connsiteX132" fmla="*/ 72087 w 1502259"/>
                  <a:gd name="connsiteY132" fmla="*/ 548446 h 993775"/>
                  <a:gd name="connsiteX133" fmla="*/ 0 w 1502259"/>
                  <a:gd name="connsiteY133" fmla="*/ 505626 h 993775"/>
                  <a:gd name="connsiteX134" fmla="*/ 714 w 1502259"/>
                  <a:gd name="connsiteY134" fmla="*/ 495635 h 993775"/>
                  <a:gd name="connsiteX135" fmla="*/ 7851 w 1502259"/>
                  <a:gd name="connsiteY135" fmla="*/ 432832 h 993775"/>
                  <a:gd name="connsiteX136" fmla="*/ 22840 w 1502259"/>
                  <a:gd name="connsiteY136" fmla="*/ 370029 h 993775"/>
                  <a:gd name="connsiteX137" fmla="*/ 24981 w 1502259"/>
                  <a:gd name="connsiteY137" fmla="*/ 361465 h 993775"/>
                  <a:gd name="connsiteX138" fmla="*/ 112056 w 1502259"/>
                  <a:gd name="connsiteY138" fmla="*/ 345051 h 993775"/>
                  <a:gd name="connsiteX139" fmla="*/ 151312 w 1502259"/>
                  <a:gd name="connsiteY139" fmla="*/ 282248 h 993775"/>
                  <a:gd name="connsiteX140" fmla="*/ 121335 w 1502259"/>
                  <a:gd name="connsiteY140" fmla="*/ 195894 h 993775"/>
                  <a:gd name="connsiteX141" fmla="*/ 127758 w 1502259"/>
                  <a:gd name="connsiteY141" fmla="*/ 188757 h 993775"/>
                  <a:gd name="connsiteX142" fmla="*/ 174151 w 1502259"/>
                  <a:gd name="connsiteY142" fmla="*/ 145223 h 993775"/>
                  <a:gd name="connsiteX143" fmla="*/ 224826 w 1502259"/>
                  <a:gd name="connsiteY143" fmla="*/ 106685 h 993775"/>
                  <a:gd name="connsiteX144" fmla="*/ 232677 w 1502259"/>
                  <a:gd name="connsiteY144" fmla="*/ 101690 h 993775"/>
                  <a:gd name="connsiteX145" fmla="*/ 321180 w 1502259"/>
                  <a:gd name="connsiteY145" fmla="*/ 150933 h 993775"/>
                  <a:gd name="connsiteX146" fmla="*/ 376137 w 1502259"/>
                  <a:gd name="connsiteY146" fmla="*/ 133091 h 993775"/>
                  <a:gd name="connsiteX147" fmla="*/ 412538 w 1502259"/>
                  <a:gd name="connsiteY147" fmla="*/ 36032 h 993775"/>
                  <a:gd name="connsiteX148" fmla="*/ 421816 w 1502259"/>
                  <a:gd name="connsiteY148" fmla="*/ 35318 h 993775"/>
                  <a:gd name="connsiteX149" fmla="*/ 485339 w 1502259"/>
                  <a:gd name="connsiteY149" fmla="*/ 31750 h 993775"/>
                  <a:gd name="connsiteX150" fmla="*/ 1155526 w 1502259"/>
                  <a:gd name="connsiteY150" fmla="*/ 0 h 993775"/>
                  <a:gd name="connsiteX151" fmla="*/ 1191969 w 1502259"/>
                  <a:gd name="connsiteY151" fmla="*/ 33520 h 993775"/>
                  <a:gd name="connsiteX152" fmla="*/ 1285578 w 1502259"/>
                  <a:gd name="connsiteY152" fmla="*/ 44218 h 993775"/>
                  <a:gd name="connsiteX153" fmla="*/ 1328452 w 1502259"/>
                  <a:gd name="connsiteY153" fmla="*/ 19970 h 993775"/>
                  <a:gd name="connsiteX154" fmla="*/ 1427777 w 1502259"/>
                  <a:gd name="connsiteY154" fmla="*/ 92716 h 993775"/>
                  <a:gd name="connsiteX155" fmla="*/ 1418487 w 1502259"/>
                  <a:gd name="connsiteY155" fmla="*/ 139787 h 993775"/>
                  <a:gd name="connsiteX156" fmla="*/ 1443497 w 1502259"/>
                  <a:gd name="connsiteY156" fmla="*/ 186144 h 993775"/>
                  <a:gd name="connsiteX157" fmla="*/ 1459218 w 1502259"/>
                  <a:gd name="connsiteY157" fmla="*/ 233215 h 993775"/>
                  <a:gd name="connsiteX158" fmla="*/ 1500663 w 1502259"/>
                  <a:gd name="connsiteY158" fmla="*/ 258177 h 993775"/>
                  <a:gd name="connsiteX159" fmla="*/ 1487086 w 1502259"/>
                  <a:gd name="connsiteY159" fmla="*/ 379421 h 993775"/>
                  <a:gd name="connsiteX160" fmla="*/ 1442068 w 1502259"/>
                  <a:gd name="connsiteY160" fmla="*/ 393685 h 993775"/>
                  <a:gd name="connsiteX161" fmla="*/ 1379186 w 1502259"/>
                  <a:gd name="connsiteY161" fmla="*/ 479982 h 993775"/>
                  <a:gd name="connsiteX162" fmla="*/ 1379186 w 1502259"/>
                  <a:gd name="connsiteY162" fmla="*/ 528479 h 993775"/>
                  <a:gd name="connsiteX163" fmla="*/ 1326308 w 1502259"/>
                  <a:gd name="connsiteY163" fmla="*/ 558433 h 993775"/>
                  <a:gd name="connsiteX164" fmla="*/ 1269857 w 1502259"/>
                  <a:gd name="connsiteY164" fmla="*/ 576263 h 993775"/>
                  <a:gd name="connsiteX165" fmla="*/ 1233414 w 1502259"/>
                  <a:gd name="connsiteY165" fmla="*/ 543456 h 993775"/>
                  <a:gd name="connsiteX166" fmla="*/ 1128373 w 1502259"/>
                  <a:gd name="connsiteY166" fmla="*/ 529905 h 993775"/>
                  <a:gd name="connsiteX167" fmla="*/ 1086928 w 1502259"/>
                  <a:gd name="connsiteY167" fmla="*/ 554154 h 993775"/>
                  <a:gd name="connsiteX168" fmla="*/ 990461 w 1502259"/>
                  <a:gd name="connsiteY168" fmla="*/ 479982 h 993775"/>
                  <a:gd name="connsiteX169" fmla="*/ 1001894 w 1502259"/>
                  <a:gd name="connsiteY169" fmla="*/ 432911 h 993775"/>
                  <a:gd name="connsiteX170" fmla="*/ 978314 w 1502259"/>
                  <a:gd name="connsiteY170" fmla="*/ 389406 h 993775"/>
                  <a:gd name="connsiteX171" fmla="*/ 961878 w 1502259"/>
                  <a:gd name="connsiteY171" fmla="*/ 338769 h 993775"/>
                  <a:gd name="connsiteX172" fmla="*/ 920434 w 1502259"/>
                  <a:gd name="connsiteY172" fmla="*/ 314520 h 993775"/>
                  <a:gd name="connsiteX173" fmla="*/ 936869 w 1502259"/>
                  <a:gd name="connsiteY173" fmla="*/ 190424 h 993775"/>
                  <a:gd name="connsiteX174" fmla="*/ 983316 w 1502259"/>
                  <a:gd name="connsiteY174" fmla="*/ 175447 h 993775"/>
                  <a:gd name="connsiteX175" fmla="*/ 1041196 w 1502259"/>
                  <a:gd name="connsiteY175" fmla="*/ 99848 h 993775"/>
                  <a:gd name="connsiteX176" fmla="*/ 1041196 w 1502259"/>
                  <a:gd name="connsiteY176" fmla="*/ 49211 h 993775"/>
                  <a:gd name="connsiteX177" fmla="*/ 1095503 w 1502259"/>
                  <a:gd name="connsiteY177" fmla="*/ 18543 h 993775"/>
                  <a:gd name="connsiteX178" fmla="*/ 1155526 w 1502259"/>
                  <a:gd name="connsiteY178" fmla="*/ 0 h 9937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</a:cxnLst>
                <a:rect l="l" t="t" r="r" b="b"/>
                <a:pathLst>
                  <a:path w="1502259" h="993775">
                    <a:moveTo>
                      <a:pt x="484981" y="385763"/>
                    </a:moveTo>
                    <a:cubicBezTo>
                      <a:pt x="559067" y="385763"/>
                      <a:pt x="619125" y="445466"/>
                      <a:pt x="619125" y="519113"/>
                    </a:cubicBezTo>
                    <a:cubicBezTo>
                      <a:pt x="619125" y="592760"/>
                      <a:pt x="559067" y="652463"/>
                      <a:pt x="484981" y="652463"/>
                    </a:cubicBezTo>
                    <a:cubicBezTo>
                      <a:pt x="410895" y="652463"/>
                      <a:pt x="350837" y="592760"/>
                      <a:pt x="350837" y="519113"/>
                    </a:cubicBezTo>
                    <a:cubicBezTo>
                      <a:pt x="350837" y="445466"/>
                      <a:pt x="410895" y="385763"/>
                      <a:pt x="484981" y="385763"/>
                    </a:cubicBezTo>
                    <a:close/>
                    <a:moveTo>
                      <a:pt x="485774" y="246062"/>
                    </a:moveTo>
                    <a:cubicBezTo>
                      <a:pt x="335849" y="246062"/>
                      <a:pt x="214311" y="367956"/>
                      <a:pt x="214311" y="518319"/>
                    </a:cubicBezTo>
                    <a:cubicBezTo>
                      <a:pt x="214311" y="668682"/>
                      <a:pt x="335849" y="790576"/>
                      <a:pt x="485774" y="790576"/>
                    </a:cubicBezTo>
                    <a:cubicBezTo>
                      <a:pt x="635699" y="790576"/>
                      <a:pt x="757237" y="668682"/>
                      <a:pt x="757237" y="518319"/>
                    </a:cubicBezTo>
                    <a:cubicBezTo>
                      <a:pt x="757237" y="367956"/>
                      <a:pt x="635699" y="246062"/>
                      <a:pt x="485774" y="246062"/>
                    </a:cubicBezTo>
                    <a:close/>
                    <a:moveTo>
                      <a:pt x="485774" y="215899"/>
                    </a:moveTo>
                    <a:cubicBezTo>
                      <a:pt x="653234" y="215899"/>
                      <a:pt x="788987" y="351652"/>
                      <a:pt x="788987" y="519112"/>
                    </a:cubicBezTo>
                    <a:cubicBezTo>
                      <a:pt x="788987" y="686572"/>
                      <a:pt x="653234" y="822325"/>
                      <a:pt x="485774" y="822325"/>
                    </a:cubicBezTo>
                    <a:cubicBezTo>
                      <a:pt x="318314" y="822325"/>
                      <a:pt x="182561" y="686572"/>
                      <a:pt x="182561" y="519112"/>
                    </a:cubicBezTo>
                    <a:cubicBezTo>
                      <a:pt x="182561" y="351652"/>
                      <a:pt x="318314" y="215899"/>
                      <a:pt x="485774" y="215899"/>
                    </a:cubicBezTo>
                    <a:close/>
                    <a:moveTo>
                      <a:pt x="1210014" y="159164"/>
                    </a:moveTo>
                    <a:cubicBezTo>
                      <a:pt x="1193383" y="159286"/>
                      <a:pt x="1176485" y="162725"/>
                      <a:pt x="1160255" y="169871"/>
                    </a:cubicBezTo>
                    <a:cubicBezTo>
                      <a:pt x="1096049" y="197739"/>
                      <a:pt x="1066800" y="272769"/>
                      <a:pt x="1094623" y="338509"/>
                    </a:cubicBezTo>
                    <a:cubicBezTo>
                      <a:pt x="1122445" y="403535"/>
                      <a:pt x="1197352" y="434976"/>
                      <a:pt x="1262270" y="405679"/>
                    </a:cubicBezTo>
                    <a:cubicBezTo>
                      <a:pt x="1326476" y="378525"/>
                      <a:pt x="1355725" y="302066"/>
                      <a:pt x="1327189" y="237040"/>
                    </a:cubicBezTo>
                    <a:cubicBezTo>
                      <a:pt x="1307393" y="188271"/>
                      <a:pt x="1259907" y="158795"/>
                      <a:pt x="1210014" y="159164"/>
                    </a:cubicBezTo>
                    <a:close/>
                    <a:moveTo>
                      <a:pt x="485339" y="63500"/>
                    </a:moveTo>
                    <a:cubicBezTo>
                      <a:pt x="485339" y="63500"/>
                      <a:pt x="459624" y="63500"/>
                      <a:pt x="434623" y="65640"/>
                    </a:cubicBezTo>
                    <a:cubicBezTo>
                      <a:pt x="399621" y="159813"/>
                      <a:pt x="399621" y="159813"/>
                      <a:pt x="399621" y="159813"/>
                    </a:cubicBezTo>
                    <a:cubicBezTo>
                      <a:pt x="391050" y="161953"/>
                      <a:pt x="391050" y="161953"/>
                      <a:pt x="391050" y="161953"/>
                    </a:cubicBezTo>
                    <a:cubicBezTo>
                      <a:pt x="368906" y="166947"/>
                      <a:pt x="347477" y="174081"/>
                      <a:pt x="326047" y="183356"/>
                    </a:cubicBezTo>
                    <a:cubicBezTo>
                      <a:pt x="318904" y="186923"/>
                      <a:pt x="318904" y="186923"/>
                      <a:pt x="318904" y="186923"/>
                    </a:cubicBezTo>
                    <a:cubicBezTo>
                      <a:pt x="233901" y="138410"/>
                      <a:pt x="233901" y="138410"/>
                      <a:pt x="233901" y="138410"/>
                    </a:cubicBezTo>
                    <a:cubicBezTo>
                      <a:pt x="213900" y="152678"/>
                      <a:pt x="194614" y="169087"/>
                      <a:pt x="193899" y="169087"/>
                    </a:cubicBezTo>
                    <a:cubicBezTo>
                      <a:pt x="193899" y="169801"/>
                      <a:pt x="173898" y="186209"/>
                      <a:pt x="156755" y="204045"/>
                    </a:cubicBezTo>
                    <a:cubicBezTo>
                      <a:pt x="186756" y="288229"/>
                      <a:pt x="186756" y="288229"/>
                      <a:pt x="186756" y="288229"/>
                    </a:cubicBezTo>
                    <a:cubicBezTo>
                      <a:pt x="181042" y="295364"/>
                      <a:pt x="181042" y="295364"/>
                      <a:pt x="181042" y="295364"/>
                    </a:cubicBezTo>
                    <a:cubicBezTo>
                      <a:pt x="163184" y="316766"/>
                      <a:pt x="148898" y="341023"/>
                      <a:pt x="136754" y="365993"/>
                    </a:cubicBezTo>
                    <a:cubicBezTo>
                      <a:pt x="133183" y="373127"/>
                      <a:pt x="133183" y="373127"/>
                      <a:pt x="133183" y="373127"/>
                    </a:cubicBezTo>
                    <a:cubicBezTo>
                      <a:pt x="49608" y="388823"/>
                      <a:pt x="49608" y="388823"/>
                      <a:pt x="49608" y="388823"/>
                    </a:cubicBezTo>
                    <a:cubicBezTo>
                      <a:pt x="43179" y="412366"/>
                      <a:pt x="38893" y="438049"/>
                      <a:pt x="38893" y="438049"/>
                    </a:cubicBezTo>
                    <a:cubicBezTo>
                      <a:pt x="38893" y="438762"/>
                      <a:pt x="33893" y="463732"/>
                      <a:pt x="31750" y="488702"/>
                    </a:cubicBezTo>
                    <a:cubicBezTo>
                      <a:pt x="101753" y="530081"/>
                      <a:pt x="101753" y="530081"/>
                      <a:pt x="101753" y="530081"/>
                    </a:cubicBezTo>
                    <a:cubicBezTo>
                      <a:pt x="102467" y="537929"/>
                      <a:pt x="102467" y="537929"/>
                      <a:pt x="102467" y="537929"/>
                    </a:cubicBezTo>
                    <a:cubicBezTo>
                      <a:pt x="103896" y="568606"/>
                      <a:pt x="109610" y="598570"/>
                      <a:pt x="118896" y="627107"/>
                    </a:cubicBezTo>
                    <a:cubicBezTo>
                      <a:pt x="121039" y="635668"/>
                      <a:pt x="121039" y="635668"/>
                      <a:pt x="121039" y="635668"/>
                    </a:cubicBezTo>
                    <a:cubicBezTo>
                      <a:pt x="68895" y="699163"/>
                      <a:pt x="68895" y="699163"/>
                      <a:pt x="68895" y="699163"/>
                    </a:cubicBezTo>
                    <a:cubicBezTo>
                      <a:pt x="79609" y="721279"/>
                      <a:pt x="92467" y="743395"/>
                      <a:pt x="92467" y="744109"/>
                    </a:cubicBezTo>
                    <a:cubicBezTo>
                      <a:pt x="92467" y="744109"/>
                      <a:pt x="105324" y="766225"/>
                      <a:pt x="119611" y="786914"/>
                    </a:cubicBezTo>
                    <a:cubicBezTo>
                      <a:pt x="206757" y="772646"/>
                      <a:pt x="206757" y="772646"/>
                      <a:pt x="206757" y="772646"/>
                    </a:cubicBezTo>
                    <a:cubicBezTo>
                      <a:pt x="212471" y="777640"/>
                      <a:pt x="212471" y="777640"/>
                      <a:pt x="212471" y="777640"/>
                    </a:cubicBezTo>
                    <a:cubicBezTo>
                      <a:pt x="230329" y="796902"/>
                      <a:pt x="251759" y="813311"/>
                      <a:pt x="274617" y="827580"/>
                    </a:cubicBezTo>
                    <a:cubicBezTo>
                      <a:pt x="281760" y="831860"/>
                      <a:pt x="281760" y="831860"/>
                      <a:pt x="281760" y="831860"/>
                    </a:cubicBezTo>
                    <a:cubicBezTo>
                      <a:pt x="282474" y="923892"/>
                      <a:pt x="282474" y="923892"/>
                      <a:pt x="282474" y="923892"/>
                    </a:cubicBezTo>
                    <a:cubicBezTo>
                      <a:pt x="305332" y="934594"/>
                      <a:pt x="329619" y="943868"/>
                      <a:pt x="329619" y="943868"/>
                    </a:cubicBezTo>
                    <a:cubicBezTo>
                      <a:pt x="329619" y="943868"/>
                      <a:pt x="354620" y="952429"/>
                      <a:pt x="378192" y="958850"/>
                    </a:cubicBezTo>
                    <a:cubicBezTo>
                      <a:pt x="441051" y="886081"/>
                      <a:pt x="441051" y="886081"/>
                      <a:pt x="441051" y="886081"/>
                    </a:cubicBezTo>
                    <a:cubicBezTo>
                      <a:pt x="448909" y="886794"/>
                      <a:pt x="448909" y="886794"/>
                      <a:pt x="448909" y="886794"/>
                    </a:cubicBezTo>
                    <a:cubicBezTo>
                      <a:pt x="461052" y="887508"/>
                      <a:pt x="473910" y="888221"/>
                      <a:pt x="485339" y="888221"/>
                    </a:cubicBezTo>
                    <a:cubicBezTo>
                      <a:pt x="497482" y="888221"/>
                      <a:pt x="508911" y="887508"/>
                      <a:pt x="521055" y="886794"/>
                    </a:cubicBezTo>
                    <a:cubicBezTo>
                      <a:pt x="528912" y="886081"/>
                      <a:pt x="528912" y="886081"/>
                      <a:pt x="528912" y="886081"/>
                    </a:cubicBezTo>
                    <a:cubicBezTo>
                      <a:pt x="591057" y="958850"/>
                      <a:pt x="591057" y="958850"/>
                      <a:pt x="591057" y="958850"/>
                    </a:cubicBezTo>
                    <a:cubicBezTo>
                      <a:pt x="615344" y="952429"/>
                      <a:pt x="639630" y="943868"/>
                      <a:pt x="639630" y="943868"/>
                    </a:cubicBezTo>
                    <a:cubicBezTo>
                      <a:pt x="640345" y="943868"/>
                      <a:pt x="664631" y="934594"/>
                      <a:pt x="686775" y="924606"/>
                    </a:cubicBezTo>
                    <a:cubicBezTo>
                      <a:pt x="687489" y="832574"/>
                      <a:pt x="687489" y="832574"/>
                      <a:pt x="687489" y="832574"/>
                    </a:cubicBezTo>
                    <a:cubicBezTo>
                      <a:pt x="695347" y="828293"/>
                      <a:pt x="695347" y="828293"/>
                      <a:pt x="695347" y="828293"/>
                    </a:cubicBezTo>
                    <a:cubicBezTo>
                      <a:pt x="718205" y="814025"/>
                      <a:pt x="738920" y="796902"/>
                      <a:pt x="758206" y="778353"/>
                    </a:cubicBezTo>
                    <a:cubicBezTo>
                      <a:pt x="763921" y="772646"/>
                      <a:pt x="763921" y="772646"/>
                      <a:pt x="763921" y="772646"/>
                    </a:cubicBezTo>
                    <a:cubicBezTo>
                      <a:pt x="850353" y="786914"/>
                      <a:pt x="850353" y="786914"/>
                      <a:pt x="850353" y="786914"/>
                    </a:cubicBezTo>
                    <a:cubicBezTo>
                      <a:pt x="863925" y="766938"/>
                      <a:pt x="877497" y="744822"/>
                      <a:pt x="877497" y="744109"/>
                    </a:cubicBezTo>
                    <a:cubicBezTo>
                      <a:pt x="877497" y="744109"/>
                      <a:pt x="890354" y="721993"/>
                      <a:pt x="900355" y="699163"/>
                    </a:cubicBezTo>
                    <a:cubicBezTo>
                      <a:pt x="849638" y="636381"/>
                      <a:pt x="849638" y="636381"/>
                      <a:pt x="849638" y="636381"/>
                    </a:cubicBezTo>
                    <a:cubicBezTo>
                      <a:pt x="852496" y="627820"/>
                      <a:pt x="852496" y="627820"/>
                      <a:pt x="852496" y="627820"/>
                    </a:cubicBezTo>
                    <a:cubicBezTo>
                      <a:pt x="861067" y="599283"/>
                      <a:pt x="866782" y="569319"/>
                      <a:pt x="868211" y="538642"/>
                    </a:cubicBezTo>
                    <a:cubicBezTo>
                      <a:pt x="868211" y="530081"/>
                      <a:pt x="868211" y="530081"/>
                      <a:pt x="868211" y="530081"/>
                    </a:cubicBezTo>
                    <a:cubicBezTo>
                      <a:pt x="938213" y="488702"/>
                      <a:pt x="938213" y="488702"/>
                      <a:pt x="938213" y="488702"/>
                    </a:cubicBezTo>
                    <a:cubicBezTo>
                      <a:pt x="936070" y="464446"/>
                      <a:pt x="931784" y="438762"/>
                      <a:pt x="931784" y="438762"/>
                    </a:cubicBezTo>
                    <a:cubicBezTo>
                      <a:pt x="931070" y="438049"/>
                      <a:pt x="926784" y="413079"/>
                      <a:pt x="920355" y="389536"/>
                    </a:cubicBezTo>
                    <a:cubicBezTo>
                      <a:pt x="838209" y="373841"/>
                      <a:pt x="838209" y="373841"/>
                      <a:pt x="838209" y="373841"/>
                    </a:cubicBezTo>
                    <a:cubicBezTo>
                      <a:pt x="834638" y="366706"/>
                      <a:pt x="834638" y="366706"/>
                      <a:pt x="834638" y="366706"/>
                    </a:cubicBezTo>
                    <a:cubicBezTo>
                      <a:pt x="822495" y="341023"/>
                      <a:pt x="807494" y="317480"/>
                      <a:pt x="790350" y="295364"/>
                    </a:cubicBezTo>
                    <a:cubicBezTo>
                      <a:pt x="784636" y="288229"/>
                      <a:pt x="784636" y="288229"/>
                      <a:pt x="784636" y="288229"/>
                    </a:cubicBezTo>
                    <a:cubicBezTo>
                      <a:pt x="813923" y="204045"/>
                      <a:pt x="813923" y="204045"/>
                      <a:pt x="813923" y="204045"/>
                    </a:cubicBezTo>
                    <a:cubicBezTo>
                      <a:pt x="796779" y="186209"/>
                      <a:pt x="776779" y="169801"/>
                      <a:pt x="776779" y="169801"/>
                    </a:cubicBezTo>
                    <a:cubicBezTo>
                      <a:pt x="776779" y="169801"/>
                      <a:pt x="756778" y="152678"/>
                      <a:pt x="736777" y="139123"/>
                    </a:cubicBezTo>
                    <a:cubicBezTo>
                      <a:pt x="651774" y="186923"/>
                      <a:pt x="651774" y="186923"/>
                      <a:pt x="651774" y="186923"/>
                    </a:cubicBezTo>
                    <a:cubicBezTo>
                      <a:pt x="644631" y="183356"/>
                      <a:pt x="644631" y="183356"/>
                      <a:pt x="644631" y="183356"/>
                    </a:cubicBezTo>
                    <a:cubicBezTo>
                      <a:pt x="623201" y="174081"/>
                      <a:pt x="601772" y="166947"/>
                      <a:pt x="578914" y="161953"/>
                    </a:cubicBezTo>
                    <a:cubicBezTo>
                      <a:pt x="571056" y="159813"/>
                      <a:pt x="571056" y="159813"/>
                      <a:pt x="571056" y="159813"/>
                    </a:cubicBezTo>
                    <a:cubicBezTo>
                      <a:pt x="536055" y="65640"/>
                      <a:pt x="536055" y="65640"/>
                      <a:pt x="536055" y="65640"/>
                    </a:cubicBezTo>
                    <a:cubicBezTo>
                      <a:pt x="511768" y="63500"/>
                      <a:pt x="486053" y="63500"/>
                      <a:pt x="485339" y="63500"/>
                    </a:cubicBezTo>
                    <a:close/>
                    <a:moveTo>
                      <a:pt x="485339" y="31750"/>
                    </a:moveTo>
                    <a:cubicBezTo>
                      <a:pt x="486766" y="31750"/>
                      <a:pt x="520312" y="31750"/>
                      <a:pt x="548861" y="35318"/>
                    </a:cubicBezTo>
                    <a:cubicBezTo>
                      <a:pt x="558139" y="36032"/>
                      <a:pt x="558139" y="36032"/>
                      <a:pt x="558139" y="36032"/>
                    </a:cubicBezTo>
                    <a:cubicBezTo>
                      <a:pt x="594540" y="133091"/>
                      <a:pt x="594540" y="133091"/>
                      <a:pt x="594540" y="133091"/>
                    </a:cubicBezTo>
                    <a:cubicBezTo>
                      <a:pt x="613097" y="138087"/>
                      <a:pt x="631654" y="143796"/>
                      <a:pt x="649497" y="151646"/>
                    </a:cubicBezTo>
                    <a:cubicBezTo>
                      <a:pt x="738000" y="101690"/>
                      <a:pt x="738000" y="101690"/>
                      <a:pt x="738000" y="101690"/>
                    </a:cubicBezTo>
                    <a:cubicBezTo>
                      <a:pt x="745851" y="106685"/>
                      <a:pt x="745851" y="106685"/>
                      <a:pt x="745851" y="106685"/>
                    </a:cubicBezTo>
                    <a:cubicBezTo>
                      <a:pt x="770118" y="123100"/>
                      <a:pt x="795812" y="144510"/>
                      <a:pt x="796526" y="145223"/>
                    </a:cubicBezTo>
                    <a:cubicBezTo>
                      <a:pt x="797954" y="145937"/>
                      <a:pt x="823648" y="168061"/>
                      <a:pt x="843632" y="188757"/>
                    </a:cubicBezTo>
                    <a:cubicBezTo>
                      <a:pt x="850056" y="195894"/>
                      <a:pt x="850056" y="195894"/>
                      <a:pt x="850056" y="195894"/>
                    </a:cubicBezTo>
                    <a:cubicBezTo>
                      <a:pt x="820079" y="282248"/>
                      <a:pt x="820079" y="282248"/>
                      <a:pt x="820079" y="282248"/>
                    </a:cubicBezTo>
                    <a:cubicBezTo>
                      <a:pt x="835068" y="302230"/>
                      <a:pt x="847915" y="322927"/>
                      <a:pt x="858621" y="345764"/>
                    </a:cubicBezTo>
                    <a:cubicBezTo>
                      <a:pt x="944983" y="361465"/>
                      <a:pt x="944983" y="361465"/>
                      <a:pt x="944983" y="361465"/>
                    </a:cubicBezTo>
                    <a:cubicBezTo>
                      <a:pt x="947837" y="370743"/>
                      <a:pt x="947837" y="370743"/>
                      <a:pt x="947837" y="370743"/>
                    </a:cubicBezTo>
                    <a:cubicBezTo>
                      <a:pt x="955689" y="398576"/>
                      <a:pt x="962112" y="431404"/>
                      <a:pt x="962112" y="432832"/>
                    </a:cubicBezTo>
                    <a:cubicBezTo>
                      <a:pt x="962112" y="434259"/>
                      <a:pt x="967822" y="467802"/>
                      <a:pt x="969963" y="496348"/>
                    </a:cubicBezTo>
                    <a:cubicBezTo>
                      <a:pt x="969963" y="505626"/>
                      <a:pt x="969963" y="505626"/>
                      <a:pt x="969963" y="505626"/>
                    </a:cubicBezTo>
                    <a:cubicBezTo>
                      <a:pt x="898590" y="548446"/>
                      <a:pt x="898590" y="548446"/>
                      <a:pt x="898590" y="548446"/>
                    </a:cubicBezTo>
                    <a:cubicBezTo>
                      <a:pt x="896449" y="575565"/>
                      <a:pt x="891453" y="602685"/>
                      <a:pt x="883602" y="629091"/>
                    </a:cubicBezTo>
                    <a:cubicBezTo>
                      <a:pt x="937132" y="694034"/>
                      <a:pt x="937132" y="694034"/>
                      <a:pt x="937132" y="694034"/>
                    </a:cubicBezTo>
                    <a:cubicBezTo>
                      <a:pt x="932849" y="702598"/>
                      <a:pt x="932849" y="702598"/>
                      <a:pt x="932849" y="702598"/>
                    </a:cubicBezTo>
                    <a:cubicBezTo>
                      <a:pt x="921429" y="729718"/>
                      <a:pt x="905014" y="758978"/>
                      <a:pt x="904300" y="759692"/>
                    </a:cubicBezTo>
                    <a:cubicBezTo>
                      <a:pt x="903586" y="761119"/>
                      <a:pt x="886456" y="790380"/>
                      <a:pt x="869327" y="813217"/>
                    </a:cubicBezTo>
                    <a:cubicBezTo>
                      <a:pt x="863617" y="821067"/>
                      <a:pt x="863617" y="821067"/>
                      <a:pt x="863617" y="821067"/>
                    </a:cubicBezTo>
                    <a:cubicBezTo>
                      <a:pt x="774400" y="806080"/>
                      <a:pt x="774400" y="806080"/>
                      <a:pt x="774400" y="806080"/>
                    </a:cubicBezTo>
                    <a:cubicBezTo>
                      <a:pt x="757271" y="822495"/>
                      <a:pt x="738714" y="836768"/>
                      <a:pt x="718729" y="850328"/>
                    </a:cubicBezTo>
                    <a:cubicBezTo>
                      <a:pt x="718016" y="943818"/>
                      <a:pt x="718016" y="943818"/>
                      <a:pt x="718016" y="943818"/>
                    </a:cubicBezTo>
                    <a:cubicBezTo>
                      <a:pt x="709451" y="948100"/>
                      <a:pt x="709451" y="948100"/>
                      <a:pt x="709451" y="948100"/>
                    </a:cubicBezTo>
                    <a:cubicBezTo>
                      <a:pt x="683043" y="960946"/>
                      <a:pt x="651638" y="973079"/>
                      <a:pt x="650211" y="973079"/>
                    </a:cubicBezTo>
                    <a:cubicBezTo>
                      <a:pt x="648783" y="973792"/>
                      <a:pt x="617379" y="985211"/>
                      <a:pt x="589544" y="991634"/>
                    </a:cubicBezTo>
                    <a:cubicBezTo>
                      <a:pt x="580265" y="993775"/>
                      <a:pt x="580265" y="993775"/>
                      <a:pt x="580265" y="993775"/>
                    </a:cubicBezTo>
                    <a:cubicBezTo>
                      <a:pt x="516029" y="918126"/>
                      <a:pt x="516029" y="918126"/>
                      <a:pt x="516029" y="918126"/>
                    </a:cubicBezTo>
                    <a:cubicBezTo>
                      <a:pt x="495331" y="919554"/>
                      <a:pt x="474633" y="919554"/>
                      <a:pt x="454648" y="918126"/>
                    </a:cubicBezTo>
                    <a:cubicBezTo>
                      <a:pt x="389698" y="993775"/>
                      <a:pt x="389698" y="993775"/>
                      <a:pt x="389698" y="993775"/>
                    </a:cubicBezTo>
                    <a:cubicBezTo>
                      <a:pt x="380420" y="991634"/>
                      <a:pt x="380420" y="991634"/>
                      <a:pt x="380420" y="991634"/>
                    </a:cubicBezTo>
                    <a:cubicBezTo>
                      <a:pt x="351871" y="985211"/>
                      <a:pt x="320466" y="973792"/>
                      <a:pt x="319039" y="973079"/>
                    </a:cubicBezTo>
                    <a:cubicBezTo>
                      <a:pt x="317611" y="972365"/>
                      <a:pt x="286207" y="960946"/>
                      <a:pt x="260513" y="948100"/>
                    </a:cubicBezTo>
                    <a:cubicBezTo>
                      <a:pt x="251948" y="943818"/>
                      <a:pt x="251948" y="943818"/>
                      <a:pt x="251948" y="943818"/>
                    </a:cubicBezTo>
                    <a:cubicBezTo>
                      <a:pt x="250520" y="849614"/>
                      <a:pt x="250520" y="849614"/>
                      <a:pt x="250520" y="849614"/>
                    </a:cubicBezTo>
                    <a:cubicBezTo>
                      <a:pt x="231250" y="836768"/>
                      <a:pt x="213406" y="821781"/>
                      <a:pt x="196277" y="806080"/>
                    </a:cubicBezTo>
                    <a:cubicBezTo>
                      <a:pt x="106346" y="820354"/>
                      <a:pt x="106346" y="820354"/>
                      <a:pt x="106346" y="820354"/>
                    </a:cubicBezTo>
                    <a:cubicBezTo>
                      <a:pt x="100637" y="813217"/>
                      <a:pt x="100637" y="813217"/>
                      <a:pt x="100637" y="813217"/>
                    </a:cubicBezTo>
                    <a:cubicBezTo>
                      <a:pt x="82793" y="789666"/>
                      <a:pt x="66377" y="761119"/>
                      <a:pt x="65664" y="759692"/>
                    </a:cubicBezTo>
                    <a:cubicBezTo>
                      <a:pt x="64950" y="758265"/>
                      <a:pt x="47820" y="729004"/>
                      <a:pt x="36401" y="702598"/>
                    </a:cubicBezTo>
                    <a:cubicBezTo>
                      <a:pt x="32832" y="694034"/>
                      <a:pt x="32832" y="694034"/>
                      <a:pt x="32832" y="694034"/>
                    </a:cubicBezTo>
                    <a:cubicBezTo>
                      <a:pt x="86362" y="628377"/>
                      <a:pt x="86362" y="628377"/>
                      <a:pt x="86362" y="628377"/>
                    </a:cubicBezTo>
                    <a:cubicBezTo>
                      <a:pt x="78511" y="601971"/>
                      <a:pt x="74228" y="575565"/>
                      <a:pt x="72087" y="548446"/>
                    </a:cubicBezTo>
                    <a:cubicBezTo>
                      <a:pt x="0" y="505626"/>
                      <a:pt x="0" y="505626"/>
                      <a:pt x="0" y="505626"/>
                    </a:cubicBezTo>
                    <a:cubicBezTo>
                      <a:pt x="714" y="495635"/>
                      <a:pt x="714" y="495635"/>
                      <a:pt x="714" y="495635"/>
                    </a:cubicBezTo>
                    <a:cubicBezTo>
                      <a:pt x="2141" y="467088"/>
                      <a:pt x="7851" y="434259"/>
                      <a:pt x="7851" y="432832"/>
                    </a:cubicBezTo>
                    <a:cubicBezTo>
                      <a:pt x="8565" y="431404"/>
                      <a:pt x="14275" y="397862"/>
                      <a:pt x="22840" y="370029"/>
                    </a:cubicBezTo>
                    <a:cubicBezTo>
                      <a:pt x="24981" y="361465"/>
                      <a:pt x="24981" y="361465"/>
                      <a:pt x="24981" y="361465"/>
                    </a:cubicBezTo>
                    <a:cubicBezTo>
                      <a:pt x="112056" y="345051"/>
                      <a:pt x="112056" y="345051"/>
                      <a:pt x="112056" y="345051"/>
                    </a:cubicBezTo>
                    <a:cubicBezTo>
                      <a:pt x="123476" y="322927"/>
                      <a:pt x="136323" y="301517"/>
                      <a:pt x="151312" y="282248"/>
                    </a:cubicBezTo>
                    <a:cubicBezTo>
                      <a:pt x="121335" y="195894"/>
                      <a:pt x="121335" y="195894"/>
                      <a:pt x="121335" y="195894"/>
                    </a:cubicBezTo>
                    <a:cubicBezTo>
                      <a:pt x="127758" y="188757"/>
                      <a:pt x="127758" y="188757"/>
                      <a:pt x="127758" y="188757"/>
                    </a:cubicBezTo>
                    <a:cubicBezTo>
                      <a:pt x="147029" y="167347"/>
                      <a:pt x="173437" y="145937"/>
                      <a:pt x="174151" y="145223"/>
                    </a:cubicBezTo>
                    <a:cubicBezTo>
                      <a:pt x="175579" y="143796"/>
                      <a:pt x="201273" y="122386"/>
                      <a:pt x="224826" y="106685"/>
                    </a:cubicBezTo>
                    <a:cubicBezTo>
                      <a:pt x="232677" y="101690"/>
                      <a:pt x="232677" y="101690"/>
                      <a:pt x="232677" y="101690"/>
                    </a:cubicBezTo>
                    <a:cubicBezTo>
                      <a:pt x="321180" y="150933"/>
                      <a:pt x="321180" y="150933"/>
                      <a:pt x="321180" y="150933"/>
                    </a:cubicBezTo>
                    <a:cubicBezTo>
                      <a:pt x="339023" y="143796"/>
                      <a:pt x="357580" y="137373"/>
                      <a:pt x="376137" y="133091"/>
                    </a:cubicBezTo>
                    <a:cubicBezTo>
                      <a:pt x="412538" y="36032"/>
                      <a:pt x="412538" y="36032"/>
                      <a:pt x="412538" y="36032"/>
                    </a:cubicBezTo>
                    <a:cubicBezTo>
                      <a:pt x="421816" y="35318"/>
                      <a:pt x="421816" y="35318"/>
                      <a:pt x="421816" y="35318"/>
                    </a:cubicBezTo>
                    <a:cubicBezTo>
                      <a:pt x="450366" y="31750"/>
                      <a:pt x="483911" y="31750"/>
                      <a:pt x="485339" y="31750"/>
                    </a:cubicBezTo>
                    <a:close/>
                    <a:moveTo>
                      <a:pt x="1155526" y="0"/>
                    </a:moveTo>
                    <a:cubicBezTo>
                      <a:pt x="1155526" y="0"/>
                      <a:pt x="1155526" y="0"/>
                      <a:pt x="1191969" y="33520"/>
                    </a:cubicBezTo>
                    <a:cubicBezTo>
                      <a:pt x="1224125" y="30668"/>
                      <a:pt x="1254851" y="34234"/>
                      <a:pt x="1285578" y="44218"/>
                    </a:cubicBezTo>
                    <a:cubicBezTo>
                      <a:pt x="1285578" y="44218"/>
                      <a:pt x="1285578" y="44218"/>
                      <a:pt x="1328452" y="19970"/>
                    </a:cubicBezTo>
                    <a:cubicBezTo>
                      <a:pt x="1365609" y="36373"/>
                      <a:pt x="1400623" y="62048"/>
                      <a:pt x="1427777" y="92716"/>
                    </a:cubicBezTo>
                    <a:cubicBezTo>
                      <a:pt x="1427777" y="92716"/>
                      <a:pt x="1427777" y="92716"/>
                      <a:pt x="1418487" y="139787"/>
                    </a:cubicBezTo>
                    <a:cubicBezTo>
                      <a:pt x="1427777" y="154764"/>
                      <a:pt x="1437066" y="170454"/>
                      <a:pt x="1443497" y="186144"/>
                    </a:cubicBezTo>
                    <a:cubicBezTo>
                      <a:pt x="1449928" y="201835"/>
                      <a:pt x="1455645" y="217525"/>
                      <a:pt x="1459218" y="233215"/>
                    </a:cubicBezTo>
                    <a:cubicBezTo>
                      <a:pt x="1459218" y="233215"/>
                      <a:pt x="1459218" y="233215"/>
                      <a:pt x="1500663" y="258177"/>
                    </a:cubicBezTo>
                    <a:cubicBezTo>
                      <a:pt x="1504950" y="299543"/>
                      <a:pt x="1500663" y="341621"/>
                      <a:pt x="1487086" y="379421"/>
                    </a:cubicBezTo>
                    <a:cubicBezTo>
                      <a:pt x="1487086" y="379421"/>
                      <a:pt x="1487086" y="379421"/>
                      <a:pt x="1442068" y="393685"/>
                    </a:cubicBezTo>
                    <a:cubicBezTo>
                      <a:pt x="1427062" y="425779"/>
                      <a:pt x="1405625" y="455733"/>
                      <a:pt x="1379186" y="479982"/>
                    </a:cubicBezTo>
                    <a:cubicBezTo>
                      <a:pt x="1379186" y="479982"/>
                      <a:pt x="1379186" y="479982"/>
                      <a:pt x="1379186" y="528479"/>
                    </a:cubicBezTo>
                    <a:cubicBezTo>
                      <a:pt x="1362037" y="539890"/>
                      <a:pt x="1344887" y="549875"/>
                      <a:pt x="1326308" y="558433"/>
                    </a:cubicBezTo>
                    <a:cubicBezTo>
                      <a:pt x="1307729" y="566278"/>
                      <a:pt x="1287722" y="571984"/>
                      <a:pt x="1269857" y="576263"/>
                    </a:cubicBezTo>
                    <a:cubicBezTo>
                      <a:pt x="1269857" y="576263"/>
                      <a:pt x="1269857" y="576263"/>
                      <a:pt x="1233414" y="543456"/>
                    </a:cubicBezTo>
                    <a:cubicBezTo>
                      <a:pt x="1196971" y="546309"/>
                      <a:pt x="1161958" y="542030"/>
                      <a:pt x="1128373" y="529905"/>
                    </a:cubicBezTo>
                    <a:cubicBezTo>
                      <a:pt x="1128373" y="529905"/>
                      <a:pt x="1128373" y="529905"/>
                      <a:pt x="1086928" y="554154"/>
                    </a:cubicBezTo>
                    <a:cubicBezTo>
                      <a:pt x="1050485" y="536324"/>
                      <a:pt x="1017615" y="512075"/>
                      <a:pt x="990461" y="479982"/>
                    </a:cubicBezTo>
                    <a:cubicBezTo>
                      <a:pt x="990461" y="479982"/>
                      <a:pt x="990461" y="479982"/>
                      <a:pt x="1001894" y="432911"/>
                    </a:cubicBezTo>
                    <a:cubicBezTo>
                      <a:pt x="992605" y="419360"/>
                      <a:pt x="985459" y="404383"/>
                      <a:pt x="978314" y="389406"/>
                    </a:cubicBezTo>
                    <a:cubicBezTo>
                      <a:pt x="970453" y="373002"/>
                      <a:pt x="965451" y="355172"/>
                      <a:pt x="961878" y="338769"/>
                    </a:cubicBezTo>
                    <a:cubicBezTo>
                      <a:pt x="961878" y="338769"/>
                      <a:pt x="961878" y="338769"/>
                      <a:pt x="920434" y="314520"/>
                    </a:cubicBezTo>
                    <a:cubicBezTo>
                      <a:pt x="917575" y="271015"/>
                      <a:pt x="922577" y="228936"/>
                      <a:pt x="936869" y="190424"/>
                    </a:cubicBezTo>
                    <a:cubicBezTo>
                      <a:pt x="936869" y="190424"/>
                      <a:pt x="936869" y="190424"/>
                      <a:pt x="983316" y="175447"/>
                    </a:cubicBezTo>
                    <a:cubicBezTo>
                      <a:pt x="996892" y="146919"/>
                      <a:pt x="1016900" y="121957"/>
                      <a:pt x="1041196" y="99848"/>
                    </a:cubicBezTo>
                    <a:cubicBezTo>
                      <a:pt x="1041196" y="99848"/>
                      <a:pt x="1041196" y="99848"/>
                      <a:pt x="1041196" y="49211"/>
                    </a:cubicBezTo>
                    <a:cubicBezTo>
                      <a:pt x="1056916" y="37800"/>
                      <a:pt x="1076209" y="27102"/>
                      <a:pt x="1095503" y="18543"/>
                    </a:cubicBezTo>
                    <a:cubicBezTo>
                      <a:pt x="1115511" y="9272"/>
                      <a:pt x="1135519" y="4279"/>
                      <a:pt x="1155526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vert="horz" wrap="square" lIns="64008" tIns="32004" rIns="64008" bIns="32004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/>
              </a:p>
            </p:txBody>
          </p:sp>
        </p:grpSp>
        <p:grpSp>
          <p:nvGrpSpPr>
            <p:cNvPr id="37" name="Group 36">
              <a:extLst>
                <a:ext uri="{FF2B5EF4-FFF2-40B4-BE49-F238E27FC236}">
                  <a16:creationId xmlns:a16="http://schemas.microsoft.com/office/drawing/2014/main" id="{F8838864-0950-4960-8470-6BCCAF8ECCDB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2172006" y="1871710"/>
              <a:ext cx="977906" cy="977906"/>
              <a:chOff x="2507457" y="3543550"/>
              <a:chExt cx="1647825" cy="1647825"/>
            </a:xfrm>
          </p:grpSpPr>
          <p:sp>
            <p:nvSpPr>
              <p:cNvPr id="38" name="AutoShape 122">
                <a:extLst>
                  <a:ext uri="{FF2B5EF4-FFF2-40B4-BE49-F238E27FC236}">
                    <a16:creationId xmlns:a16="http://schemas.microsoft.com/office/drawing/2014/main" id="{2C1326D1-1808-44E6-A08C-21D7ADB548D7}"/>
                  </a:ext>
                </a:extLst>
              </p:cNvPr>
              <p:cNvSpPr>
                <a:spLocks noChangeAspect="1" noChangeArrowheads="1" noTextEdit="1"/>
              </p:cNvSpPr>
              <p:nvPr/>
            </p:nvSpPr>
            <p:spPr bwMode="auto">
              <a:xfrm>
                <a:off x="2507457" y="3543550"/>
                <a:ext cx="1647825" cy="164782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64008" tIns="32004" rIns="64008" bIns="3200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9" name="Freeform 125">
                <a:extLst>
                  <a:ext uri="{FF2B5EF4-FFF2-40B4-BE49-F238E27FC236}">
                    <a16:creationId xmlns:a16="http://schemas.microsoft.com/office/drawing/2014/main" id="{9EE333CF-DACF-46CE-AAE3-59372F7D147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047547" y="3717151"/>
                <a:ext cx="567645" cy="1300624"/>
              </a:xfrm>
              <a:custGeom>
                <a:avLst/>
                <a:gdLst>
                  <a:gd name="T0" fmla="*/ 581 w 668"/>
                  <a:gd name="T1" fmla="*/ 0 h 1534"/>
                  <a:gd name="T2" fmla="*/ 87 w 668"/>
                  <a:gd name="T3" fmla="*/ 0 h 1534"/>
                  <a:gd name="T4" fmla="*/ 0 w 668"/>
                  <a:gd name="T5" fmla="*/ 87 h 1534"/>
                  <a:gd name="T6" fmla="*/ 87 w 668"/>
                  <a:gd name="T7" fmla="*/ 174 h 1534"/>
                  <a:gd name="T8" fmla="*/ 89 w 668"/>
                  <a:gd name="T9" fmla="*/ 174 h 1534"/>
                  <a:gd name="T10" fmla="*/ 89 w 668"/>
                  <a:gd name="T11" fmla="*/ 1289 h 1534"/>
                  <a:gd name="T12" fmla="*/ 334 w 668"/>
                  <a:gd name="T13" fmla="*/ 1534 h 1534"/>
                  <a:gd name="T14" fmla="*/ 579 w 668"/>
                  <a:gd name="T15" fmla="*/ 1289 h 1534"/>
                  <a:gd name="T16" fmla="*/ 579 w 668"/>
                  <a:gd name="T17" fmla="*/ 174 h 1534"/>
                  <a:gd name="T18" fmla="*/ 581 w 668"/>
                  <a:gd name="T19" fmla="*/ 174 h 1534"/>
                  <a:gd name="T20" fmla="*/ 668 w 668"/>
                  <a:gd name="T21" fmla="*/ 87 h 1534"/>
                  <a:gd name="T22" fmla="*/ 581 w 668"/>
                  <a:gd name="T23" fmla="*/ 0 h 1534"/>
                  <a:gd name="T24" fmla="*/ 581 w 668"/>
                  <a:gd name="T25" fmla="*/ 138 h 1534"/>
                  <a:gd name="T26" fmla="*/ 543 w 668"/>
                  <a:gd name="T27" fmla="*/ 138 h 1534"/>
                  <a:gd name="T28" fmla="*/ 543 w 668"/>
                  <a:gd name="T29" fmla="*/ 1289 h 1534"/>
                  <a:gd name="T30" fmla="*/ 334 w 668"/>
                  <a:gd name="T31" fmla="*/ 1497 h 1534"/>
                  <a:gd name="T32" fmla="*/ 334 w 668"/>
                  <a:gd name="T33" fmla="*/ 1497 h 1534"/>
                  <a:gd name="T34" fmla="*/ 125 w 668"/>
                  <a:gd name="T35" fmla="*/ 1289 h 1534"/>
                  <a:gd name="T36" fmla="*/ 125 w 668"/>
                  <a:gd name="T37" fmla="*/ 138 h 1534"/>
                  <a:gd name="T38" fmla="*/ 87 w 668"/>
                  <a:gd name="T39" fmla="*/ 138 h 1534"/>
                  <a:gd name="T40" fmla="*/ 37 w 668"/>
                  <a:gd name="T41" fmla="*/ 87 h 1534"/>
                  <a:gd name="T42" fmla="*/ 87 w 668"/>
                  <a:gd name="T43" fmla="*/ 37 h 1534"/>
                  <a:gd name="T44" fmla="*/ 581 w 668"/>
                  <a:gd name="T45" fmla="*/ 37 h 1534"/>
                  <a:gd name="T46" fmla="*/ 631 w 668"/>
                  <a:gd name="T47" fmla="*/ 87 h 1534"/>
                  <a:gd name="T48" fmla="*/ 581 w 668"/>
                  <a:gd name="T49" fmla="*/ 138 h 1534"/>
                  <a:gd name="T50" fmla="*/ 165 w 668"/>
                  <a:gd name="T51" fmla="*/ 766 h 1534"/>
                  <a:gd name="T52" fmla="*/ 165 w 668"/>
                  <a:gd name="T53" fmla="*/ 1289 h 1534"/>
                  <a:gd name="T54" fmla="*/ 334 w 668"/>
                  <a:gd name="T55" fmla="*/ 1462 h 1534"/>
                  <a:gd name="T56" fmla="*/ 503 w 668"/>
                  <a:gd name="T57" fmla="*/ 1289 h 1534"/>
                  <a:gd name="T58" fmla="*/ 503 w 668"/>
                  <a:gd name="T59" fmla="*/ 766 h 1534"/>
                  <a:gd name="T60" fmla="*/ 165 w 668"/>
                  <a:gd name="T61" fmla="*/ 766 h 1534"/>
                  <a:gd name="T62" fmla="*/ 165 w 668"/>
                  <a:gd name="T63" fmla="*/ 766 h 1534"/>
                  <a:gd name="T64" fmla="*/ 409 w 668"/>
                  <a:gd name="T65" fmla="*/ 898 h 1534"/>
                  <a:gd name="T66" fmla="*/ 435 w 668"/>
                  <a:gd name="T67" fmla="*/ 925 h 1534"/>
                  <a:gd name="T68" fmla="*/ 409 w 668"/>
                  <a:gd name="T69" fmla="*/ 951 h 1534"/>
                  <a:gd name="T70" fmla="*/ 383 w 668"/>
                  <a:gd name="T71" fmla="*/ 925 h 1534"/>
                  <a:gd name="T72" fmla="*/ 409 w 668"/>
                  <a:gd name="T73" fmla="*/ 898 h 1534"/>
                  <a:gd name="T74" fmla="*/ 277 w 668"/>
                  <a:gd name="T75" fmla="*/ 1362 h 1534"/>
                  <a:gd name="T76" fmla="*/ 219 w 668"/>
                  <a:gd name="T77" fmla="*/ 1302 h 1534"/>
                  <a:gd name="T78" fmla="*/ 277 w 668"/>
                  <a:gd name="T79" fmla="*/ 1243 h 1534"/>
                  <a:gd name="T80" fmla="*/ 336 w 668"/>
                  <a:gd name="T81" fmla="*/ 1302 h 1534"/>
                  <a:gd name="T82" fmla="*/ 277 w 668"/>
                  <a:gd name="T83" fmla="*/ 1362 h 1534"/>
                  <a:gd name="T84" fmla="*/ 316 w 668"/>
                  <a:gd name="T85" fmla="*/ 1008 h 1534"/>
                  <a:gd name="T86" fmla="*/ 350 w 668"/>
                  <a:gd name="T87" fmla="*/ 974 h 1534"/>
                  <a:gd name="T88" fmla="*/ 383 w 668"/>
                  <a:gd name="T89" fmla="*/ 1008 h 1534"/>
                  <a:gd name="T90" fmla="*/ 350 w 668"/>
                  <a:gd name="T91" fmla="*/ 1041 h 1534"/>
                  <a:gd name="T92" fmla="*/ 316 w 668"/>
                  <a:gd name="T93" fmla="*/ 1008 h 1534"/>
                  <a:gd name="T94" fmla="*/ 419 w 668"/>
                  <a:gd name="T95" fmla="*/ 1356 h 1534"/>
                  <a:gd name="T96" fmla="*/ 391 w 668"/>
                  <a:gd name="T97" fmla="*/ 1327 h 1534"/>
                  <a:gd name="T98" fmla="*/ 419 w 668"/>
                  <a:gd name="T99" fmla="*/ 1299 h 1534"/>
                  <a:gd name="T100" fmla="*/ 447 w 668"/>
                  <a:gd name="T101" fmla="*/ 1327 h 1534"/>
                  <a:gd name="T102" fmla="*/ 419 w 668"/>
                  <a:gd name="T103" fmla="*/ 1356 h 1534"/>
                  <a:gd name="T104" fmla="*/ 405 w 668"/>
                  <a:gd name="T105" fmla="*/ 1209 h 1534"/>
                  <a:gd name="T106" fmla="*/ 359 w 668"/>
                  <a:gd name="T107" fmla="*/ 1163 h 1534"/>
                  <a:gd name="T108" fmla="*/ 405 w 668"/>
                  <a:gd name="T109" fmla="*/ 1115 h 1534"/>
                  <a:gd name="T110" fmla="*/ 451 w 668"/>
                  <a:gd name="T111" fmla="*/ 1163 h 1534"/>
                  <a:gd name="T112" fmla="*/ 405 w 668"/>
                  <a:gd name="T113" fmla="*/ 1209 h 15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668" h="1534">
                    <a:moveTo>
                      <a:pt x="581" y="0"/>
                    </a:moveTo>
                    <a:cubicBezTo>
                      <a:pt x="87" y="0"/>
                      <a:pt x="87" y="0"/>
                      <a:pt x="87" y="0"/>
                    </a:cubicBezTo>
                    <a:cubicBezTo>
                      <a:pt x="39" y="0"/>
                      <a:pt x="0" y="40"/>
                      <a:pt x="0" y="87"/>
                    </a:cubicBezTo>
                    <a:cubicBezTo>
                      <a:pt x="0" y="136"/>
                      <a:pt x="39" y="174"/>
                      <a:pt x="87" y="174"/>
                    </a:cubicBezTo>
                    <a:cubicBezTo>
                      <a:pt x="89" y="174"/>
                      <a:pt x="89" y="174"/>
                      <a:pt x="89" y="174"/>
                    </a:cubicBezTo>
                    <a:cubicBezTo>
                      <a:pt x="89" y="1289"/>
                      <a:pt x="89" y="1289"/>
                      <a:pt x="89" y="1289"/>
                    </a:cubicBezTo>
                    <a:cubicBezTo>
                      <a:pt x="89" y="1423"/>
                      <a:pt x="199" y="1534"/>
                      <a:pt x="334" y="1534"/>
                    </a:cubicBezTo>
                    <a:cubicBezTo>
                      <a:pt x="469" y="1534"/>
                      <a:pt x="579" y="1423"/>
                      <a:pt x="579" y="1289"/>
                    </a:cubicBezTo>
                    <a:cubicBezTo>
                      <a:pt x="579" y="174"/>
                      <a:pt x="579" y="174"/>
                      <a:pt x="579" y="174"/>
                    </a:cubicBezTo>
                    <a:cubicBezTo>
                      <a:pt x="581" y="174"/>
                      <a:pt x="581" y="174"/>
                      <a:pt x="581" y="174"/>
                    </a:cubicBezTo>
                    <a:cubicBezTo>
                      <a:pt x="629" y="174"/>
                      <a:pt x="668" y="136"/>
                      <a:pt x="668" y="87"/>
                    </a:cubicBezTo>
                    <a:cubicBezTo>
                      <a:pt x="668" y="40"/>
                      <a:pt x="629" y="0"/>
                      <a:pt x="581" y="0"/>
                    </a:cubicBezTo>
                    <a:close/>
                    <a:moveTo>
                      <a:pt x="581" y="138"/>
                    </a:moveTo>
                    <a:cubicBezTo>
                      <a:pt x="543" y="138"/>
                      <a:pt x="543" y="138"/>
                      <a:pt x="543" y="138"/>
                    </a:cubicBezTo>
                    <a:cubicBezTo>
                      <a:pt x="543" y="1289"/>
                      <a:pt x="543" y="1289"/>
                      <a:pt x="543" y="1289"/>
                    </a:cubicBezTo>
                    <a:cubicBezTo>
                      <a:pt x="543" y="1403"/>
                      <a:pt x="450" y="1497"/>
                      <a:pt x="334" y="1497"/>
                    </a:cubicBezTo>
                    <a:cubicBezTo>
                      <a:pt x="334" y="1497"/>
                      <a:pt x="334" y="1497"/>
                      <a:pt x="334" y="1497"/>
                    </a:cubicBezTo>
                    <a:cubicBezTo>
                      <a:pt x="218" y="1497"/>
                      <a:pt x="125" y="1403"/>
                      <a:pt x="125" y="1289"/>
                    </a:cubicBezTo>
                    <a:cubicBezTo>
                      <a:pt x="125" y="138"/>
                      <a:pt x="125" y="138"/>
                      <a:pt x="125" y="138"/>
                    </a:cubicBezTo>
                    <a:cubicBezTo>
                      <a:pt x="87" y="138"/>
                      <a:pt x="87" y="138"/>
                      <a:pt x="87" y="138"/>
                    </a:cubicBezTo>
                    <a:cubicBezTo>
                      <a:pt x="59" y="138"/>
                      <a:pt x="37" y="115"/>
                      <a:pt x="37" y="87"/>
                    </a:cubicBezTo>
                    <a:cubicBezTo>
                      <a:pt x="37" y="59"/>
                      <a:pt x="59" y="37"/>
                      <a:pt x="87" y="37"/>
                    </a:cubicBezTo>
                    <a:cubicBezTo>
                      <a:pt x="581" y="37"/>
                      <a:pt x="581" y="37"/>
                      <a:pt x="581" y="37"/>
                    </a:cubicBezTo>
                    <a:cubicBezTo>
                      <a:pt x="609" y="37"/>
                      <a:pt x="631" y="59"/>
                      <a:pt x="631" y="87"/>
                    </a:cubicBezTo>
                    <a:cubicBezTo>
                      <a:pt x="631" y="115"/>
                      <a:pt x="609" y="138"/>
                      <a:pt x="581" y="138"/>
                    </a:cubicBezTo>
                    <a:close/>
                    <a:moveTo>
                      <a:pt x="165" y="766"/>
                    </a:moveTo>
                    <a:cubicBezTo>
                      <a:pt x="165" y="1289"/>
                      <a:pt x="165" y="1289"/>
                      <a:pt x="165" y="1289"/>
                    </a:cubicBezTo>
                    <a:cubicBezTo>
                      <a:pt x="165" y="1385"/>
                      <a:pt x="240" y="1462"/>
                      <a:pt x="334" y="1462"/>
                    </a:cubicBezTo>
                    <a:cubicBezTo>
                      <a:pt x="428" y="1462"/>
                      <a:pt x="503" y="1385"/>
                      <a:pt x="503" y="1289"/>
                    </a:cubicBezTo>
                    <a:cubicBezTo>
                      <a:pt x="503" y="766"/>
                      <a:pt x="503" y="766"/>
                      <a:pt x="503" y="766"/>
                    </a:cubicBezTo>
                    <a:cubicBezTo>
                      <a:pt x="165" y="766"/>
                      <a:pt x="165" y="766"/>
                      <a:pt x="165" y="766"/>
                    </a:cubicBezTo>
                    <a:cubicBezTo>
                      <a:pt x="165" y="766"/>
                      <a:pt x="165" y="766"/>
                      <a:pt x="165" y="766"/>
                    </a:cubicBezTo>
                    <a:close/>
                    <a:moveTo>
                      <a:pt x="409" y="898"/>
                    </a:moveTo>
                    <a:cubicBezTo>
                      <a:pt x="424" y="898"/>
                      <a:pt x="435" y="910"/>
                      <a:pt x="435" y="925"/>
                    </a:cubicBezTo>
                    <a:cubicBezTo>
                      <a:pt x="435" y="939"/>
                      <a:pt x="424" y="951"/>
                      <a:pt x="409" y="951"/>
                    </a:cubicBezTo>
                    <a:cubicBezTo>
                      <a:pt x="394" y="951"/>
                      <a:pt x="383" y="939"/>
                      <a:pt x="383" y="925"/>
                    </a:cubicBezTo>
                    <a:cubicBezTo>
                      <a:pt x="383" y="910"/>
                      <a:pt x="394" y="898"/>
                      <a:pt x="409" y="898"/>
                    </a:cubicBezTo>
                    <a:close/>
                    <a:moveTo>
                      <a:pt x="277" y="1362"/>
                    </a:moveTo>
                    <a:cubicBezTo>
                      <a:pt x="244" y="1362"/>
                      <a:pt x="219" y="1335"/>
                      <a:pt x="219" y="1302"/>
                    </a:cubicBezTo>
                    <a:cubicBezTo>
                      <a:pt x="219" y="1270"/>
                      <a:pt x="244" y="1243"/>
                      <a:pt x="277" y="1243"/>
                    </a:cubicBezTo>
                    <a:cubicBezTo>
                      <a:pt x="309" y="1243"/>
                      <a:pt x="336" y="1270"/>
                      <a:pt x="336" y="1302"/>
                    </a:cubicBezTo>
                    <a:cubicBezTo>
                      <a:pt x="336" y="1335"/>
                      <a:pt x="309" y="1362"/>
                      <a:pt x="277" y="1362"/>
                    </a:cubicBezTo>
                    <a:close/>
                    <a:moveTo>
                      <a:pt x="316" y="1008"/>
                    </a:moveTo>
                    <a:cubicBezTo>
                      <a:pt x="316" y="989"/>
                      <a:pt x="331" y="974"/>
                      <a:pt x="350" y="974"/>
                    </a:cubicBezTo>
                    <a:cubicBezTo>
                      <a:pt x="367" y="974"/>
                      <a:pt x="383" y="989"/>
                      <a:pt x="383" y="1008"/>
                    </a:cubicBezTo>
                    <a:cubicBezTo>
                      <a:pt x="383" y="1026"/>
                      <a:pt x="367" y="1041"/>
                      <a:pt x="350" y="1041"/>
                    </a:cubicBezTo>
                    <a:cubicBezTo>
                      <a:pt x="331" y="1041"/>
                      <a:pt x="316" y="1026"/>
                      <a:pt x="316" y="1008"/>
                    </a:cubicBezTo>
                    <a:close/>
                    <a:moveTo>
                      <a:pt x="419" y="1356"/>
                    </a:moveTo>
                    <a:cubicBezTo>
                      <a:pt x="403" y="1356"/>
                      <a:pt x="391" y="1343"/>
                      <a:pt x="391" y="1327"/>
                    </a:cubicBezTo>
                    <a:cubicBezTo>
                      <a:pt x="391" y="1311"/>
                      <a:pt x="403" y="1299"/>
                      <a:pt x="419" y="1299"/>
                    </a:cubicBezTo>
                    <a:cubicBezTo>
                      <a:pt x="434" y="1299"/>
                      <a:pt x="447" y="1311"/>
                      <a:pt x="447" y="1327"/>
                    </a:cubicBezTo>
                    <a:cubicBezTo>
                      <a:pt x="447" y="1343"/>
                      <a:pt x="434" y="1356"/>
                      <a:pt x="419" y="1356"/>
                    </a:cubicBezTo>
                    <a:close/>
                    <a:moveTo>
                      <a:pt x="405" y="1209"/>
                    </a:moveTo>
                    <a:cubicBezTo>
                      <a:pt x="379" y="1209"/>
                      <a:pt x="359" y="1188"/>
                      <a:pt x="359" y="1163"/>
                    </a:cubicBezTo>
                    <a:cubicBezTo>
                      <a:pt x="359" y="1136"/>
                      <a:pt x="379" y="1115"/>
                      <a:pt x="405" y="1115"/>
                    </a:cubicBezTo>
                    <a:cubicBezTo>
                      <a:pt x="430" y="1115"/>
                      <a:pt x="451" y="1136"/>
                      <a:pt x="451" y="1163"/>
                    </a:cubicBezTo>
                    <a:cubicBezTo>
                      <a:pt x="451" y="1188"/>
                      <a:pt x="430" y="1209"/>
                      <a:pt x="405" y="1209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4008" tIns="32004" rIns="64008" bIns="3200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40" name="Group 39">
              <a:extLst>
                <a:ext uri="{FF2B5EF4-FFF2-40B4-BE49-F238E27FC236}">
                  <a16:creationId xmlns:a16="http://schemas.microsoft.com/office/drawing/2014/main" id="{53494A45-457A-4B56-BC4A-6936C1DEF88F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5073645" y="1782650"/>
              <a:ext cx="1157140" cy="1156024"/>
              <a:chOff x="5272881" y="2606675"/>
              <a:chExt cx="1646238" cy="1644650"/>
            </a:xfrm>
          </p:grpSpPr>
          <p:sp>
            <p:nvSpPr>
              <p:cNvPr id="41" name="AutoShape 13">
                <a:extLst>
                  <a:ext uri="{FF2B5EF4-FFF2-40B4-BE49-F238E27FC236}">
                    <a16:creationId xmlns:a16="http://schemas.microsoft.com/office/drawing/2014/main" id="{B8A0EAAD-E276-40DA-B2FD-D456EC5C1190}"/>
                  </a:ext>
                </a:extLst>
              </p:cNvPr>
              <p:cNvSpPr>
                <a:spLocks noChangeAspect="1" noChangeArrowheads="1" noTextEdit="1"/>
              </p:cNvSpPr>
              <p:nvPr/>
            </p:nvSpPr>
            <p:spPr bwMode="auto">
              <a:xfrm>
                <a:off x="5272881" y="2606675"/>
                <a:ext cx="1646238" cy="164465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64008" tIns="32004" rIns="64008" bIns="3200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2" name="Freeform 12">
                <a:extLst>
                  <a:ext uri="{FF2B5EF4-FFF2-40B4-BE49-F238E27FC236}">
                    <a16:creationId xmlns:a16="http://schemas.microsoft.com/office/drawing/2014/main" id="{36F65A3A-3E0F-4727-AE6C-4BAD3F9D54F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37994" y="3032124"/>
                <a:ext cx="1153373" cy="976314"/>
              </a:xfrm>
              <a:custGeom>
                <a:avLst/>
                <a:gdLst>
                  <a:gd name="connsiteX0" fmla="*/ 409739 w 1153373"/>
                  <a:gd name="connsiteY0" fmla="*/ 466564 h 976314"/>
                  <a:gd name="connsiteX1" fmla="*/ 326138 w 1153373"/>
                  <a:gd name="connsiteY1" fmla="*/ 486506 h 976314"/>
                  <a:gd name="connsiteX2" fmla="*/ 31750 w 1153373"/>
                  <a:gd name="connsiteY2" fmla="*/ 653165 h 976314"/>
                  <a:gd name="connsiteX3" fmla="*/ 31750 w 1153373"/>
                  <a:gd name="connsiteY3" fmla="*/ 936627 h 976314"/>
                  <a:gd name="connsiteX4" fmla="*/ 368296 w 1153373"/>
                  <a:gd name="connsiteY4" fmla="*/ 807004 h 976314"/>
                  <a:gd name="connsiteX5" fmla="*/ 419028 w 1153373"/>
                  <a:gd name="connsiteY5" fmla="*/ 799169 h 976314"/>
                  <a:gd name="connsiteX6" fmla="*/ 568366 w 1153373"/>
                  <a:gd name="connsiteY6" fmla="*/ 809852 h 976314"/>
                  <a:gd name="connsiteX7" fmla="*/ 797017 w 1153373"/>
                  <a:gd name="connsiteY7" fmla="*/ 783500 h 976314"/>
                  <a:gd name="connsiteX8" fmla="*/ 1047818 w 1153373"/>
                  <a:gd name="connsiteY8" fmla="*/ 617554 h 976314"/>
                  <a:gd name="connsiteX9" fmla="*/ 1079972 w 1153373"/>
                  <a:gd name="connsiteY9" fmla="*/ 580518 h 976314"/>
                  <a:gd name="connsiteX10" fmla="*/ 1074971 w 1153373"/>
                  <a:gd name="connsiteY10" fmla="*/ 506448 h 976314"/>
                  <a:gd name="connsiteX11" fmla="*/ 1036386 w 1153373"/>
                  <a:gd name="connsiteY11" fmla="*/ 492916 h 976314"/>
                  <a:gd name="connsiteX12" fmla="*/ 999230 w 1153373"/>
                  <a:gd name="connsiteY12" fmla="*/ 510721 h 976314"/>
                  <a:gd name="connsiteX13" fmla="*/ 951356 w 1153373"/>
                  <a:gd name="connsiteY13" fmla="*/ 564137 h 976314"/>
                  <a:gd name="connsiteX14" fmla="*/ 805591 w 1153373"/>
                  <a:gd name="connsiteY14" fmla="*/ 655301 h 976314"/>
                  <a:gd name="connsiteX15" fmla="*/ 608380 w 1153373"/>
                  <a:gd name="connsiteY15" fmla="*/ 644618 h 976314"/>
                  <a:gd name="connsiteX16" fmla="*/ 553360 w 1153373"/>
                  <a:gd name="connsiteY16" fmla="*/ 622539 h 976314"/>
                  <a:gd name="connsiteX17" fmla="*/ 544071 w 1153373"/>
                  <a:gd name="connsiteY17" fmla="*/ 606158 h 976314"/>
                  <a:gd name="connsiteX18" fmla="*/ 557648 w 1153373"/>
                  <a:gd name="connsiteY18" fmla="*/ 592626 h 976314"/>
                  <a:gd name="connsiteX19" fmla="*/ 715560 w 1153373"/>
                  <a:gd name="connsiteY19" fmla="*/ 576957 h 976314"/>
                  <a:gd name="connsiteX20" fmla="*/ 759146 w 1153373"/>
                  <a:gd name="connsiteY20" fmla="*/ 529951 h 976314"/>
                  <a:gd name="connsiteX21" fmla="*/ 713416 w 1153373"/>
                  <a:gd name="connsiteY21" fmla="*/ 482232 h 976314"/>
                  <a:gd name="connsiteX22" fmla="*/ 409739 w 1153373"/>
                  <a:gd name="connsiteY22" fmla="*/ 466564 h 976314"/>
                  <a:gd name="connsiteX23" fmla="*/ 390213 w 1153373"/>
                  <a:gd name="connsiteY23" fmla="*/ 434976 h 976314"/>
                  <a:gd name="connsiteX24" fmla="*/ 393072 w 1153373"/>
                  <a:gd name="connsiteY24" fmla="*/ 434976 h 976314"/>
                  <a:gd name="connsiteX25" fmla="*/ 397360 w 1153373"/>
                  <a:gd name="connsiteY25" fmla="*/ 434976 h 976314"/>
                  <a:gd name="connsiteX26" fmla="*/ 399504 w 1153373"/>
                  <a:gd name="connsiteY26" fmla="*/ 434976 h 976314"/>
                  <a:gd name="connsiteX27" fmla="*/ 403077 w 1153373"/>
                  <a:gd name="connsiteY27" fmla="*/ 434976 h 976314"/>
                  <a:gd name="connsiteX28" fmla="*/ 410939 w 1153373"/>
                  <a:gd name="connsiteY28" fmla="*/ 434976 h 976314"/>
                  <a:gd name="connsiteX29" fmla="*/ 715390 w 1153373"/>
                  <a:gd name="connsiteY29" fmla="*/ 450688 h 976314"/>
                  <a:gd name="connsiteX30" fmla="*/ 780426 w 1153373"/>
                  <a:gd name="connsiteY30" fmla="*/ 491395 h 976314"/>
                  <a:gd name="connsiteX31" fmla="*/ 782570 w 1153373"/>
                  <a:gd name="connsiteY31" fmla="*/ 495680 h 976314"/>
                  <a:gd name="connsiteX32" fmla="*/ 789002 w 1153373"/>
                  <a:gd name="connsiteY32" fmla="*/ 514249 h 976314"/>
                  <a:gd name="connsiteX33" fmla="*/ 790431 w 1153373"/>
                  <a:gd name="connsiteY33" fmla="*/ 529960 h 976314"/>
                  <a:gd name="connsiteX34" fmla="*/ 789716 w 1153373"/>
                  <a:gd name="connsiteY34" fmla="*/ 535674 h 976314"/>
                  <a:gd name="connsiteX35" fmla="*/ 789716 w 1153373"/>
                  <a:gd name="connsiteY35" fmla="*/ 536388 h 976314"/>
                  <a:gd name="connsiteX36" fmla="*/ 789002 w 1153373"/>
                  <a:gd name="connsiteY36" fmla="*/ 542101 h 976314"/>
                  <a:gd name="connsiteX37" fmla="*/ 763988 w 1153373"/>
                  <a:gd name="connsiteY37" fmla="*/ 589236 h 976314"/>
                  <a:gd name="connsiteX38" fmla="*/ 763273 w 1153373"/>
                  <a:gd name="connsiteY38" fmla="*/ 589236 h 976314"/>
                  <a:gd name="connsiteX39" fmla="*/ 758985 w 1153373"/>
                  <a:gd name="connsiteY39" fmla="*/ 592807 h 976314"/>
                  <a:gd name="connsiteX40" fmla="*/ 754697 w 1153373"/>
                  <a:gd name="connsiteY40" fmla="*/ 595664 h 976314"/>
                  <a:gd name="connsiteX41" fmla="*/ 753983 w 1153373"/>
                  <a:gd name="connsiteY41" fmla="*/ 596378 h 976314"/>
                  <a:gd name="connsiteX42" fmla="*/ 749695 w 1153373"/>
                  <a:gd name="connsiteY42" fmla="*/ 599234 h 976314"/>
                  <a:gd name="connsiteX43" fmla="*/ 748265 w 1153373"/>
                  <a:gd name="connsiteY43" fmla="*/ 599949 h 976314"/>
                  <a:gd name="connsiteX44" fmla="*/ 743263 w 1153373"/>
                  <a:gd name="connsiteY44" fmla="*/ 602091 h 976314"/>
                  <a:gd name="connsiteX45" fmla="*/ 742548 w 1153373"/>
                  <a:gd name="connsiteY45" fmla="*/ 602805 h 976314"/>
                  <a:gd name="connsiteX46" fmla="*/ 738260 w 1153373"/>
                  <a:gd name="connsiteY46" fmla="*/ 604234 h 976314"/>
                  <a:gd name="connsiteX47" fmla="*/ 718964 w 1153373"/>
                  <a:gd name="connsiteY47" fmla="*/ 608519 h 976314"/>
                  <a:gd name="connsiteX48" fmla="*/ 624626 w 1153373"/>
                  <a:gd name="connsiteY48" fmla="*/ 617803 h 976314"/>
                  <a:gd name="connsiteX49" fmla="*/ 743263 w 1153373"/>
                  <a:gd name="connsiteY49" fmla="*/ 634943 h 976314"/>
                  <a:gd name="connsiteX50" fmla="*/ 774708 w 1153373"/>
                  <a:gd name="connsiteY50" fmla="*/ 630658 h 976314"/>
                  <a:gd name="connsiteX51" fmla="*/ 775423 w 1153373"/>
                  <a:gd name="connsiteY51" fmla="*/ 630658 h 976314"/>
                  <a:gd name="connsiteX52" fmla="*/ 785428 w 1153373"/>
                  <a:gd name="connsiteY52" fmla="*/ 628515 h 976314"/>
                  <a:gd name="connsiteX53" fmla="*/ 786858 w 1153373"/>
                  <a:gd name="connsiteY53" fmla="*/ 627801 h 976314"/>
                  <a:gd name="connsiteX54" fmla="*/ 796863 w 1153373"/>
                  <a:gd name="connsiteY54" fmla="*/ 625659 h 976314"/>
                  <a:gd name="connsiteX55" fmla="*/ 826880 w 1153373"/>
                  <a:gd name="connsiteY55" fmla="*/ 614946 h 976314"/>
                  <a:gd name="connsiteX56" fmla="*/ 909782 w 1153373"/>
                  <a:gd name="connsiteY56" fmla="*/ 562098 h 976314"/>
                  <a:gd name="connsiteX57" fmla="*/ 928363 w 1153373"/>
                  <a:gd name="connsiteY57" fmla="*/ 543529 h 976314"/>
                  <a:gd name="connsiteX58" fmla="*/ 975532 w 1153373"/>
                  <a:gd name="connsiteY58" fmla="*/ 489967 h 976314"/>
                  <a:gd name="connsiteX59" fmla="*/ 978391 w 1153373"/>
                  <a:gd name="connsiteY59" fmla="*/ 486396 h 976314"/>
                  <a:gd name="connsiteX60" fmla="*/ 979105 w 1153373"/>
                  <a:gd name="connsiteY60" fmla="*/ 486396 h 976314"/>
                  <a:gd name="connsiteX61" fmla="*/ 1034135 w 1153373"/>
                  <a:gd name="connsiteY61" fmla="*/ 461400 h 976314"/>
                  <a:gd name="connsiteX62" fmla="*/ 1034850 w 1153373"/>
                  <a:gd name="connsiteY62" fmla="*/ 461400 h 976314"/>
                  <a:gd name="connsiteX63" fmla="*/ 1039138 w 1153373"/>
                  <a:gd name="connsiteY63" fmla="*/ 461400 h 976314"/>
                  <a:gd name="connsiteX64" fmla="*/ 1040567 w 1153373"/>
                  <a:gd name="connsiteY64" fmla="*/ 461400 h 976314"/>
                  <a:gd name="connsiteX65" fmla="*/ 1079875 w 1153373"/>
                  <a:gd name="connsiteY65" fmla="*/ 472113 h 976314"/>
                  <a:gd name="connsiteX66" fmla="*/ 1083448 w 1153373"/>
                  <a:gd name="connsiteY66" fmla="*/ 474255 h 976314"/>
                  <a:gd name="connsiteX67" fmla="*/ 1086307 w 1153373"/>
                  <a:gd name="connsiteY67" fmla="*/ 475684 h 976314"/>
                  <a:gd name="connsiteX68" fmla="*/ 1087021 w 1153373"/>
                  <a:gd name="connsiteY68" fmla="*/ 476398 h 976314"/>
                  <a:gd name="connsiteX69" fmla="*/ 1089880 w 1153373"/>
                  <a:gd name="connsiteY69" fmla="*/ 478540 h 976314"/>
                  <a:gd name="connsiteX70" fmla="*/ 1090595 w 1153373"/>
                  <a:gd name="connsiteY70" fmla="*/ 479254 h 976314"/>
                  <a:gd name="connsiteX71" fmla="*/ 1092739 w 1153373"/>
                  <a:gd name="connsiteY71" fmla="*/ 480683 h 976314"/>
                  <a:gd name="connsiteX72" fmla="*/ 1095597 w 1153373"/>
                  <a:gd name="connsiteY72" fmla="*/ 482825 h 976314"/>
                  <a:gd name="connsiteX73" fmla="*/ 1095597 w 1153373"/>
                  <a:gd name="connsiteY73" fmla="*/ 483539 h 976314"/>
                  <a:gd name="connsiteX74" fmla="*/ 1103459 w 1153373"/>
                  <a:gd name="connsiteY74" fmla="*/ 600663 h 976314"/>
                  <a:gd name="connsiteX75" fmla="*/ 1072013 w 1153373"/>
                  <a:gd name="connsiteY75" fmla="*/ 638514 h 976314"/>
                  <a:gd name="connsiteX76" fmla="*/ 966241 w 1153373"/>
                  <a:gd name="connsiteY76" fmla="*/ 734926 h 976314"/>
                  <a:gd name="connsiteX77" fmla="*/ 956950 w 1153373"/>
                  <a:gd name="connsiteY77" fmla="*/ 741353 h 976314"/>
                  <a:gd name="connsiteX78" fmla="*/ 948374 w 1153373"/>
                  <a:gd name="connsiteY78" fmla="*/ 747067 h 976314"/>
                  <a:gd name="connsiteX79" fmla="*/ 806154 w 1153373"/>
                  <a:gd name="connsiteY79" fmla="*/ 814198 h 976314"/>
                  <a:gd name="connsiteX80" fmla="*/ 792575 w 1153373"/>
                  <a:gd name="connsiteY80" fmla="*/ 818483 h 976314"/>
                  <a:gd name="connsiteX81" fmla="*/ 788287 w 1153373"/>
                  <a:gd name="connsiteY81" fmla="*/ 819198 h 976314"/>
                  <a:gd name="connsiteX82" fmla="*/ 779711 w 1153373"/>
                  <a:gd name="connsiteY82" fmla="*/ 822054 h 976314"/>
                  <a:gd name="connsiteX83" fmla="*/ 773994 w 1153373"/>
                  <a:gd name="connsiteY83" fmla="*/ 823483 h 976314"/>
                  <a:gd name="connsiteX84" fmla="*/ 766132 w 1153373"/>
                  <a:gd name="connsiteY84" fmla="*/ 824911 h 976314"/>
                  <a:gd name="connsiteX85" fmla="*/ 759700 w 1153373"/>
                  <a:gd name="connsiteY85" fmla="*/ 827053 h 976314"/>
                  <a:gd name="connsiteX86" fmla="*/ 753983 w 1153373"/>
                  <a:gd name="connsiteY86" fmla="*/ 827768 h 976314"/>
                  <a:gd name="connsiteX87" fmla="*/ 723966 w 1153373"/>
                  <a:gd name="connsiteY87" fmla="*/ 834195 h 976314"/>
                  <a:gd name="connsiteX88" fmla="*/ 721822 w 1153373"/>
                  <a:gd name="connsiteY88" fmla="*/ 834195 h 976314"/>
                  <a:gd name="connsiteX89" fmla="*/ 711102 w 1153373"/>
                  <a:gd name="connsiteY89" fmla="*/ 836338 h 976314"/>
                  <a:gd name="connsiteX90" fmla="*/ 709673 w 1153373"/>
                  <a:gd name="connsiteY90" fmla="*/ 836338 h 976314"/>
                  <a:gd name="connsiteX91" fmla="*/ 650355 w 1153373"/>
                  <a:gd name="connsiteY91" fmla="*/ 842765 h 976314"/>
                  <a:gd name="connsiteX92" fmla="*/ 648211 w 1153373"/>
                  <a:gd name="connsiteY92" fmla="*/ 842765 h 976314"/>
                  <a:gd name="connsiteX93" fmla="*/ 637491 w 1153373"/>
                  <a:gd name="connsiteY93" fmla="*/ 843479 h 976314"/>
                  <a:gd name="connsiteX94" fmla="*/ 635347 w 1153373"/>
                  <a:gd name="connsiteY94" fmla="*/ 843479 h 976314"/>
                  <a:gd name="connsiteX95" fmla="*/ 621053 w 1153373"/>
                  <a:gd name="connsiteY95" fmla="*/ 843479 h 976314"/>
                  <a:gd name="connsiteX96" fmla="*/ 619624 w 1153373"/>
                  <a:gd name="connsiteY96" fmla="*/ 843479 h 976314"/>
                  <a:gd name="connsiteX97" fmla="*/ 612477 w 1153373"/>
                  <a:gd name="connsiteY97" fmla="*/ 843479 h 976314"/>
                  <a:gd name="connsiteX98" fmla="*/ 606045 w 1153373"/>
                  <a:gd name="connsiteY98" fmla="*/ 843479 h 976314"/>
                  <a:gd name="connsiteX99" fmla="*/ 598898 w 1153373"/>
                  <a:gd name="connsiteY99" fmla="*/ 843479 h 976314"/>
                  <a:gd name="connsiteX100" fmla="*/ 592466 w 1153373"/>
                  <a:gd name="connsiteY100" fmla="*/ 843479 h 976314"/>
                  <a:gd name="connsiteX101" fmla="*/ 584605 w 1153373"/>
                  <a:gd name="connsiteY101" fmla="*/ 842765 h 976314"/>
                  <a:gd name="connsiteX102" fmla="*/ 578887 w 1153373"/>
                  <a:gd name="connsiteY102" fmla="*/ 842765 h 976314"/>
                  <a:gd name="connsiteX103" fmla="*/ 566738 w 1153373"/>
                  <a:gd name="connsiteY103" fmla="*/ 842051 h 976314"/>
                  <a:gd name="connsiteX104" fmla="*/ 566023 w 1153373"/>
                  <a:gd name="connsiteY104" fmla="*/ 842051 h 976314"/>
                  <a:gd name="connsiteX105" fmla="*/ 485265 w 1153373"/>
                  <a:gd name="connsiteY105" fmla="*/ 836338 h 976314"/>
                  <a:gd name="connsiteX106" fmla="*/ 416656 w 1153373"/>
                  <a:gd name="connsiteY106" fmla="*/ 831338 h 976314"/>
                  <a:gd name="connsiteX107" fmla="*/ 410939 w 1153373"/>
                  <a:gd name="connsiteY107" fmla="*/ 831338 h 976314"/>
                  <a:gd name="connsiteX108" fmla="*/ 407365 w 1153373"/>
                  <a:gd name="connsiteY108" fmla="*/ 831338 h 976314"/>
                  <a:gd name="connsiteX109" fmla="*/ 393072 w 1153373"/>
                  <a:gd name="connsiteY109" fmla="*/ 832767 h 976314"/>
                  <a:gd name="connsiteX110" fmla="*/ 388784 w 1153373"/>
                  <a:gd name="connsiteY110" fmla="*/ 833481 h 976314"/>
                  <a:gd name="connsiteX111" fmla="*/ 388784 w 1153373"/>
                  <a:gd name="connsiteY111" fmla="*/ 834195 h 976314"/>
                  <a:gd name="connsiteX112" fmla="*/ 384496 w 1153373"/>
                  <a:gd name="connsiteY112" fmla="*/ 834909 h 976314"/>
                  <a:gd name="connsiteX113" fmla="*/ 383781 w 1153373"/>
                  <a:gd name="connsiteY113" fmla="*/ 835623 h 976314"/>
                  <a:gd name="connsiteX114" fmla="*/ 379493 w 1153373"/>
                  <a:gd name="connsiteY114" fmla="*/ 837052 h 976314"/>
                  <a:gd name="connsiteX115" fmla="*/ 21441 w 1153373"/>
                  <a:gd name="connsiteY115" fmla="*/ 975600 h 976314"/>
                  <a:gd name="connsiteX116" fmla="*/ 15723 w 1153373"/>
                  <a:gd name="connsiteY116" fmla="*/ 976314 h 976314"/>
                  <a:gd name="connsiteX117" fmla="*/ 7147 w 1153373"/>
                  <a:gd name="connsiteY117" fmla="*/ 973457 h 976314"/>
                  <a:gd name="connsiteX118" fmla="*/ 0 w 1153373"/>
                  <a:gd name="connsiteY118" fmla="*/ 960602 h 976314"/>
                  <a:gd name="connsiteX119" fmla="*/ 0 w 1153373"/>
                  <a:gd name="connsiteY119" fmla="*/ 644227 h 976314"/>
                  <a:gd name="connsiteX120" fmla="*/ 7862 w 1153373"/>
                  <a:gd name="connsiteY120" fmla="*/ 630658 h 976314"/>
                  <a:gd name="connsiteX121" fmla="*/ 310169 w 1153373"/>
                  <a:gd name="connsiteY121" fmla="*/ 459258 h 976314"/>
                  <a:gd name="connsiteX122" fmla="*/ 315887 w 1153373"/>
                  <a:gd name="connsiteY122" fmla="*/ 456401 h 976314"/>
                  <a:gd name="connsiteX123" fmla="*/ 318031 w 1153373"/>
                  <a:gd name="connsiteY123" fmla="*/ 454973 h 976314"/>
                  <a:gd name="connsiteX124" fmla="*/ 320889 w 1153373"/>
                  <a:gd name="connsiteY124" fmla="*/ 453544 h 976314"/>
                  <a:gd name="connsiteX125" fmla="*/ 324463 w 1153373"/>
                  <a:gd name="connsiteY125" fmla="*/ 452116 h 976314"/>
                  <a:gd name="connsiteX126" fmla="*/ 326607 w 1153373"/>
                  <a:gd name="connsiteY126" fmla="*/ 450688 h 976314"/>
                  <a:gd name="connsiteX127" fmla="*/ 330180 w 1153373"/>
                  <a:gd name="connsiteY127" fmla="*/ 449259 h 976314"/>
                  <a:gd name="connsiteX128" fmla="*/ 332324 w 1153373"/>
                  <a:gd name="connsiteY128" fmla="*/ 448545 h 976314"/>
                  <a:gd name="connsiteX129" fmla="*/ 336612 w 1153373"/>
                  <a:gd name="connsiteY129" fmla="*/ 447117 h 976314"/>
                  <a:gd name="connsiteX130" fmla="*/ 338042 w 1153373"/>
                  <a:gd name="connsiteY130" fmla="*/ 446403 h 976314"/>
                  <a:gd name="connsiteX131" fmla="*/ 342330 w 1153373"/>
                  <a:gd name="connsiteY131" fmla="*/ 444974 h 976314"/>
                  <a:gd name="connsiteX132" fmla="*/ 343759 w 1153373"/>
                  <a:gd name="connsiteY132" fmla="*/ 444260 h 976314"/>
                  <a:gd name="connsiteX133" fmla="*/ 348047 w 1153373"/>
                  <a:gd name="connsiteY133" fmla="*/ 442832 h 976314"/>
                  <a:gd name="connsiteX134" fmla="*/ 349476 w 1153373"/>
                  <a:gd name="connsiteY134" fmla="*/ 442832 h 976314"/>
                  <a:gd name="connsiteX135" fmla="*/ 354479 w 1153373"/>
                  <a:gd name="connsiteY135" fmla="*/ 441404 h 976314"/>
                  <a:gd name="connsiteX136" fmla="*/ 354479 w 1153373"/>
                  <a:gd name="connsiteY136" fmla="*/ 440689 h 976314"/>
                  <a:gd name="connsiteX137" fmla="*/ 381637 w 1153373"/>
                  <a:gd name="connsiteY137" fmla="*/ 436404 h 976314"/>
                  <a:gd name="connsiteX138" fmla="*/ 383781 w 1153373"/>
                  <a:gd name="connsiteY138" fmla="*/ 435690 h 976314"/>
                  <a:gd name="connsiteX139" fmla="*/ 387354 w 1153373"/>
                  <a:gd name="connsiteY139" fmla="*/ 435690 h 976314"/>
                  <a:gd name="connsiteX140" fmla="*/ 390213 w 1153373"/>
                  <a:gd name="connsiteY140" fmla="*/ 434976 h 976314"/>
                  <a:gd name="connsiteX141" fmla="*/ 332731 w 1153373"/>
                  <a:gd name="connsiteY141" fmla="*/ 256303 h 976314"/>
                  <a:gd name="connsiteX142" fmla="*/ 513193 w 1153373"/>
                  <a:gd name="connsiteY142" fmla="*/ 256303 h 976314"/>
                  <a:gd name="connsiteX143" fmla="*/ 531025 w 1153373"/>
                  <a:gd name="connsiteY143" fmla="*/ 265589 h 976314"/>
                  <a:gd name="connsiteX144" fmla="*/ 587375 w 1153373"/>
                  <a:gd name="connsiteY144" fmla="*/ 412751 h 976314"/>
                  <a:gd name="connsiteX145" fmla="*/ 471822 w 1153373"/>
                  <a:gd name="connsiteY145" fmla="*/ 407036 h 976314"/>
                  <a:gd name="connsiteX146" fmla="*/ 329165 w 1153373"/>
                  <a:gd name="connsiteY146" fmla="*/ 264161 h 976314"/>
                  <a:gd name="connsiteX147" fmla="*/ 332731 w 1153373"/>
                  <a:gd name="connsiteY147" fmla="*/ 256303 h 976314"/>
                  <a:gd name="connsiteX148" fmla="*/ 963938 w 1153373"/>
                  <a:gd name="connsiteY148" fmla="*/ 255588 h 976314"/>
                  <a:gd name="connsiteX149" fmla="*/ 1137447 w 1153373"/>
                  <a:gd name="connsiteY149" fmla="*/ 256301 h 976314"/>
                  <a:gd name="connsiteX150" fmla="*/ 1141017 w 1153373"/>
                  <a:gd name="connsiteY150" fmla="*/ 264138 h 976314"/>
                  <a:gd name="connsiteX151" fmla="*/ 826845 w 1153373"/>
                  <a:gd name="connsiteY151" fmla="*/ 578338 h 976314"/>
                  <a:gd name="connsiteX152" fmla="*/ 818990 w 1153373"/>
                  <a:gd name="connsiteY152" fmla="*/ 574063 h 976314"/>
                  <a:gd name="connsiteX153" fmla="*/ 818990 w 1153373"/>
                  <a:gd name="connsiteY153" fmla="*/ 573351 h 976314"/>
                  <a:gd name="connsiteX154" fmla="*/ 930379 w 1153373"/>
                  <a:gd name="connsiteY154" fmla="*/ 278387 h 976314"/>
                  <a:gd name="connsiteX155" fmla="*/ 963938 w 1153373"/>
                  <a:gd name="connsiteY155" fmla="*/ 255588 h 976314"/>
                  <a:gd name="connsiteX156" fmla="*/ 581265 w 1153373"/>
                  <a:gd name="connsiteY156" fmla="*/ 255588 h 976314"/>
                  <a:gd name="connsiteX157" fmla="*/ 886457 w 1153373"/>
                  <a:gd name="connsiteY157" fmla="*/ 255588 h 976314"/>
                  <a:gd name="connsiteX158" fmla="*/ 890746 w 1153373"/>
                  <a:gd name="connsiteY158" fmla="*/ 262020 h 976314"/>
                  <a:gd name="connsiteX159" fmla="*/ 809981 w 1153373"/>
                  <a:gd name="connsiteY159" fmla="*/ 477838 h 976314"/>
                  <a:gd name="connsiteX160" fmla="*/ 717780 w 1153373"/>
                  <a:gd name="connsiteY160" fmla="*/ 419238 h 976314"/>
                  <a:gd name="connsiteX161" fmla="*/ 634156 w 1153373"/>
                  <a:gd name="connsiteY161" fmla="*/ 414951 h 976314"/>
                  <a:gd name="connsiteX162" fmla="*/ 576976 w 1153373"/>
                  <a:gd name="connsiteY162" fmla="*/ 262020 h 976314"/>
                  <a:gd name="connsiteX163" fmla="*/ 581265 w 1153373"/>
                  <a:gd name="connsiteY163" fmla="*/ 255588 h 976314"/>
                  <a:gd name="connsiteX164" fmla="*/ 688212 w 1153373"/>
                  <a:gd name="connsiteY164" fmla="*/ 1433 h 976314"/>
                  <a:gd name="connsiteX165" fmla="*/ 778638 w 1153373"/>
                  <a:gd name="connsiteY165" fmla="*/ 1433 h 976314"/>
                  <a:gd name="connsiteX166" fmla="*/ 799287 w 1153373"/>
                  <a:gd name="connsiteY166" fmla="*/ 12176 h 976314"/>
                  <a:gd name="connsiteX167" fmla="*/ 888288 w 1153373"/>
                  <a:gd name="connsiteY167" fmla="*/ 205563 h 976314"/>
                  <a:gd name="connsiteX168" fmla="*/ 884016 w 1153373"/>
                  <a:gd name="connsiteY168" fmla="*/ 212725 h 976314"/>
                  <a:gd name="connsiteX169" fmla="*/ 584258 w 1153373"/>
                  <a:gd name="connsiteY169" fmla="*/ 212725 h 976314"/>
                  <a:gd name="connsiteX170" fmla="*/ 579986 w 1153373"/>
                  <a:gd name="connsiteY170" fmla="*/ 205563 h 976314"/>
                  <a:gd name="connsiteX171" fmla="*/ 669700 w 1153373"/>
                  <a:gd name="connsiteY171" fmla="*/ 10028 h 976314"/>
                  <a:gd name="connsiteX172" fmla="*/ 688212 w 1153373"/>
                  <a:gd name="connsiteY172" fmla="*/ 1433 h 976314"/>
                  <a:gd name="connsiteX173" fmla="*/ 847816 w 1153373"/>
                  <a:gd name="connsiteY173" fmla="*/ 0 h 976314"/>
                  <a:gd name="connsiteX174" fmla="*/ 954448 w 1153373"/>
                  <a:gd name="connsiteY174" fmla="*/ 1434 h 976314"/>
                  <a:gd name="connsiteX175" fmla="*/ 975917 w 1153373"/>
                  <a:gd name="connsiteY175" fmla="*/ 12185 h 976314"/>
                  <a:gd name="connsiteX176" fmla="*/ 1152682 w 1153373"/>
                  <a:gd name="connsiteY176" fmla="*/ 204278 h 976314"/>
                  <a:gd name="connsiteX177" fmla="*/ 1149819 w 1153373"/>
                  <a:gd name="connsiteY177" fmla="*/ 212163 h 976314"/>
                  <a:gd name="connsiteX178" fmla="*/ 1139800 w 1153373"/>
                  <a:gd name="connsiteY178" fmla="*/ 213596 h 976314"/>
                  <a:gd name="connsiteX179" fmla="*/ 958741 w 1153373"/>
                  <a:gd name="connsiteY179" fmla="*/ 213596 h 976314"/>
                  <a:gd name="connsiteX180" fmla="*/ 928684 w 1153373"/>
                  <a:gd name="connsiteY180" fmla="*/ 194960 h 976314"/>
                  <a:gd name="connsiteX181" fmla="*/ 843522 w 1153373"/>
                  <a:gd name="connsiteY181" fmla="*/ 7168 h 976314"/>
                  <a:gd name="connsiteX182" fmla="*/ 847816 w 1153373"/>
                  <a:gd name="connsiteY182" fmla="*/ 0 h 976314"/>
                  <a:gd name="connsiteX183" fmla="*/ 620463 w 1153373"/>
                  <a:gd name="connsiteY183" fmla="*/ 0 h 976314"/>
                  <a:gd name="connsiteX184" fmla="*/ 624759 w 1153373"/>
                  <a:gd name="connsiteY184" fmla="*/ 7163 h 976314"/>
                  <a:gd name="connsiteX185" fmla="*/ 533110 w 1153373"/>
                  <a:gd name="connsiteY185" fmla="*/ 202698 h 976314"/>
                  <a:gd name="connsiteX186" fmla="*/ 519506 w 1153373"/>
                  <a:gd name="connsiteY186" fmla="*/ 212725 h 976314"/>
                  <a:gd name="connsiteX187" fmla="*/ 317594 w 1153373"/>
                  <a:gd name="connsiteY187" fmla="*/ 212725 h 976314"/>
                  <a:gd name="connsiteX188" fmla="*/ 313298 w 1153373"/>
                  <a:gd name="connsiteY188" fmla="*/ 204846 h 976314"/>
                  <a:gd name="connsiteX189" fmla="*/ 383466 w 1153373"/>
                  <a:gd name="connsiteY189" fmla="*/ 128924 h 976314"/>
                  <a:gd name="connsiteX190" fmla="*/ 489434 w 1153373"/>
                  <a:gd name="connsiteY190" fmla="*/ 13609 h 976314"/>
                  <a:gd name="connsiteX191" fmla="*/ 513062 w 1153373"/>
                  <a:gd name="connsiteY191" fmla="*/ 1433 h 976314"/>
                  <a:gd name="connsiteX192" fmla="*/ 620463 w 1153373"/>
                  <a:gd name="connsiteY192" fmla="*/ 0 h 9763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</a:cxnLst>
                <a:rect l="l" t="t" r="r" b="b"/>
                <a:pathLst>
                  <a:path w="1153373" h="976314">
                    <a:moveTo>
                      <a:pt x="409739" y="466564"/>
                    </a:moveTo>
                    <a:cubicBezTo>
                      <a:pt x="380443" y="465139"/>
                      <a:pt x="351147" y="472261"/>
                      <a:pt x="326138" y="486506"/>
                    </a:cubicBezTo>
                    <a:cubicBezTo>
                      <a:pt x="326138" y="486506"/>
                      <a:pt x="326138" y="486506"/>
                      <a:pt x="31750" y="653165"/>
                    </a:cubicBezTo>
                    <a:cubicBezTo>
                      <a:pt x="31750" y="653165"/>
                      <a:pt x="31750" y="653165"/>
                      <a:pt x="31750" y="936627"/>
                    </a:cubicBezTo>
                    <a:cubicBezTo>
                      <a:pt x="31750" y="936627"/>
                      <a:pt x="31750" y="936627"/>
                      <a:pt x="368296" y="807004"/>
                    </a:cubicBezTo>
                    <a:cubicBezTo>
                      <a:pt x="384730" y="800594"/>
                      <a:pt x="401879" y="797745"/>
                      <a:pt x="419028" y="799169"/>
                    </a:cubicBezTo>
                    <a:cubicBezTo>
                      <a:pt x="419028" y="799169"/>
                      <a:pt x="419028" y="799169"/>
                      <a:pt x="568366" y="809852"/>
                    </a:cubicBezTo>
                    <a:cubicBezTo>
                      <a:pt x="645535" y="815550"/>
                      <a:pt x="722705" y="806291"/>
                      <a:pt x="797017" y="783500"/>
                    </a:cubicBezTo>
                    <a:cubicBezTo>
                      <a:pt x="894908" y="752875"/>
                      <a:pt x="981367" y="695898"/>
                      <a:pt x="1047818" y="617554"/>
                    </a:cubicBezTo>
                    <a:cubicBezTo>
                      <a:pt x="1047818" y="617554"/>
                      <a:pt x="1047818" y="617554"/>
                      <a:pt x="1079972" y="580518"/>
                    </a:cubicBezTo>
                    <a:cubicBezTo>
                      <a:pt x="1098550" y="558440"/>
                      <a:pt x="1096407" y="525678"/>
                      <a:pt x="1074971" y="506448"/>
                    </a:cubicBezTo>
                    <a:cubicBezTo>
                      <a:pt x="1064253" y="497189"/>
                      <a:pt x="1050676" y="492203"/>
                      <a:pt x="1036386" y="492916"/>
                    </a:cubicBezTo>
                    <a:cubicBezTo>
                      <a:pt x="1022095" y="493628"/>
                      <a:pt x="1008519" y="500038"/>
                      <a:pt x="999230" y="510721"/>
                    </a:cubicBezTo>
                    <a:cubicBezTo>
                      <a:pt x="999230" y="510721"/>
                      <a:pt x="999230" y="510721"/>
                      <a:pt x="951356" y="564137"/>
                    </a:cubicBezTo>
                    <a:cubicBezTo>
                      <a:pt x="912771" y="608295"/>
                      <a:pt x="862039" y="639632"/>
                      <a:pt x="805591" y="655301"/>
                    </a:cubicBezTo>
                    <a:cubicBezTo>
                      <a:pt x="740568" y="673819"/>
                      <a:pt x="670544" y="669546"/>
                      <a:pt x="608380" y="644618"/>
                    </a:cubicBezTo>
                    <a:cubicBezTo>
                      <a:pt x="608380" y="644618"/>
                      <a:pt x="608380" y="644618"/>
                      <a:pt x="553360" y="622539"/>
                    </a:cubicBezTo>
                    <a:cubicBezTo>
                      <a:pt x="546930" y="619690"/>
                      <a:pt x="542642" y="613280"/>
                      <a:pt x="544071" y="606158"/>
                    </a:cubicBezTo>
                    <a:cubicBezTo>
                      <a:pt x="544786" y="599036"/>
                      <a:pt x="550502" y="593338"/>
                      <a:pt x="557648" y="592626"/>
                    </a:cubicBezTo>
                    <a:cubicBezTo>
                      <a:pt x="557648" y="592626"/>
                      <a:pt x="557648" y="592626"/>
                      <a:pt x="715560" y="576957"/>
                    </a:cubicBezTo>
                    <a:cubicBezTo>
                      <a:pt x="740568" y="574821"/>
                      <a:pt x="759146" y="554166"/>
                      <a:pt x="759146" y="529951"/>
                    </a:cubicBezTo>
                    <a:cubicBezTo>
                      <a:pt x="759146" y="504311"/>
                      <a:pt x="739139" y="483657"/>
                      <a:pt x="713416" y="482232"/>
                    </a:cubicBezTo>
                    <a:cubicBezTo>
                      <a:pt x="713416" y="482232"/>
                      <a:pt x="713416" y="482232"/>
                      <a:pt x="409739" y="466564"/>
                    </a:cubicBezTo>
                    <a:close/>
                    <a:moveTo>
                      <a:pt x="390213" y="434976"/>
                    </a:moveTo>
                    <a:cubicBezTo>
                      <a:pt x="391642" y="434976"/>
                      <a:pt x="392357" y="434976"/>
                      <a:pt x="393072" y="434976"/>
                    </a:cubicBezTo>
                    <a:cubicBezTo>
                      <a:pt x="394501" y="434976"/>
                      <a:pt x="395930" y="434976"/>
                      <a:pt x="397360" y="434976"/>
                    </a:cubicBezTo>
                    <a:cubicBezTo>
                      <a:pt x="398074" y="434976"/>
                      <a:pt x="398789" y="434976"/>
                      <a:pt x="399504" y="434976"/>
                    </a:cubicBezTo>
                    <a:cubicBezTo>
                      <a:pt x="400933" y="434976"/>
                      <a:pt x="401648" y="434976"/>
                      <a:pt x="403077" y="434976"/>
                    </a:cubicBezTo>
                    <a:cubicBezTo>
                      <a:pt x="405936" y="434976"/>
                      <a:pt x="408794" y="434976"/>
                      <a:pt x="410939" y="434976"/>
                    </a:cubicBezTo>
                    <a:cubicBezTo>
                      <a:pt x="410939" y="434976"/>
                      <a:pt x="410939" y="434976"/>
                      <a:pt x="715390" y="450688"/>
                    </a:cubicBezTo>
                    <a:cubicBezTo>
                      <a:pt x="743263" y="452116"/>
                      <a:pt x="766847" y="468542"/>
                      <a:pt x="780426" y="491395"/>
                    </a:cubicBezTo>
                    <a:cubicBezTo>
                      <a:pt x="781140" y="492824"/>
                      <a:pt x="781855" y="494252"/>
                      <a:pt x="782570" y="495680"/>
                    </a:cubicBezTo>
                    <a:cubicBezTo>
                      <a:pt x="785428" y="501394"/>
                      <a:pt x="787572" y="507821"/>
                      <a:pt x="789002" y="514249"/>
                    </a:cubicBezTo>
                    <a:cubicBezTo>
                      <a:pt x="789716" y="519248"/>
                      <a:pt x="790431" y="524247"/>
                      <a:pt x="790431" y="529960"/>
                    </a:cubicBezTo>
                    <a:cubicBezTo>
                      <a:pt x="790431" y="532103"/>
                      <a:pt x="790431" y="533531"/>
                      <a:pt x="789716" y="535674"/>
                    </a:cubicBezTo>
                    <a:cubicBezTo>
                      <a:pt x="789716" y="535674"/>
                      <a:pt x="789716" y="536388"/>
                      <a:pt x="789716" y="536388"/>
                    </a:cubicBezTo>
                    <a:cubicBezTo>
                      <a:pt x="789716" y="538530"/>
                      <a:pt x="789716" y="539959"/>
                      <a:pt x="789002" y="542101"/>
                    </a:cubicBezTo>
                    <a:cubicBezTo>
                      <a:pt x="786143" y="560669"/>
                      <a:pt x="776852" y="577095"/>
                      <a:pt x="763988" y="589236"/>
                    </a:cubicBezTo>
                    <a:cubicBezTo>
                      <a:pt x="763988" y="589236"/>
                      <a:pt x="763273" y="589236"/>
                      <a:pt x="763273" y="589236"/>
                    </a:cubicBezTo>
                    <a:cubicBezTo>
                      <a:pt x="761844" y="590664"/>
                      <a:pt x="760415" y="591379"/>
                      <a:pt x="758985" y="592807"/>
                    </a:cubicBezTo>
                    <a:cubicBezTo>
                      <a:pt x="757556" y="594235"/>
                      <a:pt x="756127" y="594949"/>
                      <a:pt x="754697" y="595664"/>
                    </a:cubicBezTo>
                    <a:cubicBezTo>
                      <a:pt x="753983" y="596378"/>
                      <a:pt x="753983" y="596378"/>
                      <a:pt x="753983" y="596378"/>
                    </a:cubicBezTo>
                    <a:cubicBezTo>
                      <a:pt x="752553" y="597092"/>
                      <a:pt x="751124" y="598520"/>
                      <a:pt x="749695" y="599234"/>
                    </a:cubicBezTo>
                    <a:cubicBezTo>
                      <a:pt x="748980" y="599234"/>
                      <a:pt x="748265" y="599234"/>
                      <a:pt x="748265" y="599949"/>
                    </a:cubicBezTo>
                    <a:cubicBezTo>
                      <a:pt x="746836" y="600663"/>
                      <a:pt x="745407" y="601377"/>
                      <a:pt x="743263" y="602091"/>
                    </a:cubicBezTo>
                    <a:cubicBezTo>
                      <a:pt x="743263" y="602091"/>
                      <a:pt x="742548" y="602091"/>
                      <a:pt x="742548" y="602805"/>
                    </a:cubicBezTo>
                    <a:cubicBezTo>
                      <a:pt x="741118" y="602805"/>
                      <a:pt x="739689" y="603519"/>
                      <a:pt x="738260" y="604234"/>
                    </a:cubicBezTo>
                    <a:cubicBezTo>
                      <a:pt x="731828" y="606376"/>
                      <a:pt x="725396" y="607804"/>
                      <a:pt x="718964" y="608519"/>
                    </a:cubicBezTo>
                    <a:cubicBezTo>
                      <a:pt x="718964" y="608519"/>
                      <a:pt x="718964" y="608519"/>
                      <a:pt x="624626" y="617803"/>
                    </a:cubicBezTo>
                    <a:cubicBezTo>
                      <a:pt x="662504" y="632086"/>
                      <a:pt x="703241" y="637799"/>
                      <a:pt x="743263" y="634943"/>
                    </a:cubicBezTo>
                    <a:cubicBezTo>
                      <a:pt x="753983" y="634229"/>
                      <a:pt x="764703" y="632800"/>
                      <a:pt x="774708" y="630658"/>
                    </a:cubicBezTo>
                    <a:cubicBezTo>
                      <a:pt x="775423" y="630658"/>
                      <a:pt x="775423" y="630658"/>
                      <a:pt x="775423" y="630658"/>
                    </a:cubicBezTo>
                    <a:cubicBezTo>
                      <a:pt x="778996" y="629944"/>
                      <a:pt x="781855" y="629229"/>
                      <a:pt x="785428" y="628515"/>
                    </a:cubicBezTo>
                    <a:cubicBezTo>
                      <a:pt x="786143" y="628515"/>
                      <a:pt x="786143" y="628515"/>
                      <a:pt x="786858" y="627801"/>
                    </a:cubicBezTo>
                    <a:cubicBezTo>
                      <a:pt x="790431" y="627087"/>
                      <a:pt x="793290" y="626373"/>
                      <a:pt x="796863" y="625659"/>
                    </a:cubicBezTo>
                    <a:cubicBezTo>
                      <a:pt x="806869" y="622802"/>
                      <a:pt x="816874" y="619231"/>
                      <a:pt x="826880" y="614946"/>
                    </a:cubicBezTo>
                    <a:cubicBezTo>
                      <a:pt x="857611" y="602805"/>
                      <a:pt x="885483" y="584951"/>
                      <a:pt x="909782" y="562098"/>
                    </a:cubicBezTo>
                    <a:cubicBezTo>
                      <a:pt x="916214" y="556384"/>
                      <a:pt x="921931" y="549957"/>
                      <a:pt x="928363" y="543529"/>
                    </a:cubicBezTo>
                    <a:cubicBezTo>
                      <a:pt x="928363" y="543529"/>
                      <a:pt x="928363" y="543529"/>
                      <a:pt x="975532" y="489967"/>
                    </a:cubicBezTo>
                    <a:cubicBezTo>
                      <a:pt x="976961" y="488539"/>
                      <a:pt x="977676" y="487824"/>
                      <a:pt x="978391" y="486396"/>
                    </a:cubicBezTo>
                    <a:cubicBezTo>
                      <a:pt x="979105" y="486396"/>
                      <a:pt x="979105" y="486396"/>
                      <a:pt x="979105" y="486396"/>
                    </a:cubicBezTo>
                    <a:cubicBezTo>
                      <a:pt x="994114" y="471399"/>
                      <a:pt x="1013410" y="462829"/>
                      <a:pt x="1034135" y="461400"/>
                    </a:cubicBezTo>
                    <a:cubicBezTo>
                      <a:pt x="1034850" y="461400"/>
                      <a:pt x="1034850" y="461400"/>
                      <a:pt x="1034850" y="461400"/>
                    </a:cubicBezTo>
                    <a:cubicBezTo>
                      <a:pt x="1036279" y="461400"/>
                      <a:pt x="1037709" y="461400"/>
                      <a:pt x="1039138" y="461400"/>
                    </a:cubicBezTo>
                    <a:cubicBezTo>
                      <a:pt x="1039138" y="461400"/>
                      <a:pt x="1039853" y="461400"/>
                      <a:pt x="1040567" y="461400"/>
                    </a:cubicBezTo>
                    <a:cubicBezTo>
                      <a:pt x="1054146" y="461400"/>
                      <a:pt x="1067725" y="465685"/>
                      <a:pt x="1079875" y="472113"/>
                    </a:cubicBezTo>
                    <a:cubicBezTo>
                      <a:pt x="1081304" y="472827"/>
                      <a:pt x="1082019" y="473541"/>
                      <a:pt x="1083448" y="474255"/>
                    </a:cubicBezTo>
                    <a:cubicBezTo>
                      <a:pt x="1084877" y="474969"/>
                      <a:pt x="1085592" y="475684"/>
                      <a:pt x="1086307" y="475684"/>
                    </a:cubicBezTo>
                    <a:cubicBezTo>
                      <a:pt x="1087021" y="476398"/>
                      <a:pt x="1087021" y="476398"/>
                      <a:pt x="1087021" y="476398"/>
                    </a:cubicBezTo>
                    <a:cubicBezTo>
                      <a:pt x="1087736" y="477112"/>
                      <a:pt x="1089165" y="477826"/>
                      <a:pt x="1089880" y="478540"/>
                    </a:cubicBezTo>
                    <a:cubicBezTo>
                      <a:pt x="1089880" y="478540"/>
                      <a:pt x="1090595" y="479254"/>
                      <a:pt x="1090595" y="479254"/>
                    </a:cubicBezTo>
                    <a:cubicBezTo>
                      <a:pt x="1091309" y="479969"/>
                      <a:pt x="1092024" y="479969"/>
                      <a:pt x="1092739" y="480683"/>
                    </a:cubicBezTo>
                    <a:cubicBezTo>
                      <a:pt x="1093453" y="481397"/>
                      <a:pt x="1094168" y="482111"/>
                      <a:pt x="1095597" y="482825"/>
                    </a:cubicBezTo>
                    <a:cubicBezTo>
                      <a:pt x="1095597" y="482825"/>
                      <a:pt x="1095597" y="483539"/>
                      <a:pt x="1095597" y="483539"/>
                    </a:cubicBezTo>
                    <a:cubicBezTo>
                      <a:pt x="1129902" y="514249"/>
                      <a:pt x="1133475" y="565669"/>
                      <a:pt x="1103459" y="600663"/>
                    </a:cubicBezTo>
                    <a:cubicBezTo>
                      <a:pt x="1103459" y="600663"/>
                      <a:pt x="1103459" y="600663"/>
                      <a:pt x="1072013" y="638514"/>
                    </a:cubicBezTo>
                    <a:cubicBezTo>
                      <a:pt x="1040567" y="674936"/>
                      <a:pt x="1004834" y="707788"/>
                      <a:pt x="966241" y="734926"/>
                    </a:cubicBezTo>
                    <a:cubicBezTo>
                      <a:pt x="963383" y="737068"/>
                      <a:pt x="959809" y="739211"/>
                      <a:pt x="956950" y="741353"/>
                    </a:cubicBezTo>
                    <a:cubicBezTo>
                      <a:pt x="954092" y="743496"/>
                      <a:pt x="951233" y="745638"/>
                      <a:pt x="948374" y="747067"/>
                    </a:cubicBezTo>
                    <a:cubicBezTo>
                      <a:pt x="904779" y="775633"/>
                      <a:pt x="856896" y="798487"/>
                      <a:pt x="806154" y="814198"/>
                    </a:cubicBezTo>
                    <a:cubicBezTo>
                      <a:pt x="801866" y="815627"/>
                      <a:pt x="797578" y="817055"/>
                      <a:pt x="792575" y="818483"/>
                    </a:cubicBezTo>
                    <a:cubicBezTo>
                      <a:pt x="791146" y="818483"/>
                      <a:pt x="789716" y="819198"/>
                      <a:pt x="788287" y="819198"/>
                    </a:cubicBezTo>
                    <a:cubicBezTo>
                      <a:pt x="785428" y="819912"/>
                      <a:pt x="782570" y="821340"/>
                      <a:pt x="779711" y="822054"/>
                    </a:cubicBezTo>
                    <a:cubicBezTo>
                      <a:pt x="777567" y="822054"/>
                      <a:pt x="775423" y="822768"/>
                      <a:pt x="773994" y="823483"/>
                    </a:cubicBezTo>
                    <a:cubicBezTo>
                      <a:pt x="771135" y="824197"/>
                      <a:pt x="768991" y="824197"/>
                      <a:pt x="766132" y="824911"/>
                    </a:cubicBezTo>
                    <a:cubicBezTo>
                      <a:pt x="763988" y="825625"/>
                      <a:pt x="761844" y="826339"/>
                      <a:pt x="759700" y="827053"/>
                    </a:cubicBezTo>
                    <a:cubicBezTo>
                      <a:pt x="757556" y="827053"/>
                      <a:pt x="756127" y="827768"/>
                      <a:pt x="753983" y="827768"/>
                    </a:cubicBezTo>
                    <a:cubicBezTo>
                      <a:pt x="743977" y="829910"/>
                      <a:pt x="733972" y="832053"/>
                      <a:pt x="723966" y="834195"/>
                    </a:cubicBezTo>
                    <a:cubicBezTo>
                      <a:pt x="723252" y="834195"/>
                      <a:pt x="722537" y="834195"/>
                      <a:pt x="721822" y="834195"/>
                    </a:cubicBezTo>
                    <a:cubicBezTo>
                      <a:pt x="718249" y="834909"/>
                      <a:pt x="714676" y="835623"/>
                      <a:pt x="711102" y="836338"/>
                    </a:cubicBezTo>
                    <a:cubicBezTo>
                      <a:pt x="710387" y="836338"/>
                      <a:pt x="710387" y="836338"/>
                      <a:pt x="709673" y="836338"/>
                    </a:cubicBezTo>
                    <a:cubicBezTo>
                      <a:pt x="689662" y="839194"/>
                      <a:pt x="670366" y="841337"/>
                      <a:pt x="650355" y="842765"/>
                    </a:cubicBezTo>
                    <a:cubicBezTo>
                      <a:pt x="649640" y="842765"/>
                      <a:pt x="648925" y="842765"/>
                      <a:pt x="648211" y="842765"/>
                    </a:cubicBezTo>
                    <a:cubicBezTo>
                      <a:pt x="644637" y="842765"/>
                      <a:pt x="641064" y="842765"/>
                      <a:pt x="637491" y="843479"/>
                    </a:cubicBezTo>
                    <a:cubicBezTo>
                      <a:pt x="636776" y="843479"/>
                      <a:pt x="636061" y="843479"/>
                      <a:pt x="635347" y="843479"/>
                    </a:cubicBezTo>
                    <a:cubicBezTo>
                      <a:pt x="631058" y="843479"/>
                      <a:pt x="626056" y="843479"/>
                      <a:pt x="621053" y="843479"/>
                    </a:cubicBezTo>
                    <a:cubicBezTo>
                      <a:pt x="621053" y="843479"/>
                      <a:pt x="620338" y="843479"/>
                      <a:pt x="619624" y="843479"/>
                    </a:cubicBezTo>
                    <a:cubicBezTo>
                      <a:pt x="617480" y="843479"/>
                      <a:pt x="614621" y="843479"/>
                      <a:pt x="612477" y="843479"/>
                    </a:cubicBezTo>
                    <a:cubicBezTo>
                      <a:pt x="610333" y="843479"/>
                      <a:pt x="608189" y="843479"/>
                      <a:pt x="606045" y="843479"/>
                    </a:cubicBezTo>
                    <a:cubicBezTo>
                      <a:pt x="603901" y="843479"/>
                      <a:pt x="601042" y="843479"/>
                      <a:pt x="598898" y="843479"/>
                    </a:cubicBezTo>
                    <a:cubicBezTo>
                      <a:pt x="596754" y="843479"/>
                      <a:pt x="594610" y="843479"/>
                      <a:pt x="592466" y="843479"/>
                    </a:cubicBezTo>
                    <a:cubicBezTo>
                      <a:pt x="589607" y="843479"/>
                      <a:pt x="587463" y="843479"/>
                      <a:pt x="584605" y="842765"/>
                    </a:cubicBezTo>
                    <a:cubicBezTo>
                      <a:pt x="582461" y="842765"/>
                      <a:pt x="581031" y="842765"/>
                      <a:pt x="578887" y="842765"/>
                    </a:cubicBezTo>
                    <a:cubicBezTo>
                      <a:pt x="575314" y="842765"/>
                      <a:pt x="571026" y="842051"/>
                      <a:pt x="566738" y="842051"/>
                    </a:cubicBezTo>
                    <a:cubicBezTo>
                      <a:pt x="566738" y="842051"/>
                      <a:pt x="566023" y="842051"/>
                      <a:pt x="566023" y="842051"/>
                    </a:cubicBezTo>
                    <a:cubicBezTo>
                      <a:pt x="566023" y="842051"/>
                      <a:pt x="566023" y="842051"/>
                      <a:pt x="485265" y="836338"/>
                    </a:cubicBezTo>
                    <a:cubicBezTo>
                      <a:pt x="485265" y="836338"/>
                      <a:pt x="485265" y="836338"/>
                      <a:pt x="416656" y="831338"/>
                    </a:cubicBezTo>
                    <a:cubicBezTo>
                      <a:pt x="415227" y="831338"/>
                      <a:pt x="413083" y="831338"/>
                      <a:pt x="410939" y="831338"/>
                    </a:cubicBezTo>
                    <a:cubicBezTo>
                      <a:pt x="410224" y="831338"/>
                      <a:pt x="408794" y="831338"/>
                      <a:pt x="407365" y="831338"/>
                    </a:cubicBezTo>
                    <a:cubicBezTo>
                      <a:pt x="402362" y="831338"/>
                      <a:pt x="398074" y="832053"/>
                      <a:pt x="393072" y="832767"/>
                    </a:cubicBezTo>
                    <a:cubicBezTo>
                      <a:pt x="391642" y="833481"/>
                      <a:pt x="390213" y="833481"/>
                      <a:pt x="388784" y="833481"/>
                    </a:cubicBezTo>
                    <a:cubicBezTo>
                      <a:pt x="388784" y="834195"/>
                      <a:pt x="388784" y="834195"/>
                      <a:pt x="388784" y="834195"/>
                    </a:cubicBezTo>
                    <a:cubicBezTo>
                      <a:pt x="387354" y="834195"/>
                      <a:pt x="385925" y="834909"/>
                      <a:pt x="384496" y="834909"/>
                    </a:cubicBezTo>
                    <a:cubicBezTo>
                      <a:pt x="384496" y="834909"/>
                      <a:pt x="384496" y="834909"/>
                      <a:pt x="383781" y="835623"/>
                    </a:cubicBezTo>
                    <a:cubicBezTo>
                      <a:pt x="382352" y="835623"/>
                      <a:pt x="380922" y="836338"/>
                      <a:pt x="379493" y="837052"/>
                    </a:cubicBezTo>
                    <a:cubicBezTo>
                      <a:pt x="379493" y="837052"/>
                      <a:pt x="379493" y="837052"/>
                      <a:pt x="21441" y="975600"/>
                    </a:cubicBezTo>
                    <a:cubicBezTo>
                      <a:pt x="20011" y="976314"/>
                      <a:pt x="17867" y="976314"/>
                      <a:pt x="15723" y="976314"/>
                    </a:cubicBezTo>
                    <a:cubicBezTo>
                      <a:pt x="12864" y="976314"/>
                      <a:pt x="10006" y="975600"/>
                      <a:pt x="7147" y="973457"/>
                    </a:cubicBezTo>
                    <a:cubicBezTo>
                      <a:pt x="2859" y="970601"/>
                      <a:pt x="0" y="965602"/>
                      <a:pt x="0" y="960602"/>
                    </a:cubicBezTo>
                    <a:cubicBezTo>
                      <a:pt x="0" y="960602"/>
                      <a:pt x="0" y="960602"/>
                      <a:pt x="0" y="644227"/>
                    </a:cubicBezTo>
                    <a:cubicBezTo>
                      <a:pt x="0" y="638514"/>
                      <a:pt x="3574" y="633514"/>
                      <a:pt x="7862" y="630658"/>
                    </a:cubicBezTo>
                    <a:cubicBezTo>
                      <a:pt x="7862" y="630658"/>
                      <a:pt x="7862" y="630658"/>
                      <a:pt x="310169" y="459258"/>
                    </a:cubicBezTo>
                    <a:cubicBezTo>
                      <a:pt x="311599" y="457829"/>
                      <a:pt x="313743" y="457115"/>
                      <a:pt x="315887" y="456401"/>
                    </a:cubicBezTo>
                    <a:cubicBezTo>
                      <a:pt x="316601" y="455687"/>
                      <a:pt x="317316" y="455687"/>
                      <a:pt x="318031" y="454973"/>
                    </a:cubicBezTo>
                    <a:cubicBezTo>
                      <a:pt x="318745" y="454259"/>
                      <a:pt x="320175" y="453544"/>
                      <a:pt x="320889" y="453544"/>
                    </a:cubicBezTo>
                    <a:cubicBezTo>
                      <a:pt x="322319" y="452830"/>
                      <a:pt x="323033" y="452116"/>
                      <a:pt x="324463" y="452116"/>
                    </a:cubicBezTo>
                    <a:cubicBezTo>
                      <a:pt x="325177" y="451402"/>
                      <a:pt x="325892" y="451402"/>
                      <a:pt x="326607" y="450688"/>
                    </a:cubicBezTo>
                    <a:cubicBezTo>
                      <a:pt x="328036" y="449974"/>
                      <a:pt x="328751" y="449974"/>
                      <a:pt x="330180" y="449259"/>
                    </a:cubicBezTo>
                    <a:cubicBezTo>
                      <a:pt x="330895" y="449259"/>
                      <a:pt x="331610" y="448545"/>
                      <a:pt x="332324" y="448545"/>
                    </a:cubicBezTo>
                    <a:cubicBezTo>
                      <a:pt x="333754" y="447831"/>
                      <a:pt x="335183" y="447117"/>
                      <a:pt x="336612" y="447117"/>
                    </a:cubicBezTo>
                    <a:cubicBezTo>
                      <a:pt x="336612" y="446403"/>
                      <a:pt x="337327" y="446403"/>
                      <a:pt x="338042" y="446403"/>
                    </a:cubicBezTo>
                    <a:cubicBezTo>
                      <a:pt x="339471" y="445689"/>
                      <a:pt x="340900" y="444974"/>
                      <a:pt x="342330" y="444974"/>
                    </a:cubicBezTo>
                    <a:cubicBezTo>
                      <a:pt x="342330" y="444260"/>
                      <a:pt x="343044" y="444260"/>
                      <a:pt x="343759" y="444260"/>
                    </a:cubicBezTo>
                    <a:cubicBezTo>
                      <a:pt x="345188" y="443546"/>
                      <a:pt x="346618" y="443546"/>
                      <a:pt x="348047" y="442832"/>
                    </a:cubicBezTo>
                    <a:cubicBezTo>
                      <a:pt x="348762" y="442832"/>
                      <a:pt x="348762" y="442832"/>
                      <a:pt x="349476" y="442832"/>
                    </a:cubicBezTo>
                    <a:cubicBezTo>
                      <a:pt x="350906" y="442118"/>
                      <a:pt x="352335" y="441404"/>
                      <a:pt x="354479" y="441404"/>
                    </a:cubicBezTo>
                    <a:cubicBezTo>
                      <a:pt x="354479" y="441404"/>
                      <a:pt x="354479" y="440689"/>
                      <a:pt x="354479" y="440689"/>
                    </a:cubicBezTo>
                    <a:cubicBezTo>
                      <a:pt x="363770" y="438547"/>
                      <a:pt x="372346" y="437119"/>
                      <a:pt x="381637" y="436404"/>
                    </a:cubicBezTo>
                    <a:cubicBezTo>
                      <a:pt x="382352" y="435690"/>
                      <a:pt x="383066" y="435690"/>
                      <a:pt x="383781" y="435690"/>
                    </a:cubicBezTo>
                    <a:cubicBezTo>
                      <a:pt x="385210" y="435690"/>
                      <a:pt x="385925" y="435690"/>
                      <a:pt x="387354" y="435690"/>
                    </a:cubicBezTo>
                    <a:cubicBezTo>
                      <a:pt x="388069" y="435690"/>
                      <a:pt x="389498" y="435690"/>
                      <a:pt x="390213" y="434976"/>
                    </a:cubicBezTo>
                    <a:close/>
                    <a:moveTo>
                      <a:pt x="332731" y="256303"/>
                    </a:moveTo>
                    <a:cubicBezTo>
                      <a:pt x="390507" y="256303"/>
                      <a:pt x="451850" y="255588"/>
                      <a:pt x="513193" y="256303"/>
                    </a:cubicBezTo>
                    <a:cubicBezTo>
                      <a:pt x="518899" y="256303"/>
                      <a:pt x="529598" y="260589"/>
                      <a:pt x="531025" y="265589"/>
                    </a:cubicBezTo>
                    <a:cubicBezTo>
                      <a:pt x="550284" y="314167"/>
                      <a:pt x="568116" y="364173"/>
                      <a:pt x="587375" y="412751"/>
                    </a:cubicBezTo>
                    <a:cubicBezTo>
                      <a:pt x="587375" y="412751"/>
                      <a:pt x="587375" y="412751"/>
                      <a:pt x="471822" y="407036"/>
                    </a:cubicBezTo>
                    <a:cubicBezTo>
                      <a:pt x="424745" y="359173"/>
                      <a:pt x="376955" y="312024"/>
                      <a:pt x="329165" y="264161"/>
                    </a:cubicBezTo>
                    <a:cubicBezTo>
                      <a:pt x="327025" y="261303"/>
                      <a:pt x="328451" y="256303"/>
                      <a:pt x="332731" y="256303"/>
                    </a:cubicBezTo>
                    <a:close/>
                    <a:moveTo>
                      <a:pt x="963938" y="255588"/>
                    </a:moveTo>
                    <a:cubicBezTo>
                      <a:pt x="1022488" y="256301"/>
                      <a:pt x="1081039" y="256301"/>
                      <a:pt x="1137447" y="256301"/>
                    </a:cubicBezTo>
                    <a:cubicBezTo>
                      <a:pt x="1141731" y="256301"/>
                      <a:pt x="1144587" y="261288"/>
                      <a:pt x="1141017" y="264138"/>
                    </a:cubicBezTo>
                    <a:cubicBezTo>
                      <a:pt x="1036055" y="368871"/>
                      <a:pt x="931093" y="475030"/>
                      <a:pt x="826845" y="578338"/>
                    </a:cubicBezTo>
                    <a:cubicBezTo>
                      <a:pt x="823274" y="582613"/>
                      <a:pt x="817562" y="578338"/>
                      <a:pt x="818990" y="574063"/>
                    </a:cubicBezTo>
                    <a:cubicBezTo>
                      <a:pt x="818990" y="573351"/>
                      <a:pt x="818990" y="573351"/>
                      <a:pt x="818990" y="573351"/>
                    </a:cubicBezTo>
                    <a:cubicBezTo>
                      <a:pt x="856834" y="475742"/>
                      <a:pt x="893963" y="376708"/>
                      <a:pt x="930379" y="278387"/>
                    </a:cubicBezTo>
                    <a:cubicBezTo>
                      <a:pt x="936805" y="260575"/>
                      <a:pt x="945373" y="255588"/>
                      <a:pt x="963938" y="255588"/>
                    </a:cubicBezTo>
                    <a:close/>
                    <a:moveTo>
                      <a:pt x="581265" y="255588"/>
                    </a:moveTo>
                    <a:cubicBezTo>
                      <a:pt x="581265" y="255588"/>
                      <a:pt x="581265" y="255588"/>
                      <a:pt x="886457" y="255588"/>
                    </a:cubicBezTo>
                    <a:cubicBezTo>
                      <a:pt x="890031" y="255588"/>
                      <a:pt x="892175" y="259161"/>
                      <a:pt x="890746" y="262020"/>
                    </a:cubicBezTo>
                    <a:cubicBezTo>
                      <a:pt x="863586" y="334197"/>
                      <a:pt x="836426" y="406375"/>
                      <a:pt x="809981" y="477838"/>
                    </a:cubicBezTo>
                    <a:cubicBezTo>
                      <a:pt x="792112" y="444965"/>
                      <a:pt x="757805" y="421382"/>
                      <a:pt x="717780" y="419238"/>
                    </a:cubicBezTo>
                    <a:cubicBezTo>
                      <a:pt x="717780" y="419238"/>
                      <a:pt x="717780" y="419238"/>
                      <a:pt x="634156" y="414951"/>
                    </a:cubicBezTo>
                    <a:cubicBezTo>
                      <a:pt x="628438" y="400658"/>
                      <a:pt x="614858" y="362783"/>
                      <a:pt x="576976" y="262020"/>
                    </a:cubicBezTo>
                    <a:cubicBezTo>
                      <a:pt x="576262" y="259161"/>
                      <a:pt x="577691" y="255588"/>
                      <a:pt x="581265" y="255588"/>
                    </a:cubicBezTo>
                    <a:close/>
                    <a:moveTo>
                      <a:pt x="688212" y="1433"/>
                    </a:moveTo>
                    <a:cubicBezTo>
                      <a:pt x="718829" y="0"/>
                      <a:pt x="748734" y="0"/>
                      <a:pt x="778638" y="1433"/>
                    </a:cubicBezTo>
                    <a:cubicBezTo>
                      <a:pt x="785046" y="1433"/>
                      <a:pt x="795726" y="6446"/>
                      <a:pt x="799287" y="12176"/>
                    </a:cubicBezTo>
                    <a:cubicBezTo>
                      <a:pt x="829191" y="75206"/>
                      <a:pt x="856960" y="139668"/>
                      <a:pt x="888288" y="205563"/>
                    </a:cubicBezTo>
                    <a:cubicBezTo>
                      <a:pt x="889000" y="209144"/>
                      <a:pt x="887576" y="212725"/>
                      <a:pt x="884016" y="212725"/>
                    </a:cubicBezTo>
                    <a:cubicBezTo>
                      <a:pt x="884016" y="212725"/>
                      <a:pt x="884016" y="212725"/>
                      <a:pt x="584258" y="212725"/>
                    </a:cubicBezTo>
                    <a:cubicBezTo>
                      <a:pt x="580698" y="212725"/>
                      <a:pt x="577850" y="209144"/>
                      <a:pt x="579986" y="205563"/>
                    </a:cubicBezTo>
                    <a:cubicBezTo>
                      <a:pt x="609891" y="138236"/>
                      <a:pt x="639795" y="73057"/>
                      <a:pt x="669700" y="10028"/>
                    </a:cubicBezTo>
                    <a:cubicBezTo>
                      <a:pt x="672548" y="4298"/>
                      <a:pt x="681804" y="1433"/>
                      <a:pt x="688212" y="1433"/>
                    </a:cubicBezTo>
                    <a:close/>
                    <a:moveTo>
                      <a:pt x="847816" y="0"/>
                    </a:moveTo>
                    <a:cubicBezTo>
                      <a:pt x="885745" y="0"/>
                      <a:pt x="920096" y="0"/>
                      <a:pt x="954448" y="1434"/>
                    </a:cubicBezTo>
                    <a:cubicBezTo>
                      <a:pt x="961604" y="1434"/>
                      <a:pt x="970907" y="6451"/>
                      <a:pt x="975917" y="12185"/>
                    </a:cubicBezTo>
                    <a:cubicBezTo>
                      <a:pt x="1034600" y="74544"/>
                      <a:pt x="1091852" y="139053"/>
                      <a:pt x="1152682" y="204278"/>
                    </a:cubicBezTo>
                    <a:cubicBezTo>
                      <a:pt x="1154113" y="206429"/>
                      <a:pt x="1153398" y="212163"/>
                      <a:pt x="1149819" y="212163"/>
                    </a:cubicBezTo>
                    <a:cubicBezTo>
                      <a:pt x="1145525" y="212880"/>
                      <a:pt x="1141947" y="213596"/>
                      <a:pt x="1139800" y="213596"/>
                    </a:cubicBezTo>
                    <a:cubicBezTo>
                      <a:pt x="1078970" y="213596"/>
                      <a:pt x="1018856" y="212880"/>
                      <a:pt x="958741" y="213596"/>
                    </a:cubicBezTo>
                    <a:cubicBezTo>
                      <a:pt x="942997" y="214313"/>
                      <a:pt x="934409" y="209296"/>
                      <a:pt x="928684" y="194960"/>
                    </a:cubicBezTo>
                    <a:cubicBezTo>
                      <a:pt x="900774" y="134035"/>
                      <a:pt x="872864" y="72393"/>
                      <a:pt x="843522" y="7168"/>
                    </a:cubicBezTo>
                    <a:cubicBezTo>
                      <a:pt x="841375" y="4301"/>
                      <a:pt x="844238" y="0"/>
                      <a:pt x="847816" y="0"/>
                    </a:cubicBezTo>
                    <a:close/>
                    <a:moveTo>
                      <a:pt x="620463" y="0"/>
                    </a:moveTo>
                    <a:cubicBezTo>
                      <a:pt x="623327" y="0"/>
                      <a:pt x="625475" y="4298"/>
                      <a:pt x="624759" y="7163"/>
                    </a:cubicBezTo>
                    <a:cubicBezTo>
                      <a:pt x="592539" y="75206"/>
                      <a:pt x="563183" y="138952"/>
                      <a:pt x="533110" y="202698"/>
                    </a:cubicBezTo>
                    <a:cubicBezTo>
                      <a:pt x="531678" y="206995"/>
                      <a:pt x="524518" y="211293"/>
                      <a:pt x="519506" y="212725"/>
                    </a:cubicBezTo>
                    <a:cubicBezTo>
                      <a:pt x="453634" y="212725"/>
                      <a:pt x="388478" y="212725"/>
                      <a:pt x="317594" y="212725"/>
                    </a:cubicBezTo>
                    <a:cubicBezTo>
                      <a:pt x="313298" y="212725"/>
                      <a:pt x="311150" y="206995"/>
                      <a:pt x="313298" y="204846"/>
                    </a:cubicBezTo>
                    <a:cubicBezTo>
                      <a:pt x="339074" y="177629"/>
                      <a:pt x="360554" y="153277"/>
                      <a:pt x="383466" y="128924"/>
                    </a:cubicBezTo>
                    <a:cubicBezTo>
                      <a:pt x="418550" y="89531"/>
                      <a:pt x="452918" y="51570"/>
                      <a:pt x="489434" y="13609"/>
                    </a:cubicBezTo>
                    <a:cubicBezTo>
                      <a:pt x="495162" y="7879"/>
                      <a:pt x="504470" y="1433"/>
                      <a:pt x="513062" y="1433"/>
                    </a:cubicBezTo>
                    <a:cubicBezTo>
                      <a:pt x="546715" y="0"/>
                      <a:pt x="581083" y="0"/>
                      <a:pt x="620463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vert="horz" wrap="square" lIns="64008" tIns="32004" rIns="64008" bIns="32004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/>
              </a:p>
            </p:txBody>
          </p:sp>
        </p:grpSp>
      </p:grpSp>
      <p:pic>
        <p:nvPicPr>
          <p:cNvPr id="43" name="Picture 42">
            <a:extLst>
              <a:ext uri="{FF2B5EF4-FFF2-40B4-BE49-F238E27FC236}">
                <a16:creationId xmlns:a16="http://schemas.microsoft.com/office/drawing/2014/main" id="{89C8756F-801B-4963-A18F-2E20C5744185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BEBA8EAE-BF5A-486C-A8C5-ECC9F3942E4B}">
                <a14:imgProps xmlns:a14="http://schemas.microsoft.com/office/drawing/2010/main">
                  <a14:imgLayer r:embed="rId14">
                    <a14:imgEffect>
                      <a14:brightnessContrast contrast="4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5336465" y="1057071"/>
            <a:ext cx="3096554" cy="1741812"/>
          </a:xfrm>
          <a:prstGeom prst="rect">
            <a:avLst/>
          </a:prstGeom>
        </p:spPr>
      </p:pic>
      <p:sp>
        <p:nvSpPr>
          <p:cNvPr id="44" name="Title 1">
            <a:extLst>
              <a:ext uri="{FF2B5EF4-FFF2-40B4-BE49-F238E27FC236}">
                <a16:creationId xmlns:a16="http://schemas.microsoft.com/office/drawing/2014/main" id="{7C4AA441-88C2-441A-9347-5AA9141357D7}"/>
              </a:ext>
            </a:extLst>
          </p:cNvPr>
          <p:cNvSpPr txBox="1">
            <a:spLocks/>
          </p:cNvSpPr>
          <p:nvPr/>
        </p:nvSpPr>
        <p:spPr>
          <a:xfrm>
            <a:off x="5043392" y="2660988"/>
            <a:ext cx="2982785" cy="369845"/>
          </a:xfrm>
          <a:prstGeom prst="rect">
            <a:avLst/>
          </a:prstGeom>
        </p:spPr>
        <p:txBody>
          <a:bodyPr vert="horz" wrap="square">
            <a:spAutoFit/>
          </a:bodyPr>
          <a:lstStyle>
            <a:lvl1pPr algn="l" rtl="0" eaLnBrk="1" fontAlgn="base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sz="2200" b="0" kern="1200">
                <a:solidFill>
                  <a:schemeClr val="tx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9pPr>
          </a:lstStyle>
          <a:p>
            <a:r>
              <a:rPr lang="en-US" sz="1600">
                <a:solidFill>
                  <a:schemeClr val="bg1"/>
                </a:solidFill>
              </a:rPr>
              <a:t>TFX can be used with:</a:t>
            </a:r>
          </a:p>
        </p:txBody>
      </p:sp>
      <p:sp>
        <p:nvSpPr>
          <p:cNvPr id="45" name="Title 1">
            <a:extLst>
              <a:ext uri="{FF2B5EF4-FFF2-40B4-BE49-F238E27FC236}">
                <a16:creationId xmlns:a16="http://schemas.microsoft.com/office/drawing/2014/main" id="{550C98E0-C47C-47B9-838A-03A6BEA405AD}"/>
              </a:ext>
            </a:extLst>
          </p:cNvPr>
          <p:cNvSpPr txBox="1">
            <a:spLocks/>
          </p:cNvSpPr>
          <p:nvPr/>
        </p:nvSpPr>
        <p:spPr>
          <a:xfrm>
            <a:off x="7957808" y="4193070"/>
            <a:ext cx="1429354" cy="335156"/>
          </a:xfrm>
          <a:prstGeom prst="rect">
            <a:avLst/>
          </a:prstGeom>
        </p:spPr>
        <p:txBody>
          <a:bodyPr vert="horz" wrap="square">
            <a:spAutoFit/>
          </a:bodyPr>
          <a:lstStyle>
            <a:lvl1pPr algn="l" rtl="0" eaLnBrk="1" fontAlgn="base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sz="2200" b="0" kern="1200">
                <a:solidFill>
                  <a:schemeClr val="tx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9pPr>
          </a:lstStyle>
          <a:p>
            <a:r>
              <a:rPr lang="en-US" sz="1400">
                <a:solidFill>
                  <a:schemeClr val="bg1"/>
                </a:solidFill>
              </a:rPr>
              <a:t>And more…</a:t>
            </a:r>
          </a:p>
        </p:txBody>
      </p:sp>
      <p:pic>
        <p:nvPicPr>
          <p:cNvPr id="47" name="Grafik 2" descr="countdown.gif">
            <a:extLst>
              <a:ext uri="{FF2B5EF4-FFF2-40B4-BE49-F238E27FC236}">
                <a16:creationId xmlns:a16="http://schemas.microsoft.com/office/drawing/2014/main" id="{59299BCB-13EF-489B-8AB2-6142F25A1ADE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85113" y="4575685"/>
            <a:ext cx="1258887" cy="571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8" name="Fußzeilenplatzhalter 4">
            <a:extLst>
              <a:ext uri="{FF2B5EF4-FFF2-40B4-BE49-F238E27FC236}">
                <a16:creationId xmlns:a16="http://schemas.microsoft.com/office/drawing/2014/main" id="{E077CC87-BC9B-4A2C-BD66-A8EECF6A9FE7}"/>
              </a:ext>
            </a:extLst>
          </p:cNvPr>
          <p:cNvSpPr txBox="1">
            <a:spLocks/>
          </p:cNvSpPr>
          <p:nvPr/>
        </p:nvSpPr>
        <p:spPr>
          <a:xfrm>
            <a:off x="311162" y="4854985"/>
            <a:ext cx="7829538" cy="28851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1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r>
              <a:rPr lang="en-US" dirty="0">
                <a:latin typeface="Arial"/>
                <a:cs typeface="Arial"/>
              </a:rPr>
              <a:t>◻︎ Outline | ◻︎ Organizational</a:t>
            </a:r>
            <a:r>
              <a:rPr lang="en-US" b="1" dirty="0">
                <a:latin typeface="Arial"/>
                <a:cs typeface="Arial"/>
              </a:rPr>
              <a:t> </a:t>
            </a:r>
            <a:r>
              <a:rPr lang="en-US" dirty="0">
                <a:latin typeface="Arial"/>
                <a:cs typeface="Arial"/>
              </a:rPr>
              <a:t>structure</a:t>
            </a:r>
            <a:r>
              <a:rPr lang="en-US" b="1" dirty="0">
                <a:latin typeface="Arial"/>
                <a:cs typeface="Arial"/>
              </a:rPr>
              <a:t> </a:t>
            </a:r>
            <a:r>
              <a:rPr lang="en-US" dirty="0">
                <a:latin typeface="Arial"/>
                <a:cs typeface="Arial"/>
              </a:rPr>
              <a:t>| ◻︎ Research Topics | ◼︎ </a:t>
            </a:r>
            <a:r>
              <a:rPr lang="en-US" b="1" dirty="0">
                <a:latin typeface="Arial"/>
                <a:cs typeface="Arial"/>
              </a:rPr>
              <a:t>ML Pipeline</a:t>
            </a:r>
            <a:r>
              <a:rPr lang="en-US" dirty="0">
                <a:latin typeface="Arial"/>
                <a:cs typeface="Arial"/>
              </a:rPr>
              <a:t>  | ◻︎ Next steps</a:t>
            </a:r>
          </a:p>
        </p:txBody>
      </p:sp>
    </p:spTree>
    <p:extLst>
      <p:ext uri="{BB962C8B-B14F-4D97-AF65-F5344CB8AC3E}">
        <p14:creationId xmlns:p14="http://schemas.microsoft.com/office/powerpoint/2010/main" val="25616529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 advTm="20000"/>
    </mc:Choice>
    <mc:Fallback xmlns="">
      <p:transition spd="slow" advClick="0" advTm="20000"/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A955029A-9658-488E-8DB3-D31943D21F1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A955029A-9658-488E-8DB3-D31943D21F1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7" name="Group 56">
            <a:extLst>
              <a:ext uri="{FF2B5EF4-FFF2-40B4-BE49-F238E27FC236}">
                <a16:creationId xmlns:a16="http://schemas.microsoft.com/office/drawing/2014/main" id="{F8537DBE-83E6-4D84-9C9F-F33C5B1545F6}"/>
              </a:ext>
            </a:extLst>
          </p:cNvPr>
          <p:cNvGrpSpPr/>
          <p:nvPr/>
        </p:nvGrpSpPr>
        <p:grpSpPr>
          <a:xfrm>
            <a:off x="5094899" y="1097245"/>
            <a:ext cx="926748" cy="927606"/>
            <a:chOff x="6949196" y="901815"/>
            <a:chExt cx="1290487" cy="1291684"/>
          </a:xfrm>
        </p:grpSpPr>
        <p:sp>
          <p:nvSpPr>
            <p:cNvPr id="50" name="Oval 49">
              <a:extLst>
                <a:ext uri="{FF2B5EF4-FFF2-40B4-BE49-F238E27FC236}">
                  <a16:creationId xmlns:a16="http://schemas.microsoft.com/office/drawing/2014/main" id="{76C8B27A-F922-4F1F-8E26-223E42F63FA7}"/>
                </a:ext>
              </a:extLst>
            </p:cNvPr>
            <p:cNvSpPr/>
            <p:nvPr>
              <p:custDataLst>
                <p:tags r:id="rId6"/>
              </p:custDataLst>
            </p:nvPr>
          </p:nvSpPr>
          <p:spPr>
            <a:xfrm>
              <a:off x="6949196" y="901815"/>
              <a:ext cx="1290487" cy="1291684"/>
            </a:xfrm>
            <a:prstGeom prst="ellipse">
              <a:avLst/>
            </a:prstGeom>
            <a:grpFill/>
            <a:ln w="38100">
              <a:gradFill flip="none" rotWithShape="1">
                <a:gsLst>
                  <a:gs pos="0">
                    <a:schemeClr val="accent5"/>
                  </a:gs>
                  <a:gs pos="100000">
                    <a:schemeClr val="bg1">
                      <a:lumMod val="75000"/>
                    </a:schemeClr>
                  </a:gs>
                </a:gsLst>
                <a:lin ang="2700000" scaled="1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ct val="95000"/>
                </a:lnSpc>
              </a:pPr>
              <a:endParaRPr lang="en-US" kern="0">
                <a:solidFill>
                  <a:schemeClr val="bg1">
                    <a:lumMod val="50000"/>
                  </a:schemeClr>
                </a:solidFill>
              </a:endParaRPr>
            </a:p>
          </p:txBody>
        </p:sp>
        <p:grpSp>
          <p:nvGrpSpPr>
            <p:cNvPr id="28" name="bcgIcons_Power">
              <a:extLst>
                <a:ext uri="{FF2B5EF4-FFF2-40B4-BE49-F238E27FC236}">
                  <a16:creationId xmlns:a16="http://schemas.microsoft.com/office/drawing/2014/main" id="{BA41BA5F-7E1C-4CE8-BE71-979C63FB4A03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7138185" y="1090978"/>
              <a:ext cx="912512" cy="913358"/>
              <a:chOff x="1682" y="0"/>
              <a:chExt cx="4316" cy="4320"/>
            </a:xfrm>
          </p:grpSpPr>
          <p:sp>
            <p:nvSpPr>
              <p:cNvPr id="29" name="AutoShape 45">
                <a:extLst>
                  <a:ext uri="{FF2B5EF4-FFF2-40B4-BE49-F238E27FC236}">
                    <a16:creationId xmlns:a16="http://schemas.microsoft.com/office/drawing/2014/main" id="{472751EB-1785-426C-98D1-2EDDEE75BFC4}"/>
                  </a:ext>
                </a:extLst>
              </p:cNvPr>
              <p:cNvSpPr>
                <a:spLocks noChangeAspect="1" noChangeArrowheads="1" noTextEdit="1"/>
              </p:cNvSpPr>
              <p:nvPr/>
            </p:nvSpPr>
            <p:spPr bwMode="auto">
              <a:xfrm>
                <a:off x="1682" y="0"/>
                <a:ext cx="4316" cy="432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" name="Freeform 47">
                <a:extLst>
                  <a:ext uri="{FF2B5EF4-FFF2-40B4-BE49-F238E27FC236}">
                    <a16:creationId xmlns:a16="http://schemas.microsoft.com/office/drawing/2014/main" id="{D859DF56-8DE0-458C-B682-BB15C26B48E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896" y="424"/>
                <a:ext cx="1875" cy="3489"/>
              </a:xfrm>
              <a:custGeom>
                <a:avLst/>
                <a:gdLst>
                  <a:gd name="T0" fmla="*/ 672 w 1001"/>
                  <a:gd name="T1" fmla="*/ 44 h 1861"/>
                  <a:gd name="T2" fmla="*/ 552 w 1001"/>
                  <a:gd name="T3" fmla="*/ 778 h 1861"/>
                  <a:gd name="T4" fmla="*/ 957 w 1001"/>
                  <a:gd name="T5" fmla="*/ 666 h 1861"/>
                  <a:gd name="T6" fmla="*/ 332 w 1001"/>
                  <a:gd name="T7" fmla="*/ 1817 h 1861"/>
                  <a:gd name="T8" fmla="*/ 452 w 1001"/>
                  <a:gd name="T9" fmla="*/ 1085 h 1861"/>
                  <a:gd name="T10" fmla="*/ 47 w 1001"/>
                  <a:gd name="T11" fmla="*/ 1195 h 1861"/>
                  <a:gd name="T12" fmla="*/ 672 w 1001"/>
                  <a:gd name="T13" fmla="*/ 44 h 1861"/>
                  <a:gd name="T14" fmla="*/ 957 w 1001"/>
                  <a:gd name="T15" fmla="*/ 666 h 1861"/>
                  <a:gd name="T16" fmla="*/ 957 w 1001"/>
                  <a:gd name="T17" fmla="*/ 666 h 1861"/>
                  <a:gd name="T18" fmla="*/ 672 w 1001"/>
                  <a:gd name="T19" fmla="*/ 0 h 1861"/>
                  <a:gd name="T20" fmla="*/ 634 w 1001"/>
                  <a:gd name="T21" fmla="*/ 23 h 1861"/>
                  <a:gd name="T22" fmla="*/ 9 w 1001"/>
                  <a:gd name="T23" fmla="*/ 1174 h 1861"/>
                  <a:gd name="T24" fmla="*/ 13 w 1001"/>
                  <a:gd name="T25" fmla="*/ 1222 h 1861"/>
                  <a:gd name="T26" fmla="*/ 47 w 1001"/>
                  <a:gd name="T27" fmla="*/ 1239 h 1861"/>
                  <a:gd name="T28" fmla="*/ 59 w 1001"/>
                  <a:gd name="T29" fmla="*/ 1237 h 1861"/>
                  <a:gd name="T30" fmla="*/ 397 w 1001"/>
                  <a:gd name="T31" fmla="*/ 1145 h 1861"/>
                  <a:gd name="T32" fmla="*/ 288 w 1001"/>
                  <a:gd name="T33" fmla="*/ 1810 h 1861"/>
                  <a:gd name="T34" fmla="*/ 318 w 1001"/>
                  <a:gd name="T35" fmla="*/ 1858 h 1861"/>
                  <a:gd name="T36" fmla="*/ 332 w 1001"/>
                  <a:gd name="T37" fmla="*/ 1861 h 1861"/>
                  <a:gd name="T38" fmla="*/ 371 w 1001"/>
                  <a:gd name="T39" fmla="*/ 1838 h 1861"/>
                  <a:gd name="T40" fmla="*/ 995 w 1001"/>
                  <a:gd name="T41" fmla="*/ 688 h 1861"/>
                  <a:gd name="T42" fmla="*/ 1001 w 1001"/>
                  <a:gd name="T43" fmla="*/ 666 h 1861"/>
                  <a:gd name="T44" fmla="*/ 959 w 1001"/>
                  <a:gd name="T45" fmla="*/ 622 h 1861"/>
                  <a:gd name="T46" fmla="*/ 957 w 1001"/>
                  <a:gd name="T47" fmla="*/ 622 h 1861"/>
                  <a:gd name="T48" fmla="*/ 954 w 1001"/>
                  <a:gd name="T49" fmla="*/ 622 h 1861"/>
                  <a:gd name="T50" fmla="*/ 944 w 1001"/>
                  <a:gd name="T51" fmla="*/ 624 h 1861"/>
                  <a:gd name="T52" fmla="*/ 607 w 1001"/>
                  <a:gd name="T53" fmla="*/ 717 h 1861"/>
                  <a:gd name="T54" fmla="*/ 716 w 1001"/>
                  <a:gd name="T55" fmla="*/ 51 h 1861"/>
                  <a:gd name="T56" fmla="*/ 687 w 1001"/>
                  <a:gd name="T57" fmla="*/ 2 h 1861"/>
                  <a:gd name="T58" fmla="*/ 672 w 1001"/>
                  <a:gd name="T59" fmla="*/ 0 h 1861"/>
                  <a:gd name="T60" fmla="*/ 672 w 1001"/>
                  <a:gd name="T61" fmla="*/ 88 h 1861"/>
                  <a:gd name="T62" fmla="*/ 672 w 1001"/>
                  <a:gd name="T63" fmla="*/ 88 h 1861"/>
                  <a:gd name="T64" fmla="*/ 672 w 1001"/>
                  <a:gd name="T65" fmla="*/ 88 h 18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1001" h="1861">
                    <a:moveTo>
                      <a:pt x="672" y="44"/>
                    </a:moveTo>
                    <a:cubicBezTo>
                      <a:pt x="552" y="778"/>
                      <a:pt x="552" y="778"/>
                      <a:pt x="552" y="778"/>
                    </a:cubicBezTo>
                    <a:cubicBezTo>
                      <a:pt x="957" y="666"/>
                      <a:pt x="957" y="666"/>
                      <a:pt x="957" y="666"/>
                    </a:cubicBezTo>
                    <a:cubicBezTo>
                      <a:pt x="332" y="1817"/>
                      <a:pt x="332" y="1817"/>
                      <a:pt x="332" y="1817"/>
                    </a:cubicBezTo>
                    <a:cubicBezTo>
                      <a:pt x="452" y="1085"/>
                      <a:pt x="452" y="1085"/>
                      <a:pt x="452" y="1085"/>
                    </a:cubicBezTo>
                    <a:cubicBezTo>
                      <a:pt x="47" y="1195"/>
                      <a:pt x="47" y="1195"/>
                      <a:pt x="47" y="1195"/>
                    </a:cubicBezTo>
                    <a:cubicBezTo>
                      <a:pt x="672" y="44"/>
                      <a:pt x="672" y="44"/>
                      <a:pt x="672" y="44"/>
                    </a:cubicBezTo>
                    <a:moveTo>
                      <a:pt x="957" y="666"/>
                    </a:moveTo>
                    <a:cubicBezTo>
                      <a:pt x="957" y="666"/>
                      <a:pt x="957" y="666"/>
                      <a:pt x="957" y="666"/>
                    </a:cubicBezTo>
                    <a:moveTo>
                      <a:pt x="672" y="0"/>
                    </a:moveTo>
                    <a:cubicBezTo>
                      <a:pt x="657" y="0"/>
                      <a:pt x="642" y="9"/>
                      <a:pt x="634" y="23"/>
                    </a:cubicBezTo>
                    <a:cubicBezTo>
                      <a:pt x="9" y="1174"/>
                      <a:pt x="9" y="1174"/>
                      <a:pt x="9" y="1174"/>
                    </a:cubicBezTo>
                    <a:cubicBezTo>
                      <a:pt x="0" y="1189"/>
                      <a:pt x="2" y="1208"/>
                      <a:pt x="13" y="1222"/>
                    </a:cubicBezTo>
                    <a:cubicBezTo>
                      <a:pt x="21" y="1233"/>
                      <a:pt x="34" y="1239"/>
                      <a:pt x="47" y="1239"/>
                    </a:cubicBezTo>
                    <a:cubicBezTo>
                      <a:pt x="51" y="1239"/>
                      <a:pt x="55" y="1238"/>
                      <a:pt x="59" y="1237"/>
                    </a:cubicBezTo>
                    <a:cubicBezTo>
                      <a:pt x="397" y="1145"/>
                      <a:pt x="397" y="1145"/>
                      <a:pt x="397" y="1145"/>
                    </a:cubicBezTo>
                    <a:cubicBezTo>
                      <a:pt x="288" y="1810"/>
                      <a:pt x="288" y="1810"/>
                      <a:pt x="288" y="1810"/>
                    </a:cubicBezTo>
                    <a:cubicBezTo>
                      <a:pt x="285" y="1831"/>
                      <a:pt x="297" y="1851"/>
                      <a:pt x="318" y="1858"/>
                    </a:cubicBezTo>
                    <a:cubicBezTo>
                      <a:pt x="322" y="1860"/>
                      <a:pt x="327" y="1861"/>
                      <a:pt x="332" y="1861"/>
                    </a:cubicBezTo>
                    <a:cubicBezTo>
                      <a:pt x="348" y="1861"/>
                      <a:pt x="363" y="1852"/>
                      <a:pt x="371" y="1838"/>
                    </a:cubicBezTo>
                    <a:cubicBezTo>
                      <a:pt x="995" y="688"/>
                      <a:pt x="995" y="688"/>
                      <a:pt x="995" y="688"/>
                    </a:cubicBezTo>
                    <a:cubicBezTo>
                      <a:pt x="999" y="681"/>
                      <a:pt x="1001" y="674"/>
                      <a:pt x="1001" y="666"/>
                    </a:cubicBezTo>
                    <a:cubicBezTo>
                      <a:pt x="1001" y="642"/>
                      <a:pt x="982" y="623"/>
                      <a:pt x="959" y="622"/>
                    </a:cubicBezTo>
                    <a:cubicBezTo>
                      <a:pt x="958" y="622"/>
                      <a:pt x="958" y="622"/>
                      <a:pt x="957" y="622"/>
                    </a:cubicBezTo>
                    <a:cubicBezTo>
                      <a:pt x="956" y="622"/>
                      <a:pt x="955" y="622"/>
                      <a:pt x="954" y="622"/>
                    </a:cubicBezTo>
                    <a:cubicBezTo>
                      <a:pt x="950" y="622"/>
                      <a:pt x="947" y="623"/>
                      <a:pt x="944" y="624"/>
                    </a:cubicBezTo>
                    <a:cubicBezTo>
                      <a:pt x="607" y="717"/>
                      <a:pt x="607" y="717"/>
                      <a:pt x="607" y="717"/>
                    </a:cubicBezTo>
                    <a:cubicBezTo>
                      <a:pt x="716" y="51"/>
                      <a:pt x="716" y="51"/>
                      <a:pt x="716" y="51"/>
                    </a:cubicBezTo>
                    <a:cubicBezTo>
                      <a:pt x="719" y="30"/>
                      <a:pt x="707" y="9"/>
                      <a:pt x="687" y="2"/>
                    </a:cubicBezTo>
                    <a:cubicBezTo>
                      <a:pt x="682" y="1"/>
                      <a:pt x="677" y="0"/>
                      <a:pt x="672" y="0"/>
                    </a:cubicBezTo>
                    <a:close/>
                    <a:moveTo>
                      <a:pt x="672" y="88"/>
                    </a:moveTo>
                    <a:cubicBezTo>
                      <a:pt x="672" y="88"/>
                      <a:pt x="672" y="88"/>
                      <a:pt x="672" y="88"/>
                    </a:cubicBezTo>
                    <a:cubicBezTo>
                      <a:pt x="672" y="88"/>
                      <a:pt x="672" y="88"/>
                      <a:pt x="672" y="88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" name="Freeform 48">
                <a:extLst>
                  <a:ext uri="{FF2B5EF4-FFF2-40B4-BE49-F238E27FC236}">
                    <a16:creationId xmlns:a16="http://schemas.microsoft.com/office/drawing/2014/main" id="{838F2480-6936-4582-BBC4-38F4C0F3990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52" y="953"/>
                <a:ext cx="1390" cy="2431"/>
              </a:xfrm>
              <a:custGeom>
                <a:avLst/>
                <a:gdLst>
                  <a:gd name="T0" fmla="*/ 529 w 1390"/>
                  <a:gd name="T1" fmla="*/ 2431 h 2431"/>
                  <a:gd name="T2" fmla="*/ 709 w 1390"/>
                  <a:gd name="T3" fmla="*/ 1395 h 2431"/>
                  <a:gd name="T4" fmla="*/ 0 w 1390"/>
                  <a:gd name="T5" fmla="*/ 1586 h 2431"/>
                  <a:gd name="T6" fmla="*/ 862 w 1390"/>
                  <a:gd name="T7" fmla="*/ 0 h 2431"/>
                  <a:gd name="T8" fmla="*/ 682 w 1390"/>
                  <a:gd name="T9" fmla="*/ 1033 h 2431"/>
                  <a:gd name="T10" fmla="*/ 1390 w 1390"/>
                  <a:gd name="T11" fmla="*/ 843 h 2431"/>
                  <a:gd name="T12" fmla="*/ 529 w 1390"/>
                  <a:gd name="T13" fmla="*/ 2431 h 24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390" h="2431">
                    <a:moveTo>
                      <a:pt x="529" y="2431"/>
                    </a:moveTo>
                    <a:lnTo>
                      <a:pt x="709" y="1395"/>
                    </a:lnTo>
                    <a:lnTo>
                      <a:pt x="0" y="1586"/>
                    </a:lnTo>
                    <a:lnTo>
                      <a:pt x="862" y="0"/>
                    </a:lnTo>
                    <a:lnTo>
                      <a:pt x="682" y="1033"/>
                    </a:lnTo>
                    <a:lnTo>
                      <a:pt x="1390" y="843"/>
                    </a:lnTo>
                    <a:lnTo>
                      <a:pt x="529" y="2431"/>
                    </a:ln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grpSp>
        <p:nvGrpSpPr>
          <p:cNvPr id="60" name="Group 59">
            <a:extLst>
              <a:ext uri="{FF2B5EF4-FFF2-40B4-BE49-F238E27FC236}">
                <a16:creationId xmlns:a16="http://schemas.microsoft.com/office/drawing/2014/main" id="{02940EE2-748A-4A42-87D6-C9639CD553C9}"/>
              </a:ext>
            </a:extLst>
          </p:cNvPr>
          <p:cNvGrpSpPr/>
          <p:nvPr/>
        </p:nvGrpSpPr>
        <p:grpSpPr>
          <a:xfrm>
            <a:off x="4220028" y="2731056"/>
            <a:ext cx="927786" cy="926890"/>
            <a:chOff x="5276012" y="2783658"/>
            <a:chExt cx="1291932" cy="1290684"/>
          </a:xfrm>
        </p:grpSpPr>
        <p:sp>
          <p:nvSpPr>
            <p:cNvPr id="48" name="Oval 47">
              <a:extLst>
                <a:ext uri="{FF2B5EF4-FFF2-40B4-BE49-F238E27FC236}">
                  <a16:creationId xmlns:a16="http://schemas.microsoft.com/office/drawing/2014/main" id="{1D18C0E0-0499-4A84-9F96-85DF3CC1430E}"/>
                </a:ext>
              </a:extLst>
            </p:cNvPr>
            <p:cNvSpPr/>
            <p:nvPr>
              <p:custDataLst>
                <p:tags r:id="rId5"/>
              </p:custDataLst>
            </p:nvPr>
          </p:nvSpPr>
          <p:spPr>
            <a:xfrm>
              <a:off x="5276012" y="2783658"/>
              <a:ext cx="1291932" cy="1290684"/>
            </a:xfrm>
            <a:prstGeom prst="ellipse">
              <a:avLst/>
            </a:prstGeom>
            <a:grpFill/>
            <a:ln w="38100">
              <a:gradFill flip="none" rotWithShape="1">
                <a:gsLst>
                  <a:gs pos="0">
                    <a:schemeClr val="accent5"/>
                  </a:gs>
                  <a:gs pos="100000">
                    <a:schemeClr val="bg1">
                      <a:lumMod val="75000"/>
                    </a:schemeClr>
                  </a:gs>
                </a:gsLst>
                <a:lin ang="2700000" scaled="1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ct val="95000"/>
                </a:lnSpc>
              </a:pPr>
              <a:endParaRPr lang="en-US" kern="0">
                <a:solidFill>
                  <a:schemeClr val="bg1">
                    <a:lumMod val="50000"/>
                  </a:schemeClr>
                </a:solidFill>
              </a:endParaRPr>
            </a:p>
          </p:txBody>
        </p:sp>
        <p:grpSp>
          <p:nvGrpSpPr>
            <p:cNvPr id="59" name="Group 58">
              <a:extLst>
                <a:ext uri="{FF2B5EF4-FFF2-40B4-BE49-F238E27FC236}">
                  <a16:creationId xmlns:a16="http://schemas.microsoft.com/office/drawing/2014/main" id="{12EC0994-6E8E-4ED5-BF64-BED362B97495}"/>
                </a:ext>
              </a:extLst>
            </p:cNvPr>
            <p:cNvGrpSpPr/>
            <p:nvPr/>
          </p:nvGrpSpPr>
          <p:grpSpPr>
            <a:xfrm>
              <a:off x="5465212" y="2972674"/>
              <a:ext cx="913534" cy="912652"/>
              <a:chOff x="5465212" y="2972674"/>
              <a:chExt cx="913534" cy="912652"/>
            </a:xfrm>
          </p:grpSpPr>
          <p:sp>
            <p:nvSpPr>
              <p:cNvPr id="33" name="AutoShape 3">
                <a:extLst>
                  <a:ext uri="{FF2B5EF4-FFF2-40B4-BE49-F238E27FC236}">
                    <a16:creationId xmlns:a16="http://schemas.microsoft.com/office/drawing/2014/main" id="{7DC52E1D-B5B6-45DE-826E-5399E89B4C5E}"/>
                  </a:ext>
                </a:extLst>
              </p:cNvPr>
              <p:cNvSpPr>
                <a:spLocks noChangeAspect="1" noChangeArrowheads="1" noTextEdit="1"/>
              </p:cNvSpPr>
              <p:nvPr/>
            </p:nvSpPr>
            <p:spPr bwMode="auto">
              <a:xfrm>
                <a:off x="5465212" y="2972674"/>
                <a:ext cx="913534" cy="91265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grpSp>
            <p:nvGrpSpPr>
              <p:cNvPr id="34" name="Group 33">
                <a:extLst>
                  <a:ext uri="{FF2B5EF4-FFF2-40B4-BE49-F238E27FC236}">
                    <a16:creationId xmlns:a16="http://schemas.microsoft.com/office/drawing/2014/main" id="{D3CF202B-E526-4C36-8D8D-4925CAC2CE9D}"/>
                  </a:ext>
                </a:extLst>
              </p:cNvPr>
              <p:cNvGrpSpPr/>
              <p:nvPr/>
            </p:nvGrpSpPr>
            <p:grpSpPr>
              <a:xfrm>
                <a:off x="5543775" y="3126838"/>
                <a:ext cx="756408" cy="628990"/>
                <a:chOff x="2773650" y="2884488"/>
                <a:chExt cx="1363088" cy="1133475"/>
              </a:xfrm>
            </p:grpSpPr>
            <p:sp>
              <p:nvSpPr>
                <p:cNvPr id="35" name="Freeform 13">
                  <a:extLst>
                    <a:ext uri="{FF2B5EF4-FFF2-40B4-BE49-F238E27FC236}">
                      <a16:creationId xmlns:a16="http://schemas.microsoft.com/office/drawing/2014/main" id="{CBAAE544-D944-4225-9E72-F1077B4E319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773650" y="2884488"/>
                  <a:ext cx="1363088" cy="984250"/>
                </a:xfrm>
                <a:custGeom>
                  <a:avLst/>
                  <a:gdLst>
                    <a:gd name="connsiteX0" fmla="*/ 208906 w 1363088"/>
                    <a:gd name="connsiteY0" fmla="*/ 261937 h 984250"/>
                    <a:gd name="connsiteX1" fmla="*/ 70532 w 1363088"/>
                    <a:gd name="connsiteY1" fmla="*/ 658583 h 984250"/>
                    <a:gd name="connsiteX2" fmla="*/ 36295 w 1363088"/>
                    <a:gd name="connsiteY2" fmla="*/ 756317 h 984250"/>
                    <a:gd name="connsiteX3" fmla="*/ 32728 w 1363088"/>
                    <a:gd name="connsiteY3" fmla="*/ 804115 h 984250"/>
                    <a:gd name="connsiteX4" fmla="*/ 208906 w 1363088"/>
                    <a:gd name="connsiteY4" fmla="*/ 952500 h 984250"/>
                    <a:gd name="connsiteX5" fmla="*/ 385797 w 1363088"/>
                    <a:gd name="connsiteY5" fmla="*/ 804115 h 984250"/>
                    <a:gd name="connsiteX6" fmla="*/ 381517 w 1363088"/>
                    <a:gd name="connsiteY6" fmla="*/ 756317 h 984250"/>
                    <a:gd name="connsiteX7" fmla="*/ 347994 w 1363088"/>
                    <a:gd name="connsiteY7" fmla="*/ 658583 h 984250"/>
                    <a:gd name="connsiteX8" fmla="*/ 572406 w 1363088"/>
                    <a:gd name="connsiteY8" fmla="*/ 93662 h 984250"/>
                    <a:gd name="connsiteX9" fmla="*/ 570978 w 1363088"/>
                    <a:gd name="connsiteY9" fmla="*/ 114373 h 984250"/>
                    <a:gd name="connsiteX10" fmla="*/ 570978 w 1363088"/>
                    <a:gd name="connsiteY10" fmla="*/ 126515 h 984250"/>
                    <a:gd name="connsiteX11" fmla="*/ 425264 w 1363088"/>
                    <a:gd name="connsiteY11" fmla="*/ 168651 h 984250"/>
                    <a:gd name="connsiteX12" fmla="*/ 575978 w 1363088"/>
                    <a:gd name="connsiteY12" fmla="*/ 147940 h 984250"/>
                    <a:gd name="connsiteX13" fmla="*/ 590263 w 1363088"/>
                    <a:gd name="connsiteY13" fmla="*/ 177222 h 984250"/>
                    <a:gd name="connsiteX14" fmla="*/ 230980 w 1363088"/>
                    <a:gd name="connsiteY14" fmla="*/ 226500 h 984250"/>
                    <a:gd name="connsiteX15" fmla="*/ 378122 w 1363088"/>
                    <a:gd name="connsiteY15" fmla="*/ 647869 h 984250"/>
                    <a:gd name="connsiteX16" fmla="*/ 412407 w 1363088"/>
                    <a:gd name="connsiteY16" fmla="*/ 746427 h 984250"/>
                    <a:gd name="connsiteX17" fmla="*/ 417407 w 1363088"/>
                    <a:gd name="connsiteY17" fmla="*/ 809275 h 984250"/>
                    <a:gd name="connsiteX18" fmla="*/ 209552 w 1363088"/>
                    <a:gd name="connsiteY18" fmla="*/ 984250 h 984250"/>
                    <a:gd name="connsiteX19" fmla="*/ 1697 w 1363088"/>
                    <a:gd name="connsiteY19" fmla="*/ 809275 h 984250"/>
                    <a:gd name="connsiteX20" fmla="*/ 7411 w 1363088"/>
                    <a:gd name="connsiteY20" fmla="*/ 746427 h 984250"/>
                    <a:gd name="connsiteX21" fmla="*/ 40982 w 1363088"/>
                    <a:gd name="connsiteY21" fmla="*/ 647869 h 984250"/>
                    <a:gd name="connsiteX22" fmla="*/ 195266 w 1363088"/>
                    <a:gd name="connsiteY22" fmla="*/ 208646 h 984250"/>
                    <a:gd name="connsiteX23" fmla="*/ 195266 w 1363088"/>
                    <a:gd name="connsiteY23" fmla="*/ 207217 h 984250"/>
                    <a:gd name="connsiteX24" fmla="*/ 195981 w 1363088"/>
                    <a:gd name="connsiteY24" fmla="*/ 205789 h 984250"/>
                    <a:gd name="connsiteX25" fmla="*/ 196695 w 1363088"/>
                    <a:gd name="connsiteY25" fmla="*/ 205075 h 984250"/>
                    <a:gd name="connsiteX26" fmla="*/ 197409 w 1363088"/>
                    <a:gd name="connsiteY26" fmla="*/ 203647 h 984250"/>
                    <a:gd name="connsiteX27" fmla="*/ 198123 w 1363088"/>
                    <a:gd name="connsiteY27" fmla="*/ 202932 h 984250"/>
                    <a:gd name="connsiteX28" fmla="*/ 199552 w 1363088"/>
                    <a:gd name="connsiteY28" fmla="*/ 201504 h 984250"/>
                    <a:gd name="connsiteX29" fmla="*/ 200266 w 1363088"/>
                    <a:gd name="connsiteY29" fmla="*/ 200790 h 984250"/>
                    <a:gd name="connsiteX30" fmla="*/ 202409 w 1363088"/>
                    <a:gd name="connsiteY30" fmla="*/ 200076 h 984250"/>
                    <a:gd name="connsiteX31" fmla="*/ 202409 w 1363088"/>
                    <a:gd name="connsiteY31" fmla="*/ 199361 h 984250"/>
                    <a:gd name="connsiteX32" fmla="*/ 205266 w 1363088"/>
                    <a:gd name="connsiteY32" fmla="*/ 198647 h 984250"/>
                    <a:gd name="connsiteX33" fmla="*/ 572406 w 1363088"/>
                    <a:gd name="connsiteY33" fmla="*/ 93662 h 984250"/>
                    <a:gd name="connsiteX34" fmla="*/ 1154182 w 1363088"/>
                    <a:gd name="connsiteY34" fmla="*/ 63500 h 984250"/>
                    <a:gd name="connsiteX35" fmla="*/ 1015095 w 1363088"/>
                    <a:gd name="connsiteY35" fmla="*/ 460146 h 984250"/>
                    <a:gd name="connsiteX36" fmla="*/ 981571 w 1363088"/>
                    <a:gd name="connsiteY36" fmla="*/ 557880 h 984250"/>
                    <a:gd name="connsiteX37" fmla="*/ 977291 w 1363088"/>
                    <a:gd name="connsiteY37" fmla="*/ 605678 h 984250"/>
                    <a:gd name="connsiteX38" fmla="*/ 1154182 w 1363088"/>
                    <a:gd name="connsiteY38" fmla="*/ 754063 h 984250"/>
                    <a:gd name="connsiteX39" fmla="*/ 1330360 w 1363088"/>
                    <a:gd name="connsiteY39" fmla="*/ 605678 h 984250"/>
                    <a:gd name="connsiteX40" fmla="*/ 1326794 w 1363088"/>
                    <a:gd name="connsiteY40" fmla="*/ 557880 h 984250"/>
                    <a:gd name="connsiteX41" fmla="*/ 1292557 w 1363088"/>
                    <a:gd name="connsiteY41" fmla="*/ 460146 h 984250"/>
                    <a:gd name="connsiteX42" fmla="*/ 1154182 w 1363088"/>
                    <a:gd name="connsiteY42" fmla="*/ 63500 h 984250"/>
                    <a:gd name="connsiteX43" fmla="*/ 1151393 w 1363088"/>
                    <a:gd name="connsiteY43" fmla="*/ 0 h 984250"/>
                    <a:gd name="connsiteX44" fmla="*/ 1152108 w 1363088"/>
                    <a:gd name="connsiteY44" fmla="*/ 0 h 984250"/>
                    <a:gd name="connsiteX45" fmla="*/ 1153536 w 1363088"/>
                    <a:gd name="connsiteY45" fmla="*/ 0 h 984250"/>
                    <a:gd name="connsiteX46" fmla="*/ 1154965 w 1363088"/>
                    <a:gd name="connsiteY46" fmla="*/ 0 h 984250"/>
                    <a:gd name="connsiteX47" fmla="*/ 1156393 w 1363088"/>
                    <a:gd name="connsiteY47" fmla="*/ 714 h 984250"/>
                    <a:gd name="connsiteX48" fmla="*/ 1157822 w 1363088"/>
                    <a:gd name="connsiteY48" fmla="*/ 714 h 984250"/>
                    <a:gd name="connsiteX49" fmla="*/ 1159251 w 1363088"/>
                    <a:gd name="connsiteY49" fmla="*/ 1428 h 984250"/>
                    <a:gd name="connsiteX50" fmla="*/ 1159965 w 1363088"/>
                    <a:gd name="connsiteY50" fmla="*/ 1428 h 984250"/>
                    <a:gd name="connsiteX51" fmla="*/ 1162108 w 1363088"/>
                    <a:gd name="connsiteY51" fmla="*/ 2855 h 984250"/>
                    <a:gd name="connsiteX52" fmla="*/ 1162822 w 1363088"/>
                    <a:gd name="connsiteY52" fmla="*/ 2855 h 984250"/>
                    <a:gd name="connsiteX53" fmla="*/ 1164251 w 1363088"/>
                    <a:gd name="connsiteY53" fmla="*/ 4996 h 984250"/>
                    <a:gd name="connsiteX54" fmla="*/ 1164965 w 1363088"/>
                    <a:gd name="connsiteY54" fmla="*/ 5710 h 984250"/>
                    <a:gd name="connsiteX55" fmla="*/ 1166393 w 1363088"/>
                    <a:gd name="connsiteY55" fmla="*/ 7137 h 984250"/>
                    <a:gd name="connsiteX56" fmla="*/ 1166393 w 1363088"/>
                    <a:gd name="connsiteY56" fmla="*/ 7851 h 984250"/>
                    <a:gd name="connsiteX57" fmla="*/ 1167822 w 1363088"/>
                    <a:gd name="connsiteY57" fmla="*/ 9279 h 984250"/>
                    <a:gd name="connsiteX58" fmla="*/ 1167822 w 1363088"/>
                    <a:gd name="connsiteY58" fmla="*/ 9992 h 984250"/>
                    <a:gd name="connsiteX59" fmla="*/ 1167822 w 1363088"/>
                    <a:gd name="connsiteY59" fmla="*/ 10706 h 984250"/>
                    <a:gd name="connsiteX60" fmla="*/ 1322106 w 1363088"/>
                    <a:gd name="connsiteY60" fmla="*/ 450362 h 984250"/>
                    <a:gd name="connsiteX61" fmla="*/ 1355678 w 1363088"/>
                    <a:gd name="connsiteY61" fmla="*/ 548142 h 984250"/>
                    <a:gd name="connsiteX62" fmla="*/ 1361392 w 1363088"/>
                    <a:gd name="connsiteY62" fmla="*/ 610950 h 984250"/>
                    <a:gd name="connsiteX63" fmla="*/ 1153536 w 1363088"/>
                    <a:gd name="connsiteY63" fmla="*/ 785813 h 984250"/>
                    <a:gd name="connsiteX64" fmla="*/ 945681 w 1363088"/>
                    <a:gd name="connsiteY64" fmla="*/ 610950 h 984250"/>
                    <a:gd name="connsiteX65" fmla="*/ 950681 w 1363088"/>
                    <a:gd name="connsiteY65" fmla="*/ 548142 h 984250"/>
                    <a:gd name="connsiteX66" fmla="*/ 984966 w 1363088"/>
                    <a:gd name="connsiteY66" fmla="*/ 450362 h 984250"/>
                    <a:gd name="connsiteX67" fmla="*/ 1128537 w 1363088"/>
                    <a:gd name="connsiteY67" fmla="*/ 39255 h 984250"/>
                    <a:gd name="connsiteX68" fmla="*/ 790682 w 1363088"/>
                    <a:gd name="connsiteY68" fmla="*/ 136322 h 984250"/>
                    <a:gd name="connsiteX69" fmla="*/ 792111 w 1363088"/>
                    <a:gd name="connsiteY69" fmla="*/ 109200 h 984250"/>
                    <a:gd name="connsiteX70" fmla="*/ 792111 w 1363088"/>
                    <a:gd name="connsiteY70" fmla="*/ 102777 h 984250"/>
                    <a:gd name="connsiteX71" fmla="*/ 937824 w 1363088"/>
                    <a:gd name="connsiteY71" fmla="*/ 61381 h 984250"/>
                    <a:gd name="connsiteX72" fmla="*/ 787111 w 1363088"/>
                    <a:gd name="connsiteY72" fmla="*/ 81365 h 984250"/>
                    <a:gd name="connsiteX73" fmla="*/ 772825 w 1363088"/>
                    <a:gd name="connsiteY73" fmla="*/ 52102 h 984250"/>
                    <a:gd name="connsiteX74" fmla="*/ 1151393 w 1363088"/>
                    <a:gd name="connsiteY74" fmla="*/ 0 h 9842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</a:cxnLst>
                  <a:rect l="l" t="t" r="r" b="b"/>
                  <a:pathLst>
                    <a:path w="1363088" h="984250">
                      <a:moveTo>
                        <a:pt x="208906" y="261937"/>
                      </a:moveTo>
                      <a:cubicBezTo>
                        <a:pt x="208906" y="261937"/>
                        <a:pt x="208906" y="261937"/>
                        <a:pt x="70532" y="658583"/>
                      </a:cubicBezTo>
                      <a:cubicBezTo>
                        <a:pt x="70532" y="658583"/>
                        <a:pt x="70532" y="658583"/>
                        <a:pt x="36295" y="756317"/>
                      </a:cubicBezTo>
                      <a:cubicBezTo>
                        <a:pt x="31302" y="772012"/>
                        <a:pt x="29875" y="788420"/>
                        <a:pt x="32728" y="804115"/>
                      </a:cubicBezTo>
                      <a:cubicBezTo>
                        <a:pt x="46994" y="889722"/>
                        <a:pt x="121174" y="952500"/>
                        <a:pt x="208906" y="952500"/>
                      </a:cubicBezTo>
                      <a:cubicBezTo>
                        <a:pt x="296638" y="952500"/>
                        <a:pt x="370818" y="889722"/>
                        <a:pt x="385797" y="804115"/>
                      </a:cubicBezTo>
                      <a:cubicBezTo>
                        <a:pt x="388650" y="788420"/>
                        <a:pt x="387224" y="772012"/>
                        <a:pt x="381517" y="756317"/>
                      </a:cubicBezTo>
                      <a:cubicBezTo>
                        <a:pt x="381517" y="756317"/>
                        <a:pt x="381517" y="756317"/>
                        <a:pt x="347994" y="658583"/>
                      </a:cubicBezTo>
                      <a:close/>
                      <a:moveTo>
                        <a:pt x="572406" y="93662"/>
                      </a:moveTo>
                      <a:cubicBezTo>
                        <a:pt x="571692" y="100090"/>
                        <a:pt x="570978" y="107232"/>
                        <a:pt x="570978" y="114373"/>
                      </a:cubicBezTo>
                      <a:cubicBezTo>
                        <a:pt x="570978" y="118659"/>
                        <a:pt x="570978" y="122230"/>
                        <a:pt x="570978" y="126515"/>
                      </a:cubicBezTo>
                      <a:cubicBezTo>
                        <a:pt x="570978" y="126515"/>
                        <a:pt x="570978" y="126515"/>
                        <a:pt x="425264" y="168651"/>
                      </a:cubicBezTo>
                      <a:cubicBezTo>
                        <a:pt x="425264" y="168651"/>
                        <a:pt x="425264" y="168651"/>
                        <a:pt x="575978" y="147940"/>
                      </a:cubicBezTo>
                      <a:cubicBezTo>
                        <a:pt x="578835" y="158653"/>
                        <a:pt x="583835" y="168651"/>
                        <a:pt x="590263" y="177222"/>
                      </a:cubicBezTo>
                      <a:cubicBezTo>
                        <a:pt x="590263" y="177222"/>
                        <a:pt x="590263" y="177222"/>
                        <a:pt x="230980" y="226500"/>
                      </a:cubicBezTo>
                      <a:cubicBezTo>
                        <a:pt x="230980" y="226500"/>
                        <a:pt x="230980" y="226500"/>
                        <a:pt x="378122" y="647869"/>
                      </a:cubicBezTo>
                      <a:cubicBezTo>
                        <a:pt x="378122" y="647869"/>
                        <a:pt x="378122" y="647869"/>
                        <a:pt x="412407" y="746427"/>
                      </a:cubicBezTo>
                      <a:cubicBezTo>
                        <a:pt x="419550" y="766424"/>
                        <a:pt x="420979" y="788564"/>
                        <a:pt x="417407" y="809275"/>
                      </a:cubicBezTo>
                      <a:cubicBezTo>
                        <a:pt x="400265" y="910689"/>
                        <a:pt x="313123" y="984250"/>
                        <a:pt x="209552" y="984250"/>
                      </a:cubicBezTo>
                      <a:cubicBezTo>
                        <a:pt x="106696" y="984250"/>
                        <a:pt x="19554" y="910689"/>
                        <a:pt x="1697" y="809275"/>
                      </a:cubicBezTo>
                      <a:cubicBezTo>
                        <a:pt x="-1875" y="788564"/>
                        <a:pt x="268" y="766424"/>
                        <a:pt x="7411" y="746427"/>
                      </a:cubicBezTo>
                      <a:cubicBezTo>
                        <a:pt x="7411" y="746427"/>
                        <a:pt x="7411" y="746427"/>
                        <a:pt x="40982" y="647869"/>
                      </a:cubicBezTo>
                      <a:cubicBezTo>
                        <a:pt x="40982" y="647869"/>
                        <a:pt x="40982" y="647869"/>
                        <a:pt x="195266" y="208646"/>
                      </a:cubicBezTo>
                      <a:cubicBezTo>
                        <a:pt x="195266" y="207932"/>
                        <a:pt x="195266" y="207932"/>
                        <a:pt x="195266" y="207217"/>
                      </a:cubicBezTo>
                      <a:cubicBezTo>
                        <a:pt x="195266" y="207217"/>
                        <a:pt x="195981" y="206503"/>
                        <a:pt x="195981" y="205789"/>
                      </a:cubicBezTo>
                      <a:cubicBezTo>
                        <a:pt x="195981" y="205789"/>
                        <a:pt x="196695" y="205075"/>
                        <a:pt x="196695" y="205075"/>
                      </a:cubicBezTo>
                      <a:cubicBezTo>
                        <a:pt x="196695" y="204361"/>
                        <a:pt x="197409" y="204361"/>
                        <a:pt x="197409" y="203647"/>
                      </a:cubicBezTo>
                      <a:cubicBezTo>
                        <a:pt x="198123" y="203647"/>
                        <a:pt x="198123" y="202932"/>
                        <a:pt x="198123" y="202932"/>
                      </a:cubicBezTo>
                      <a:cubicBezTo>
                        <a:pt x="198838" y="202218"/>
                        <a:pt x="198838" y="202218"/>
                        <a:pt x="199552" y="201504"/>
                      </a:cubicBezTo>
                      <a:cubicBezTo>
                        <a:pt x="199552" y="201504"/>
                        <a:pt x="200266" y="201504"/>
                        <a:pt x="200266" y="200790"/>
                      </a:cubicBezTo>
                      <a:cubicBezTo>
                        <a:pt x="200981" y="200790"/>
                        <a:pt x="201695" y="200076"/>
                        <a:pt x="202409" y="200076"/>
                      </a:cubicBezTo>
                      <a:cubicBezTo>
                        <a:pt x="202409" y="200076"/>
                        <a:pt x="202409" y="199361"/>
                        <a:pt x="202409" y="199361"/>
                      </a:cubicBezTo>
                      <a:cubicBezTo>
                        <a:pt x="203123" y="199361"/>
                        <a:pt x="204552" y="198647"/>
                        <a:pt x="205266" y="198647"/>
                      </a:cubicBezTo>
                      <a:cubicBezTo>
                        <a:pt x="205266" y="198647"/>
                        <a:pt x="205266" y="198647"/>
                        <a:pt x="572406" y="93662"/>
                      </a:cubicBezTo>
                      <a:close/>
                      <a:moveTo>
                        <a:pt x="1154182" y="63500"/>
                      </a:moveTo>
                      <a:cubicBezTo>
                        <a:pt x="1154182" y="63500"/>
                        <a:pt x="1154182" y="63500"/>
                        <a:pt x="1015095" y="460146"/>
                      </a:cubicBezTo>
                      <a:cubicBezTo>
                        <a:pt x="1015095" y="460146"/>
                        <a:pt x="1015095" y="460146"/>
                        <a:pt x="981571" y="557880"/>
                      </a:cubicBezTo>
                      <a:cubicBezTo>
                        <a:pt x="975865" y="573575"/>
                        <a:pt x="974438" y="589983"/>
                        <a:pt x="977291" y="605678"/>
                      </a:cubicBezTo>
                      <a:cubicBezTo>
                        <a:pt x="992270" y="691998"/>
                        <a:pt x="1066450" y="754063"/>
                        <a:pt x="1154182" y="754063"/>
                      </a:cubicBezTo>
                      <a:cubicBezTo>
                        <a:pt x="1241915" y="754063"/>
                        <a:pt x="1316095" y="691998"/>
                        <a:pt x="1330360" y="605678"/>
                      </a:cubicBezTo>
                      <a:cubicBezTo>
                        <a:pt x="1333213" y="589983"/>
                        <a:pt x="1331787" y="573575"/>
                        <a:pt x="1326794" y="557880"/>
                      </a:cubicBezTo>
                      <a:cubicBezTo>
                        <a:pt x="1326794" y="557880"/>
                        <a:pt x="1326794" y="557880"/>
                        <a:pt x="1292557" y="460146"/>
                      </a:cubicBezTo>
                      <a:cubicBezTo>
                        <a:pt x="1292557" y="460146"/>
                        <a:pt x="1292557" y="460146"/>
                        <a:pt x="1154182" y="63500"/>
                      </a:cubicBezTo>
                      <a:close/>
                      <a:moveTo>
                        <a:pt x="1151393" y="0"/>
                      </a:moveTo>
                      <a:cubicBezTo>
                        <a:pt x="1151393" y="0"/>
                        <a:pt x="1151393" y="0"/>
                        <a:pt x="1152108" y="0"/>
                      </a:cubicBezTo>
                      <a:cubicBezTo>
                        <a:pt x="1152108" y="0"/>
                        <a:pt x="1152822" y="0"/>
                        <a:pt x="1153536" y="0"/>
                      </a:cubicBezTo>
                      <a:cubicBezTo>
                        <a:pt x="1154251" y="0"/>
                        <a:pt x="1154251" y="0"/>
                        <a:pt x="1154965" y="0"/>
                      </a:cubicBezTo>
                      <a:cubicBezTo>
                        <a:pt x="1155679" y="0"/>
                        <a:pt x="1155679" y="714"/>
                        <a:pt x="1156393" y="714"/>
                      </a:cubicBezTo>
                      <a:cubicBezTo>
                        <a:pt x="1157108" y="714"/>
                        <a:pt x="1157108" y="714"/>
                        <a:pt x="1157822" y="714"/>
                      </a:cubicBezTo>
                      <a:cubicBezTo>
                        <a:pt x="1157822" y="714"/>
                        <a:pt x="1158536" y="1428"/>
                        <a:pt x="1159251" y="1428"/>
                      </a:cubicBezTo>
                      <a:cubicBezTo>
                        <a:pt x="1159251" y="1428"/>
                        <a:pt x="1159965" y="1428"/>
                        <a:pt x="1159965" y="1428"/>
                      </a:cubicBezTo>
                      <a:cubicBezTo>
                        <a:pt x="1160679" y="2141"/>
                        <a:pt x="1161393" y="2141"/>
                        <a:pt x="1162108" y="2855"/>
                      </a:cubicBezTo>
                      <a:cubicBezTo>
                        <a:pt x="1162108" y="2855"/>
                        <a:pt x="1162108" y="2855"/>
                        <a:pt x="1162822" y="2855"/>
                      </a:cubicBezTo>
                      <a:cubicBezTo>
                        <a:pt x="1163536" y="3569"/>
                        <a:pt x="1163536" y="4282"/>
                        <a:pt x="1164251" y="4996"/>
                      </a:cubicBezTo>
                      <a:cubicBezTo>
                        <a:pt x="1164965" y="4996"/>
                        <a:pt x="1164965" y="4996"/>
                        <a:pt x="1164965" y="5710"/>
                      </a:cubicBezTo>
                      <a:cubicBezTo>
                        <a:pt x="1165679" y="5710"/>
                        <a:pt x="1165679" y="6424"/>
                        <a:pt x="1166393" y="7137"/>
                      </a:cubicBezTo>
                      <a:cubicBezTo>
                        <a:pt x="1166393" y="7137"/>
                        <a:pt x="1166393" y="7137"/>
                        <a:pt x="1166393" y="7851"/>
                      </a:cubicBezTo>
                      <a:cubicBezTo>
                        <a:pt x="1167108" y="7851"/>
                        <a:pt x="1167108" y="8565"/>
                        <a:pt x="1167822" y="9279"/>
                      </a:cubicBezTo>
                      <a:cubicBezTo>
                        <a:pt x="1167822" y="9279"/>
                        <a:pt x="1167822" y="9992"/>
                        <a:pt x="1167822" y="9992"/>
                      </a:cubicBezTo>
                      <a:cubicBezTo>
                        <a:pt x="1167822" y="9992"/>
                        <a:pt x="1167822" y="10706"/>
                        <a:pt x="1167822" y="10706"/>
                      </a:cubicBezTo>
                      <a:cubicBezTo>
                        <a:pt x="1167822" y="10706"/>
                        <a:pt x="1167822" y="10706"/>
                        <a:pt x="1322106" y="450362"/>
                      </a:cubicBezTo>
                      <a:lnTo>
                        <a:pt x="1355678" y="548142"/>
                      </a:lnTo>
                      <a:cubicBezTo>
                        <a:pt x="1362820" y="568840"/>
                        <a:pt x="1364963" y="590252"/>
                        <a:pt x="1361392" y="610950"/>
                      </a:cubicBezTo>
                      <a:cubicBezTo>
                        <a:pt x="1343535" y="712299"/>
                        <a:pt x="1256393" y="785813"/>
                        <a:pt x="1153536" y="785813"/>
                      </a:cubicBezTo>
                      <a:cubicBezTo>
                        <a:pt x="1049966" y="785813"/>
                        <a:pt x="962824" y="712299"/>
                        <a:pt x="945681" y="610950"/>
                      </a:cubicBezTo>
                      <a:cubicBezTo>
                        <a:pt x="942109" y="590252"/>
                        <a:pt x="943538" y="568840"/>
                        <a:pt x="950681" y="548142"/>
                      </a:cubicBezTo>
                      <a:cubicBezTo>
                        <a:pt x="950681" y="548142"/>
                        <a:pt x="950681" y="548142"/>
                        <a:pt x="984966" y="450362"/>
                      </a:cubicBezTo>
                      <a:cubicBezTo>
                        <a:pt x="984966" y="450362"/>
                        <a:pt x="984966" y="450362"/>
                        <a:pt x="1128537" y="39255"/>
                      </a:cubicBezTo>
                      <a:cubicBezTo>
                        <a:pt x="1128537" y="39255"/>
                        <a:pt x="1128537" y="39255"/>
                        <a:pt x="790682" y="136322"/>
                      </a:cubicBezTo>
                      <a:cubicBezTo>
                        <a:pt x="792111" y="127043"/>
                        <a:pt x="792825" y="118479"/>
                        <a:pt x="792111" y="109200"/>
                      </a:cubicBezTo>
                      <a:cubicBezTo>
                        <a:pt x="792111" y="107059"/>
                        <a:pt x="792111" y="104918"/>
                        <a:pt x="792111" y="102777"/>
                      </a:cubicBezTo>
                      <a:cubicBezTo>
                        <a:pt x="792111" y="102777"/>
                        <a:pt x="792111" y="102777"/>
                        <a:pt x="937824" y="61381"/>
                      </a:cubicBezTo>
                      <a:cubicBezTo>
                        <a:pt x="937824" y="61381"/>
                        <a:pt x="937824" y="61381"/>
                        <a:pt x="787111" y="81365"/>
                      </a:cubicBezTo>
                      <a:cubicBezTo>
                        <a:pt x="784254" y="71373"/>
                        <a:pt x="779254" y="61381"/>
                        <a:pt x="772825" y="52102"/>
                      </a:cubicBezTo>
                      <a:cubicBezTo>
                        <a:pt x="772825" y="52102"/>
                        <a:pt x="772825" y="52102"/>
                        <a:pt x="1151393" y="0"/>
                      </a:cubicBezTo>
                      <a:close/>
                    </a:path>
                  </a:pathLst>
                </a:custGeom>
                <a:solidFill>
                  <a:schemeClr val="accent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en-US"/>
                </a:p>
              </p:txBody>
            </p:sp>
            <p:sp>
              <p:nvSpPr>
                <p:cNvPr id="36" name="Freeform 14">
                  <a:extLst>
                    <a:ext uri="{FF2B5EF4-FFF2-40B4-BE49-F238E27FC236}">
                      <a16:creationId xmlns:a16="http://schemas.microsoft.com/office/drawing/2014/main" id="{FF346855-8608-45F8-9E99-90094CF0E44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835275" y="2919413"/>
                  <a:ext cx="1239838" cy="1098550"/>
                </a:xfrm>
                <a:custGeom>
                  <a:avLst/>
                  <a:gdLst>
                    <a:gd name="connsiteX0" fmla="*/ 0 w 1239838"/>
                    <a:gd name="connsiteY0" fmla="*/ 744537 h 1098550"/>
                    <a:gd name="connsiteX1" fmla="*/ 295275 w 1239838"/>
                    <a:gd name="connsiteY1" fmla="*/ 744537 h 1098550"/>
                    <a:gd name="connsiteX2" fmla="*/ 147637 w 1239838"/>
                    <a:gd name="connsiteY2" fmla="*/ 885825 h 1098550"/>
                    <a:gd name="connsiteX3" fmla="*/ 0 w 1239838"/>
                    <a:gd name="connsiteY3" fmla="*/ 744537 h 1098550"/>
                    <a:gd name="connsiteX4" fmla="*/ 944563 w 1239838"/>
                    <a:gd name="connsiteY4" fmla="*/ 544512 h 1098550"/>
                    <a:gd name="connsiteX5" fmla="*/ 1239838 w 1239838"/>
                    <a:gd name="connsiteY5" fmla="*/ 544512 h 1098550"/>
                    <a:gd name="connsiteX6" fmla="*/ 1092201 w 1239838"/>
                    <a:gd name="connsiteY6" fmla="*/ 687387 h 1098550"/>
                    <a:gd name="connsiteX7" fmla="*/ 944563 w 1239838"/>
                    <a:gd name="connsiteY7" fmla="*/ 544512 h 1098550"/>
                    <a:gd name="connsiteX8" fmla="*/ 619562 w 1239838"/>
                    <a:gd name="connsiteY8" fmla="*/ 0 h 1098550"/>
                    <a:gd name="connsiteX9" fmla="*/ 624567 w 1239838"/>
                    <a:gd name="connsiteY9" fmla="*/ 0 h 1098550"/>
                    <a:gd name="connsiteX10" fmla="*/ 673900 w 1239838"/>
                    <a:gd name="connsiteY10" fmla="*/ 21428 h 1098550"/>
                    <a:gd name="connsiteX11" fmla="*/ 693920 w 1239838"/>
                    <a:gd name="connsiteY11" fmla="*/ 49999 h 1098550"/>
                    <a:gd name="connsiteX12" fmla="*/ 698925 w 1239838"/>
                    <a:gd name="connsiteY12" fmla="*/ 74999 h 1098550"/>
                    <a:gd name="connsiteX13" fmla="*/ 698925 w 1239838"/>
                    <a:gd name="connsiteY13" fmla="*/ 76427 h 1098550"/>
                    <a:gd name="connsiteX14" fmla="*/ 692490 w 1239838"/>
                    <a:gd name="connsiteY14" fmla="*/ 110712 h 1098550"/>
                    <a:gd name="connsiteX15" fmla="*/ 660316 w 1239838"/>
                    <a:gd name="connsiteY15" fmla="*/ 147854 h 1098550"/>
                    <a:gd name="connsiteX16" fmla="*/ 660316 w 1239838"/>
                    <a:gd name="connsiteY16" fmla="*/ 987838 h 1098550"/>
                    <a:gd name="connsiteX17" fmla="*/ 672470 w 1239838"/>
                    <a:gd name="connsiteY17" fmla="*/ 1002838 h 1098550"/>
                    <a:gd name="connsiteX18" fmla="*/ 929864 w 1239838"/>
                    <a:gd name="connsiteY18" fmla="*/ 1067837 h 1098550"/>
                    <a:gd name="connsiteX19" fmla="*/ 926289 w 1239838"/>
                    <a:gd name="connsiteY19" fmla="*/ 1098550 h 1098550"/>
                    <a:gd name="connsiteX20" fmla="*/ 313550 w 1239838"/>
                    <a:gd name="connsiteY20" fmla="*/ 1098550 h 1098550"/>
                    <a:gd name="connsiteX21" fmla="*/ 309975 w 1239838"/>
                    <a:gd name="connsiteY21" fmla="*/ 1067837 h 1098550"/>
                    <a:gd name="connsiteX22" fmla="*/ 570943 w 1239838"/>
                    <a:gd name="connsiteY22" fmla="*/ 1002838 h 1098550"/>
                    <a:gd name="connsiteX23" fmla="*/ 583098 w 1239838"/>
                    <a:gd name="connsiteY23" fmla="*/ 987838 h 1098550"/>
                    <a:gd name="connsiteX24" fmla="*/ 583098 w 1239838"/>
                    <a:gd name="connsiteY24" fmla="*/ 149997 h 1098550"/>
                    <a:gd name="connsiteX25" fmla="*/ 565223 w 1239838"/>
                    <a:gd name="connsiteY25" fmla="*/ 137140 h 1098550"/>
                    <a:gd name="connsiteX26" fmla="*/ 545204 w 1239838"/>
                    <a:gd name="connsiteY26" fmla="*/ 108569 h 1098550"/>
                    <a:gd name="connsiteX27" fmla="*/ 540199 w 1239838"/>
                    <a:gd name="connsiteY27" fmla="*/ 82856 h 1098550"/>
                    <a:gd name="connsiteX28" fmla="*/ 540199 w 1239838"/>
                    <a:gd name="connsiteY28" fmla="*/ 79284 h 1098550"/>
                    <a:gd name="connsiteX29" fmla="*/ 545919 w 1239838"/>
                    <a:gd name="connsiteY29" fmla="*/ 47856 h 1098550"/>
                    <a:gd name="connsiteX30" fmla="*/ 619562 w 1239838"/>
                    <a:gd name="connsiteY30" fmla="*/ 0 h 10985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</a:cxnLst>
                  <a:rect l="l" t="t" r="r" b="b"/>
                  <a:pathLst>
                    <a:path w="1239838" h="1098550">
                      <a:moveTo>
                        <a:pt x="0" y="744537"/>
                      </a:moveTo>
                      <a:cubicBezTo>
                        <a:pt x="0" y="744537"/>
                        <a:pt x="0" y="744537"/>
                        <a:pt x="295275" y="744537"/>
                      </a:cubicBezTo>
                      <a:cubicBezTo>
                        <a:pt x="293135" y="822246"/>
                        <a:pt x="226805" y="885825"/>
                        <a:pt x="147637" y="885825"/>
                      </a:cubicBezTo>
                      <a:cubicBezTo>
                        <a:pt x="69183" y="885825"/>
                        <a:pt x="2853" y="822246"/>
                        <a:pt x="0" y="744537"/>
                      </a:cubicBezTo>
                      <a:close/>
                      <a:moveTo>
                        <a:pt x="944563" y="544512"/>
                      </a:moveTo>
                      <a:cubicBezTo>
                        <a:pt x="944563" y="544512"/>
                        <a:pt x="944563" y="544512"/>
                        <a:pt x="1239838" y="544512"/>
                      </a:cubicBezTo>
                      <a:cubicBezTo>
                        <a:pt x="1236985" y="623093"/>
                        <a:pt x="1170655" y="687387"/>
                        <a:pt x="1092201" y="687387"/>
                      </a:cubicBezTo>
                      <a:cubicBezTo>
                        <a:pt x="1013033" y="687387"/>
                        <a:pt x="946703" y="623093"/>
                        <a:pt x="944563" y="544512"/>
                      </a:cubicBezTo>
                      <a:close/>
                      <a:moveTo>
                        <a:pt x="619562" y="0"/>
                      </a:moveTo>
                      <a:cubicBezTo>
                        <a:pt x="620992" y="0"/>
                        <a:pt x="623137" y="0"/>
                        <a:pt x="624567" y="0"/>
                      </a:cubicBezTo>
                      <a:cubicBezTo>
                        <a:pt x="643871" y="1429"/>
                        <a:pt x="661031" y="9286"/>
                        <a:pt x="673900" y="21428"/>
                      </a:cubicBezTo>
                      <a:cubicBezTo>
                        <a:pt x="682480" y="29285"/>
                        <a:pt x="689630" y="39285"/>
                        <a:pt x="693920" y="49999"/>
                      </a:cubicBezTo>
                      <a:cubicBezTo>
                        <a:pt x="696780" y="57856"/>
                        <a:pt x="698925" y="66427"/>
                        <a:pt x="698925" y="74999"/>
                      </a:cubicBezTo>
                      <a:cubicBezTo>
                        <a:pt x="698925" y="75713"/>
                        <a:pt x="698925" y="75713"/>
                        <a:pt x="698925" y="76427"/>
                      </a:cubicBezTo>
                      <a:cubicBezTo>
                        <a:pt x="699640" y="88570"/>
                        <a:pt x="697495" y="99998"/>
                        <a:pt x="692490" y="110712"/>
                      </a:cubicBezTo>
                      <a:cubicBezTo>
                        <a:pt x="686055" y="126426"/>
                        <a:pt x="674615" y="139283"/>
                        <a:pt x="660316" y="147854"/>
                      </a:cubicBezTo>
                      <a:cubicBezTo>
                        <a:pt x="660316" y="147854"/>
                        <a:pt x="660316" y="147854"/>
                        <a:pt x="660316" y="987838"/>
                      </a:cubicBezTo>
                      <a:cubicBezTo>
                        <a:pt x="660316" y="994981"/>
                        <a:pt x="665320" y="1001409"/>
                        <a:pt x="672470" y="1002838"/>
                      </a:cubicBezTo>
                      <a:cubicBezTo>
                        <a:pt x="672470" y="1002838"/>
                        <a:pt x="672470" y="1002838"/>
                        <a:pt x="929864" y="1067837"/>
                      </a:cubicBezTo>
                      <a:cubicBezTo>
                        <a:pt x="947738" y="1072122"/>
                        <a:pt x="944878" y="1098550"/>
                        <a:pt x="926289" y="1098550"/>
                      </a:cubicBezTo>
                      <a:cubicBezTo>
                        <a:pt x="926289" y="1098550"/>
                        <a:pt x="926289" y="1098550"/>
                        <a:pt x="313550" y="1098550"/>
                      </a:cubicBezTo>
                      <a:cubicBezTo>
                        <a:pt x="294960" y="1098550"/>
                        <a:pt x="292100" y="1072122"/>
                        <a:pt x="309975" y="1067837"/>
                      </a:cubicBezTo>
                      <a:cubicBezTo>
                        <a:pt x="309975" y="1067837"/>
                        <a:pt x="309975" y="1067837"/>
                        <a:pt x="570943" y="1002838"/>
                      </a:cubicBezTo>
                      <a:cubicBezTo>
                        <a:pt x="578093" y="1001409"/>
                        <a:pt x="583098" y="994981"/>
                        <a:pt x="583098" y="987838"/>
                      </a:cubicBezTo>
                      <a:cubicBezTo>
                        <a:pt x="583098" y="987838"/>
                        <a:pt x="583098" y="987838"/>
                        <a:pt x="583098" y="149997"/>
                      </a:cubicBezTo>
                      <a:cubicBezTo>
                        <a:pt x="576663" y="147140"/>
                        <a:pt x="570228" y="142140"/>
                        <a:pt x="565223" y="137140"/>
                      </a:cubicBezTo>
                      <a:cubicBezTo>
                        <a:pt x="556643" y="129283"/>
                        <a:pt x="549493" y="119284"/>
                        <a:pt x="545204" y="108569"/>
                      </a:cubicBezTo>
                      <a:cubicBezTo>
                        <a:pt x="542344" y="100712"/>
                        <a:pt x="540199" y="91427"/>
                        <a:pt x="540199" y="82856"/>
                      </a:cubicBezTo>
                      <a:cubicBezTo>
                        <a:pt x="540199" y="81427"/>
                        <a:pt x="540199" y="80713"/>
                        <a:pt x="540199" y="79284"/>
                      </a:cubicBezTo>
                      <a:cubicBezTo>
                        <a:pt x="540199" y="68570"/>
                        <a:pt x="542344" y="57856"/>
                        <a:pt x="545919" y="47856"/>
                      </a:cubicBezTo>
                      <a:cubicBezTo>
                        <a:pt x="558073" y="20000"/>
                        <a:pt x="586673" y="0"/>
                        <a:pt x="619562" y="0"/>
                      </a:cubicBezTo>
                      <a:close/>
                    </a:path>
                  </a:pathLst>
                </a:custGeom>
                <a:solidFill>
                  <a:schemeClr val="tx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en-US"/>
                </a:p>
              </p:txBody>
            </p:sp>
          </p:grpSp>
        </p:grpSp>
      </p:grpSp>
      <p:grpSp>
        <p:nvGrpSpPr>
          <p:cNvPr id="58" name="Group 57">
            <a:extLst>
              <a:ext uri="{FF2B5EF4-FFF2-40B4-BE49-F238E27FC236}">
                <a16:creationId xmlns:a16="http://schemas.microsoft.com/office/drawing/2014/main" id="{24E0F176-7D7F-452A-B6D9-CC749B1442F9}"/>
              </a:ext>
            </a:extLst>
          </p:cNvPr>
          <p:cNvGrpSpPr/>
          <p:nvPr/>
        </p:nvGrpSpPr>
        <p:grpSpPr>
          <a:xfrm>
            <a:off x="2868333" y="1089537"/>
            <a:ext cx="926890" cy="926890"/>
            <a:chOff x="3604074" y="973287"/>
            <a:chExt cx="1290685" cy="1290685"/>
          </a:xfrm>
        </p:grpSpPr>
        <p:sp>
          <p:nvSpPr>
            <p:cNvPr id="42" name="Oval 41">
              <a:extLst>
                <a:ext uri="{FF2B5EF4-FFF2-40B4-BE49-F238E27FC236}">
                  <a16:creationId xmlns:a16="http://schemas.microsoft.com/office/drawing/2014/main" id="{93F17D80-6C4D-4C1C-8628-369F3536A932}"/>
                </a:ext>
              </a:extLst>
            </p:cNvPr>
            <p:cNvSpPr/>
            <p:nvPr>
              <p:custDataLst>
                <p:tags r:id="rId4"/>
              </p:custDataLst>
            </p:nvPr>
          </p:nvSpPr>
          <p:spPr>
            <a:xfrm>
              <a:off x="3604074" y="973287"/>
              <a:ext cx="1290685" cy="1290685"/>
            </a:xfrm>
            <a:prstGeom prst="ellipse">
              <a:avLst/>
            </a:prstGeom>
            <a:grpFill/>
            <a:ln w="38100">
              <a:gradFill flip="none" rotWithShape="1">
                <a:gsLst>
                  <a:gs pos="0">
                    <a:schemeClr val="accent5"/>
                  </a:gs>
                  <a:gs pos="100000">
                    <a:schemeClr val="bg1">
                      <a:lumMod val="75000"/>
                    </a:schemeClr>
                  </a:gs>
                </a:gsLst>
                <a:lin ang="2700000" scaled="1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ct val="95000"/>
                </a:lnSpc>
              </a:pPr>
              <a:endParaRPr lang="en-US" kern="0">
                <a:solidFill>
                  <a:schemeClr val="bg1">
                    <a:lumMod val="50000"/>
                  </a:schemeClr>
                </a:solidFill>
              </a:endParaRPr>
            </a:p>
          </p:txBody>
        </p:sp>
        <p:grpSp>
          <p:nvGrpSpPr>
            <p:cNvPr id="37" name="Group 36">
              <a:extLst>
                <a:ext uri="{FF2B5EF4-FFF2-40B4-BE49-F238E27FC236}">
                  <a16:creationId xmlns:a16="http://schemas.microsoft.com/office/drawing/2014/main" id="{A8277BDF-B8AF-4CD4-88C9-C1C36A70DA57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3793090" y="1162303"/>
              <a:ext cx="912652" cy="912652"/>
              <a:chOff x="5273675" y="2606675"/>
              <a:chExt cx="1644650" cy="1644650"/>
            </a:xfrm>
          </p:grpSpPr>
          <p:sp>
            <p:nvSpPr>
              <p:cNvPr id="38" name="AutoShape 3">
                <a:extLst>
                  <a:ext uri="{FF2B5EF4-FFF2-40B4-BE49-F238E27FC236}">
                    <a16:creationId xmlns:a16="http://schemas.microsoft.com/office/drawing/2014/main" id="{4E240CC4-88BE-4AC3-9F4C-8B228147505F}"/>
                  </a:ext>
                </a:extLst>
              </p:cNvPr>
              <p:cNvSpPr>
                <a:spLocks noChangeAspect="1" noChangeArrowheads="1" noTextEdit="1"/>
              </p:cNvSpPr>
              <p:nvPr/>
            </p:nvSpPr>
            <p:spPr bwMode="auto">
              <a:xfrm>
                <a:off x="5273675" y="2606675"/>
                <a:ext cx="1644650" cy="164465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grpSp>
            <p:nvGrpSpPr>
              <p:cNvPr id="39" name="Group 38">
                <a:extLst>
                  <a:ext uri="{FF2B5EF4-FFF2-40B4-BE49-F238E27FC236}">
                    <a16:creationId xmlns:a16="http://schemas.microsoft.com/office/drawing/2014/main" id="{7C38DDA6-13C7-4806-B82B-3FF008DC1CD0}"/>
                  </a:ext>
                </a:extLst>
              </p:cNvPr>
              <p:cNvGrpSpPr/>
              <p:nvPr/>
            </p:nvGrpSpPr>
            <p:grpSpPr>
              <a:xfrm>
                <a:off x="5443538" y="2962275"/>
                <a:ext cx="1304925" cy="931863"/>
                <a:chOff x="5443538" y="2962275"/>
                <a:chExt cx="1304925" cy="931863"/>
              </a:xfrm>
            </p:grpSpPr>
            <p:sp>
              <p:nvSpPr>
                <p:cNvPr id="40" name="Freeform 5">
                  <a:extLst>
                    <a:ext uri="{FF2B5EF4-FFF2-40B4-BE49-F238E27FC236}">
                      <a16:creationId xmlns:a16="http://schemas.microsoft.com/office/drawing/2014/main" id="{B0264CE0-B123-4F33-9C59-B30CEB9FEF61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5443538" y="2962275"/>
                  <a:ext cx="1304925" cy="931863"/>
                </a:xfrm>
                <a:custGeom>
                  <a:avLst/>
                  <a:gdLst>
                    <a:gd name="T0" fmla="*/ 1806 w 1828"/>
                    <a:gd name="T1" fmla="*/ 0 h 1306"/>
                    <a:gd name="T2" fmla="*/ 22 w 1828"/>
                    <a:gd name="T3" fmla="*/ 0 h 1306"/>
                    <a:gd name="T4" fmla="*/ 0 w 1828"/>
                    <a:gd name="T5" fmla="*/ 22 h 1306"/>
                    <a:gd name="T6" fmla="*/ 0 w 1828"/>
                    <a:gd name="T7" fmla="*/ 1284 h 1306"/>
                    <a:gd name="T8" fmla="*/ 22 w 1828"/>
                    <a:gd name="T9" fmla="*/ 1306 h 1306"/>
                    <a:gd name="T10" fmla="*/ 1806 w 1828"/>
                    <a:gd name="T11" fmla="*/ 1306 h 1306"/>
                    <a:gd name="T12" fmla="*/ 1828 w 1828"/>
                    <a:gd name="T13" fmla="*/ 1284 h 1306"/>
                    <a:gd name="T14" fmla="*/ 1828 w 1828"/>
                    <a:gd name="T15" fmla="*/ 22 h 1306"/>
                    <a:gd name="T16" fmla="*/ 1806 w 1828"/>
                    <a:gd name="T17" fmla="*/ 0 h 1306"/>
                    <a:gd name="T18" fmla="*/ 1784 w 1828"/>
                    <a:gd name="T19" fmla="*/ 1262 h 1306"/>
                    <a:gd name="T20" fmla="*/ 44 w 1828"/>
                    <a:gd name="T21" fmla="*/ 1262 h 1306"/>
                    <a:gd name="T22" fmla="*/ 44 w 1828"/>
                    <a:gd name="T23" fmla="*/ 44 h 1306"/>
                    <a:gd name="T24" fmla="*/ 1784 w 1828"/>
                    <a:gd name="T25" fmla="*/ 44 h 1306"/>
                    <a:gd name="T26" fmla="*/ 1784 w 1828"/>
                    <a:gd name="T27" fmla="*/ 1262 h 130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828" h="1306">
                      <a:moveTo>
                        <a:pt x="1806" y="0"/>
                      </a:moveTo>
                      <a:cubicBezTo>
                        <a:pt x="22" y="0"/>
                        <a:pt x="22" y="0"/>
                        <a:pt x="22" y="0"/>
                      </a:cubicBezTo>
                      <a:cubicBezTo>
                        <a:pt x="10" y="0"/>
                        <a:pt x="0" y="9"/>
                        <a:pt x="0" y="22"/>
                      </a:cubicBezTo>
                      <a:cubicBezTo>
                        <a:pt x="0" y="1284"/>
                        <a:pt x="0" y="1284"/>
                        <a:pt x="0" y="1284"/>
                      </a:cubicBezTo>
                      <a:cubicBezTo>
                        <a:pt x="0" y="1297"/>
                        <a:pt x="10" y="1306"/>
                        <a:pt x="22" y="1306"/>
                      </a:cubicBezTo>
                      <a:cubicBezTo>
                        <a:pt x="1806" y="1306"/>
                        <a:pt x="1806" y="1306"/>
                        <a:pt x="1806" y="1306"/>
                      </a:cubicBezTo>
                      <a:cubicBezTo>
                        <a:pt x="1818" y="1306"/>
                        <a:pt x="1828" y="1297"/>
                        <a:pt x="1828" y="1284"/>
                      </a:cubicBezTo>
                      <a:cubicBezTo>
                        <a:pt x="1828" y="22"/>
                        <a:pt x="1828" y="22"/>
                        <a:pt x="1828" y="22"/>
                      </a:cubicBezTo>
                      <a:cubicBezTo>
                        <a:pt x="1828" y="9"/>
                        <a:pt x="1818" y="0"/>
                        <a:pt x="1806" y="0"/>
                      </a:cubicBezTo>
                      <a:close/>
                      <a:moveTo>
                        <a:pt x="1784" y="1262"/>
                      </a:moveTo>
                      <a:cubicBezTo>
                        <a:pt x="44" y="1262"/>
                        <a:pt x="44" y="1262"/>
                        <a:pt x="44" y="1262"/>
                      </a:cubicBezTo>
                      <a:cubicBezTo>
                        <a:pt x="44" y="44"/>
                        <a:pt x="44" y="44"/>
                        <a:pt x="44" y="44"/>
                      </a:cubicBezTo>
                      <a:cubicBezTo>
                        <a:pt x="1784" y="44"/>
                        <a:pt x="1784" y="44"/>
                        <a:pt x="1784" y="44"/>
                      </a:cubicBezTo>
                      <a:cubicBezTo>
                        <a:pt x="1784" y="1262"/>
                        <a:pt x="1784" y="1262"/>
                        <a:pt x="1784" y="1262"/>
                      </a:cubicBezTo>
                      <a:close/>
                    </a:path>
                  </a:pathLst>
                </a:custGeom>
                <a:solidFill>
                  <a:schemeClr val="accent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41" name="Freeform 14">
                  <a:extLst>
                    <a:ext uri="{FF2B5EF4-FFF2-40B4-BE49-F238E27FC236}">
                      <a16:creationId xmlns:a16="http://schemas.microsoft.com/office/drawing/2014/main" id="{5D9B20CE-5149-47BC-AEE9-CE9F71747EE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546725" y="3086100"/>
                  <a:ext cx="1096963" cy="684213"/>
                </a:xfrm>
                <a:custGeom>
                  <a:avLst/>
                  <a:gdLst>
                    <a:gd name="connsiteX0" fmla="*/ 711994 w 1096963"/>
                    <a:gd name="connsiteY0" fmla="*/ 285750 h 684213"/>
                    <a:gd name="connsiteX1" fmla="*/ 727540 w 1096963"/>
                    <a:gd name="connsiteY1" fmla="*/ 301470 h 684213"/>
                    <a:gd name="connsiteX2" fmla="*/ 727540 w 1096963"/>
                    <a:gd name="connsiteY2" fmla="*/ 347199 h 684213"/>
                    <a:gd name="connsiteX3" fmla="*/ 754392 w 1096963"/>
                    <a:gd name="connsiteY3" fmla="*/ 347199 h 684213"/>
                    <a:gd name="connsiteX4" fmla="*/ 769938 w 1096963"/>
                    <a:gd name="connsiteY4" fmla="*/ 362919 h 684213"/>
                    <a:gd name="connsiteX5" fmla="*/ 769938 w 1096963"/>
                    <a:gd name="connsiteY5" fmla="*/ 587994 h 684213"/>
                    <a:gd name="connsiteX6" fmla="*/ 754392 w 1096963"/>
                    <a:gd name="connsiteY6" fmla="*/ 603714 h 684213"/>
                    <a:gd name="connsiteX7" fmla="*/ 727540 w 1096963"/>
                    <a:gd name="connsiteY7" fmla="*/ 603714 h 684213"/>
                    <a:gd name="connsiteX8" fmla="*/ 727540 w 1096963"/>
                    <a:gd name="connsiteY8" fmla="*/ 649444 h 684213"/>
                    <a:gd name="connsiteX9" fmla="*/ 711994 w 1096963"/>
                    <a:gd name="connsiteY9" fmla="*/ 665163 h 684213"/>
                    <a:gd name="connsiteX10" fmla="*/ 696448 w 1096963"/>
                    <a:gd name="connsiteY10" fmla="*/ 649444 h 684213"/>
                    <a:gd name="connsiteX11" fmla="*/ 696448 w 1096963"/>
                    <a:gd name="connsiteY11" fmla="*/ 603714 h 684213"/>
                    <a:gd name="connsiteX12" fmla="*/ 669596 w 1096963"/>
                    <a:gd name="connsiteY12" fmla="*/ 603714 h 684213"/>
                    <a:gd name="connsiteX13" fmla="*/ 654050 w 1096963"/>
                    <a:gd name="connsiteY13" fmla="*/ 587994 h 684213"/>
                    <a:gd name="connsiteX14" fmla="*/ 654050 w 1096963"/>
                    <a:gd name="connsiteY14" fmla="*/ 362919 h 684213"/>
                    <a:gd name="connsiteX15" fmla="*/ 669596 w 1096963"/>
                    <a:gd name="connsiteY15" fmla="*/ 347199 h 684213"/>
                    <a:gd name="connsiteX16" fmla="*/ 696448 w 1096963"/>
                    <a:gd name="connsiteY16" fmla="*/ 347199 h 684213"/>
                    <a:gd name="connsiteX17" fmla="*/ 696448 w 1096963"/>
                    <a:gd name="connsiteY17" fmla="*/ 301470 h 684213"/>
                    <a:gd name="connsiteX18" fmla="*/ 711994 w 1096963"/>
                    <a:gd name="connsiteY18" fmla="*/ 285750 h 684213"/>
                    <a:gd name="connsiteX19" fmla="*/ 384969 w 1096963"/>
                    <a:gd name="connsiteY19" fmla="*/ 244475 h 684213"/>
                    <a:gd name="connsiteX20" fmla="*/ 400515 w 1096963"/>
                    <a:gd name="connsiteY20" fmla="*/ 260206 h 684213"/>
                    <a:gd name="connsiteX21" fmla="*/ 400515 w 1096963"/>
                    <a:gd name="connsiteY21" fmla="*/ 335998 h 684213"/>
                    <a:gd name="connsiteX22" fmla="*/ 427367 w 1096963"/>
                    <a:gd name="connsiteY22" fmla="*/ 335998 h 684213"/>
                    <a:gd name="connsiteX23" fmla="*/ 442913 w 1096963"/>
                    <a:gd name="connsiteY23" fmla="*/ 351728 h 684213"/>
                    <a:gd name="connsiteX24" fmla="*/ 442913 w 1096963"/>
                    <a:gd name="connsiteY24" fmla="*/ 576960 h 684213"/>
                    <a:gd name="connsiteX25" fmla="*/ 427367 w 1096963"/>
                    <a:gd name="connsiteY25" fmla="*/ 592690 h 684213"/>
                    <a:gd name="connsiteX26" fmla="*/ 400515 w 1096963"/>
                    <a:gd name="connsiteY26" fmla="*/ 592690 h 684213"/>
                    <a:gd name="connsiteX27" fmla="*/ 400515 w 1096963"/>
                    <a:gd name="connsiteY27" fmla="*/ 668483 h 684213"/>
                    <a:gd name="connsiteX28" fmla="*/ 384969 w 1096963"/>
                    <a:gd name="connsiteY28" fmla="*/ 684213 h 684213"/>
                    <a:gd name="connsiteX29" fmla="*/ 369423 w 1096963"/>
                    <a:gd name="connsiteY29" fmla="*/ 668483 h 684213"/>
                    <a:gd name="connsiteX30" fmla="*/ 369423 w 1096963"/>
                    <a:gd name="connsiteY30" fmla="*/ 592690 h 684213"/>
                    <a:gd name="connsiteX31" fmla="*/ 342571 w 1096963"/>
                    <a:gd name="connsiteY31" fmla="*/ 592690 h 684213"/>
                    <a:gd name="connsiteX32" fmla="*/ 327025 w 1096963"/>
                    <a:gd name="connsiteY32" fmla="*/ 576960 h 684213"/>
                    <a:gd name="connsiteX33" fmla="*/ 327025 w 1096963"/>
                    <a:gd name="connsiteY33" fmla="*/ 351728 h 684213"/>
                    <a:gd name="connsiteX34" fmla="*/ 342571 w 1096963"/>
                    <a:gd name="connsiteY34" fmla="*/ 335998 h 684213"/>
                    <a:gd name="connsiteX35" fmla="*/ 369423 w 1096963"/>
                    <a:gd name="connsiteY35" fmla="*/ 335998 h 684213"/>
                    <a:gd name="connsiteX36" fmla="*/ 369423 w 1096963"/>
                    <a:gd name="connsiteY36" fmla="*/ 260206 h 684213"/>
                    <a:gd name="connsiteX37" fmla="*/ 384969 w 1096963"/>
                    <a:gd name="connsiteY37" fmla="*/ 244475 h 684213"/>
                    <a:gd name="connsiteX38" fmla="*/ 58737 w 1096963"/>
                    <a:gd name="connsiteY38" fmla="*/ 227013 h 684213"/>
                    <a:gd name="connsiteX39" fmla="*/ 74496 w 1096963"/>
                    <a:gd name="connsiteY39" fmla="*/ 242739 h 684213"/>
                    <a:gd name="connsiteX40" fmla="*/ 74496 w 1096963"/>
                    <a:gd name="connsiteY40" fmla="*/ 302784 h 684213"/>
                    <a:gd name="connsiteX41" fmla="*/ 101716 w 1096963"/>
                    <a:gd name="connsiteY41" fmla="*/ 302784 h 684213"/>
                    <a:gd name="connsiteX42" fmla="*/ 117475 w 1096963"/>
                    <a:gd name="connsiteY42" fmla="*/ 318510 h 684213"/>
                    <a:gd name="connsiteX43" fmla="*/ 117475 w 1096963"/>
                    <a:gd name="connsiteY43" fmla="*/ 516516 h 684213"/>
                    <a:gd name="connsiteX44" fmla="*/ 101716 w 1096963"/>
                    <a:gd name="connsiteY44" fmla="*/ 532242 h 684213"/>
                    <a:gd name="connsiteX45" fmla="*/ 74496 w 1096963"/>
                    <a:gd name="connsiteY45" fmla="*/ 532242 h 684213"/>
                    <a:gd name="connsiteX46" fmla="*/ 74496 w 1096963"/>
                    <a:gd name="connsiteY46" fmla="*/ 592287 h 684213"/>
                    <a:gd name="connsiteX47" fmla="*/ 58737 w 1096963"/>
                    <a:gd name="connsiteY47" fmla="*/ 608013 h 684213"/>
                    <a:gd name="connsiteX48" fmla="*/ 42978 w 1096963"/>
                    <a:gd name="connsiteY48" fmla="*/ 592287 h 684213"/>
                    <a:gd name="connsiteX49" fmla="*/ 42978 w 1096963"/>
                    <a:gd name="connsiteY49" fmla="*/ 532242 h 684213"/>
                    <a:gd name="connsiteX50" fmla="*/ 15759 w 1096963"/>
                    <a:gd name="connsiteY50" fmla="*/ 532242 h 684213"/>
                    <a:gd name="connsiteX51" fmla="*/ 0 w 1096963"/>
                    <a:gd name="connsiteY51" fmla="*/ 516516 h 684213"/>
                    <a:gd name="connsiteX52" fmla="*/ 0 w 1096963"/>
                    <a:gd name="connsiteY52" fmla="*/ 318510 h 684213"/>
                    <a:gd name="connsiteX53" fmla="*/ 15759 w 1096963"/>
                    <a:gd name="connsiteY53" fmla="*/ 302784 h 684213"/>
                    <a:gd name="connsiteX54" fmla="*/ 42978 w 1096963"/>
                    <a:gd name="connsiteY54" fmla="*/ 302784 h 684213"/>
                    <a:gd name="connsiteX55" fmla="*/ 42978 w 1096963"/>
                    <a:gd name="connsiteY55" fmla="*/ 242739 h 684213"/>
                    <a:gd name="connsiteX56" fmla="*/ 58737 w 1096963"/>
                    <a:gd name="connsiteY56" fmla="*/ 227013 h 684213"/>
                    <a:gd name="connsiteX57" fmla="*/ 875507 w 1096963"/>
                    <a:gd name="connsiteY57" fmla="*/ 193675 h 684213"/>
                    <a:gd name="connsiteX58" fmla="*/ 891053 w 1096963"/>
                    <a:gd name="connsiteY58" fmla="*/ 209350 h 684213"/>
                    <a:gd name="connsiteX59" fmla="*/ 891053 w 1096963"/>
                    <a:gd name="connsiteY59" fmla="*/ 264210 h 684213"/>
                    <a:gd name="connsiteX60" fmla="*/ 917905 w 1096963"/>
                    <a:gd name="connsiteY60" fmla="*/ 264210 h 684213"/>
                    <a:gd name="connsiteX61" fmla="*/ 933451 w 1096963"/>
                    <a:gd name="connsiteY61" fmla="*/ 279884 h 684213"/>
                    <a:gd name="connsiteX62" fmla="*/ 933451 w 1096963"/>
                    <a:gd name="connsiteY62" fmla="*/ 434491 h 684213"/>
                    <a:gd name="connsiteX63" fmla="*/ 917905 w 1096963"/>
                    <a:gd name="connsiteY63" fmla="*/ 450165 h 684213"/>
                    <a:gd name="connsiteX64" fmla="*/ 891053 w 1096963"/>
                    <a:gd name="connsiteY64" fmla="*/ 450165 h 684213"/>
                    <a:gd name="connsiteX65" fmla="*/ 891053 w 1096963"/>
                    <a:gd name="connsiteY65" fmla="*/ 505026 h 684213"/>
                    <a:gd name="connsiteX66" fmla="*/ 875507 w 1096963"/>
                    <a:gd name="connsiteY66" fmla="*/ 520700 h 684213"/>
                    <a:gd name="connsiteX67" fmla="*/ 859961 w 1096963"/>
                    <a:gd name="connsiteY67" fmla="*/ 505026 h 684213"/>
                    <a:gd name="connsiteX68" fmla="*/ 859961 w 1096963"/>
                    <a:gd name="connsiteY68" fmla="*/ 450165 h 684213"/>
                    <a:gd name="connsiteX69" fmla="*/ 833109 w 1096963"/>
                    <a:gd name="connsiteY69" fmla="*/ 450165 h 684213"/>
                    <a:gd name="connsiteX70" fmla="*/ 817563 w 1096963"/>
                    <a:gd name="connsiteY70" fmla="*/ 434491 h 684213"/>
                    <a:gd name="connsiteX71" fmla="*/ 817563 w 1096963"/>
                    <a:gd name="connsiteY71" fmla="*/ 279884 h 684213"/>
                    <a:gd name="connsiteX72" fmla="*/ 833109 w 1096963"/>
                    <a:gd name="connsiteY72" fmla="*/ 264210 h 684213"/>
                    <a:gd name="connsiteX73" fmla="*/ 859961 w 1096963"/>
                    <a:gd name="connsiteY73" fmla="*/ 264210 h 684213"/>
                    <a:gd name="connsiteX74" fmla="*/ 859961 w 1096963"/>
                    <a:gd name="connsiteY74" fmla="*/ 209350 h 684213"/>
                    <a:gd name="connsiteX75" fmla="*/ 875507 w 1096963"/>
                    <a:gd name="connsiteY75" fmla="*/ 193675 h 684213"/>
                    <a:gd name="connsiteX76" fmla="*/ 1039019 w 1096963"/>
                    <a:gd name="connsiteY76" fmla="*/ 52388 h 684213"/>
                    <a:gd name="connsiteX77" fmla="*/ 1054565 w 1096963"/>
                    <a:gd name="connsiteY77" fmla="*/ 68144 h 684213"/>
                    <a:gd name="connsiteX78" fmla="*/ 1054565 w 1096963"/>
                    <a:gd name="connsiteY78" fmla="*/ 129020 h 684213"/>
                    <a:gd name="connsiteX79" fmla="*/ 1081417 w 1096963"/>
                    <a:gd name="connsiteY79" fmla="*/ 129020 h 684213"/>
                    <a:gd name="connsiteX80" fmla="*/ 1096963 w 1096963"/>
                    <a:gd name="connsiteY80" fmla="*/ 144776 h 684213"/>
                    <a:gd name="connsiteX81" fmla="*/ 1096963 w 1096963"/>
                    <a:gd name="connsiteY81" fmla="*/ 399738 h 684213"/>
                    <a:gd name="connsiteX82" fmla="*/ 1081417 w 1096963"/>
                    <a:gd name="connsiteY82" fmla="*/ 415494 h 684213"/>
                    <a:gd name="connsiteX83" fmla="*/ 1054565 w 1096963"/>
                    <a:gd name="connsiteY83" fmla="*/ 415494 h 684213"/>
                    <a:gd name="connsiteX84" fmla="*/ 1054565 w 1096963"/>
                    <a:gd name="connsiteY84" fmla="*/ 476370 h 684213"/>
                    <a:gd name="connsiteX85" fmla="*/ 1039019 w 1096963"/>
                    <a:gd name="connsiteY85" fmla="*/ 492126 h 684213"/>
                    <a:gd name="connsiteX86" fmla="*/ 1023473 w 1096963"/>
                    <a:gd name="connsiteY86" fmla="*/ 476370 h 684213"/>
                    <a:gd name="connsiteX87" fmla="*/ 1023473 w 1096963"/>
                    <a:gd name="connsiteY87" fmla="*/ 415494 h 684213"/>
                    <a:gd name="connsiteX88" fmla="*/ 996621 w 1096963"/>
                    <a:gd name="connsiteY88" fmla="*/ 415494 h 684213"/>
                    <a:gd name="connsiteX89" fmla="*/ 981075 w 1096963"/>
                    <a:gd name="connsiteY89" fmla="*/ 399738 h 684213"/>
                    <a:gd name="connsiteX90" fmla="*/ 981075 w 1096963"/>
                    <a:gd name="connsiteY90" fmla="*/ 144776 h 684213"/>
                    <a:gd name="connsiteX91" fmla="*/ 996621 w 1096963"/>
                    <a:gd name="connsiteY91" fmla="*/ 129020 h 684213"/>
                    <a:gd name="connsiteX92" fmla="*/ 1023473 w 1096963"/>
                    <a:gd name="connsiteY92" fmla="*/ 129020 h 684213"/>
                    <a:gd name="connsiteX93" fmla="*/ 1023473 w 1096963"/>
                    <a:gd name="connsiteY93" fmla="*/ 68144 h 684213"/>
                    <a:gd name="connsiteX94" fmla="*/ 1039019 w 1096963"/>
                    <a:gd name="connsiteY94" fmla="*/ 52388 h 684213"/>
                    <a:gd name="connsiteX95" fmla="*/ 221457 w 1096963"/>
                    <a:gd name="connsiteY95" fmla="*/ 52388 h 684213"/>
                    <a:gd name="connsiteX96" fmla="*/ 237003 w 1096963"/>
                    <a:gd name="connsiteY96" fmla="*/ 68114 h 684213"/>
                    <a:gd name="connsiteX97" fmla="*/ 237003 w 1096963"/>
                    <a:gd name="connsiteY97" fmla="*/ 115292 h 684213"/>
                    <a:gd name="connsiteX98" fmla="*/ 263855 w 1096963"/>
                    <a:gd name="connsiteY98" fmla="*/ 115292 h 684213"/>
                    <a:gd name="connsiteX99" fmla="*/ 279401 w 1096963"/>
                    <a:gd name="connsiteY99" fmla="*/ 131018 h 684213"/>
                    <a:gd name="connsiteX100" fmla="*/ 279401 w 1096963"/>
                    <a:gd name="connsiteY100" fmla="*/ 355473 h 684213"/>
                    <a:gd name="connsiteX101" fmla="*/ 263855 w 1096963"/>
                    <a:gd name="connsiteY101" fmla="*/ 371199 h 684213"/>
                    <a:gd name="connsiteX102" fmla="*/ 237003 w 1096963"/>
                    <a:gd name="connsiteY102" fmla="*/ 371199 h 684213"/>
                    <a:gd name="connsiteX103" fmla="*/ 237003 w 1096963"/>
                    <a:gd name="connsiteY103" fmla="*/ 417662 h 684213"/>
                    <a:gd name="connsiteX104" fmla="*/ 221457 w 1096963"/>
                    <a:gd name="connsiteY104" fmla="*/ 433388 h 684213"/>
                    <a:gd name="connsiteX105" fmla="*/ 205911 w 1096963"/>
                    <a:gd name="connsiteY105" fmla="*/ 417662 h 684213"/>
                    <a:gd name="connsiteX106" fmla="*/ 205911 w 1096963"/>
                    <a:gd name="connsiteY106" fmla="*/ 371199 h 684213"/>
                    <a:gd name="connsiteX107" fmla="*/ 179059 w 1096963"/>
                    <a:gd name="connsiteY107" fmla="*/ 371199 h 684213"/>
                    <a:gd name="connsiteX108" fmla="*/ 163513 w 1096963"/>
                    <a:gd name="connsiteY108" fmla="*/ 355473 h 684213"/>
                    <a:gd name="connsiteX109" fmla="*/ 163513 w 1096963"/>
                    <a:gd name="connsiteY109" fmla="*/ 131018 h 684213"/>
                    <a:gd name="connsiteX110" fmla="*/ 179059 w 1096963"/>
                    <a:gd name="connsiteY110" fmla="*/ 115292 h 684213"/>
                    <a:gd name="connsiteX111" fmla="*/ 205911 w 1096963"/>
                    <a:gd name="connsiteY111" fmla="*/ 115292 h 684213"/>
                    <a:gd name="connsiteX112" fmla="*/ 205911 w 1096963"/>
                    <a:gd name="connsiteY112" fmla="*/ 68114 h 684213"/>
                    <a:gd name="connsiteX113" fmla="*/ 221457 w 1096963"/>
                    <a:gd name="connsiteY113" fmla="*/ 52388 h 684213"/>
                    <a:gd name="connsiteX114" fmla="*/ 548482 w 1096963"/>
                    <a:gd name="connsiteY114" fmla="*/ 0 h 684213"/>
                    <a:gd name="connsiteX115" fmla="*/ 564028 w 1096963"/>
                    <a:gd name="connsiteY115" fmla="*/ 15730 h 684213"/>
                    <a:gd name="connsiteX116" fmla="*/ 564028 w 1096963"/>
                    <a:gd name="connsiteY116" fmla="*/ 82942 h 684213"/>
                    <a:gd name="connsiteX117" fmla="*/ 590880 w 1096963"/>
                    <a:gd name="connsiteY117" fmla="*/ 82942 h 684213"/>
                    <a:gd name="connsiteX118" fmla="*/ 606426 w 1096963"/>
                    <a:gd name="connsiteY118" fmla="*/ 98673 h 684213"/>
                    <a:gd name="connsiteX119" fmla="*/ 606426 w 1096963"/>
                    <a:gd name="connsiteY119" fmla="*/ 341065 h 684213"/>
                    <a:gd name="connsiteX120" fmla="*/ 590880 w 1096963"/>
                    <a:gd name="connsiteY120" fmla="*/ 356796 h 684213"/>
                    <a:gd name="connsiteX121" fmla="*/ 564028 w 1096963"/>
                    <a:gd name="connsiteY121" fmla="*/ 356796 h 684213"/>
                    <a:gd name="connsiteX122" fmla="*/ 564028 w 1096963"/>
                    <a:gd name="connsiteY122" fmla="*/ 424008 h 684213"/>
                    <a:gd name="connsiteX123" fmla="*/ 548482 w 1096963"/>
                    <a:gd name="connsiteY123" fmla="*/ 439738 h 684213"/>
                    <a:gd name="connsiteX124" fmla="*/ 532936 w 1096963"/>
                    <a:gd name="connsiteY124" fmla="*/ 424008 h 684213"/>
                    <a:gd name="connsiteX125" fmla="*/ 532936 w 1096963"/>
                    <a:gd name="connsiteY125" fmla="*/ 356796 h 684213"/>
                    <a:gd name="connsiteX126" fmla="*/ 506084 w 1096963"/>
                    <a:gd name="connsiteY126" fmla="*/ 356796 h 684213"/>
                    <a:gd name="connsiteX127" fmla="*/ 490538 w 1096963"/>
                    <a:gd name="connsiteY127" fmla="*/ 341065 h 684213"/>
                    <a:gd name="connsiteX128" fmla="*/ 490538 w 1096963"/>
                    <a:gd name="connsiteY128" fmla="*/ 98673 h 684213"/>
                    <a:gd name="connsiteX129" fmla="*/ 506084 w 1096963"/>
                    <a:gd name="connsiteY129" fmla="*/ 82942 h 684213"/>
                    <a:gd name="connsiteX130" fmla="*/ 532936 w 1096963"/>
                    <a:gd name="connsiteY130" fmla="*/ 82942 h 684213"/>
                    <a:gd name="connsiteX131" fmla="*/ 532936 w 1096963"/>
                    <a:gd name="connsiteY131" fmla="*/ 15730 h 684213"/>
                    <a:gd name="connsiteX132" fmla="*/ 548482 w 1096963"/>
                    <a:gd name="connsiteY132" fmla="*/ 0 h 68421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  <a:cxn ang="0">
                      <a:pos x="connsiteX86" y="connsiteY86"/>
                    </a:cxn>
                    <a:cxn ang="0">
                      <a:pos x="connsiteX87" y="connsiteY87"/>
                    </a:cxn>
                    <a:cxn ang="0">
                      <a:pos x="connsiteX88" y="connsiteY88"/>
                    </a:cxn>
                    <a:cxn ang="0">
                      <a:pos x="connsiteX89" y="connsiteY89"/>
                    </a:cxn>
                    <a:cxn ang="0">
                      <a:pos x="connsiteX90" y="connsiteY90"/>
                    </a:cxn>
                    <a:cxn ang="0">
                      <a:pos x="connsiteX91" y="connsiteY91"/>
                    </a:cxn>
                    <a:cxn ang="0">
                      <a:pos x="connsiteX92" y="connsiteY92"/>
                    </a:cxn>
                    <a:cxn ang="0">
                      <a:pos x="connsiteX93" y="connsiteY93"/>
                    </a:cxn>
                    <a:cxn ang="0">
                      <a:pos x="connsiteX94" y="connsiteY94"/>
                    </a:cxn>
                    <a:cxn ang="0">
                      <a:pos x="connsiteX95" y="connsiteY95"/>
                    </a:cxn>
                    <a:cxn ang="0">
                      <a:pos x="connsiteX96" y="connsiteY96"/>
                    </a:cxn>
                    <a:cxn ang="0">
                      <a:pos x="connsiteX97" y="connsiteY97"/>
                    </a:cxn>
                    <a:cxn ang="0">
                      <a:pos x="connsiteX98" y="connsiteY98"/>
                    </a:cxn>
                    <a:cxn ang="0">
                      <a:pos x="connsiteX99" y="connsiteY99"/>
                    </a:cxn>
                    <a:cxn ang="0">
                      <a:pos x="connsiteX100" y="connsiteY100"/>
                    </a:cxn>
                    <a:cxn ang="0">
                      <a:pos x="connsiteX101" y="connsiteY101"/>
                    </a:cxn>
                    <a:cxn ang="0">
                      <a:pos x="connsiteX102" y="connsiteY102"/>
                    </a:cxn>
                    <a:cxn ang="0">
                      <a:pos x="connsiteX103" y="connsiteY103"/>
                    </a:cxn>
                    <a:cxn ang="0">
                      <a:pos x="connsiteX104" y="connsiteY104"/>
                    </a:cxn>
                    <a:cxn ang="0">
                      <a:pos x="connsiteX105" y="connsiteY105"/>
                    </a:cxn>
                    <a:cxn ang="0">
                      <a:pos x="connsiteX106" y="connsiteY106"/>
                    </a:cxn>
                    <a:cxn ang="0">
                      <a:pos x="connsiteX107" y="connsiteY107"/>
                    </a:cxn>
                    <a:cxn ang="0">
                      <a:pos x="connsiteX108" y="connsiteY108"/>
                    </a:cxn>
                    <a:cxn ang="0">
                      <a:pos x="connsiteX109" y="connsiteY109"/>
                    </a:cxn>
                    <a:cxn ang="0">
                      <a:pos x="connsiteX110" y="connsiteY110"/>
                    </a:cxn>
                    <a:cxn ang="0">
                      <a:pos x="connsiteX111" y="connsiteY111"/>
                    </a:cxn>
                    <a:cxn ang="0">
                      <a:pos x="connsiteX112" y="connsiteY112"/>
                    </a:cxn>
                    <a:cxn ang="0">
                      <a:pos x="connsiteX113" y="connsiteY113"/>
                    </a:cxn>
                    <a:cxn ang="0">
                      <a:pos x="connsiteX114" y="connsiteY114"/>
                    </a:cxn>
                    <a:cxn ang="0">
                      <a:pos x="connsiteX115" y="connsiteY115"/>
                    </a:cxn>
                    <a:cxn ang="0">
                      <a:pos x="connsiteX116" y="connsiteY116"/>
                    </a:cxn>
                    <a:cxn ang="0">
                      <a:pos x="connsiteX117" y="connsiteY117"/>
                    </a:cxn>
                    <a:cxn ang="0">
                      <a:pos x="connsiteX118" y="connsiteY118"/>
                    </a:cxn>
                    <a:cxn ang="0">
                      <a:pos x="connsiteX119" y="connsiteY119"/>
                    </a:cxn>
                    <a:cxn ang="0">
                      <a:pos x="connsiteX120" y="connsiteY120"/>
                    </a:cxn>
                    <a:cxn ang="0">
                      <a:pos x="connsiteX121" y="connsiteY121"/>
                    </a:cxn>
                    <a:cxn ang="0">
                      <a:pos x="connsiteX122" y="connsiteY122"/>
                    </a:cxn>
                    <a:cxn ang="0">
                      <a:pos x="connsiteX123" y="connsiteY123"/>
                    </a:cxn>
                    <a:cxn ang="0">
                      <a:pos x="connsiteX124" y="connsiteY124"/>
                    </a:cxn>
                    <a:cxn ang="0">
                      <a:pos x="connsiteX125" y="connsiteY125"/>
                    </a:cxn>
                    <a:cxn ang="0">
                      <a:pos x="connsiteX126" y="connsiteY126"/>
                    </a:cxn>
                    <a:cxn ang="0">
                      <a:pos x="connsiteX127" y="connsiteY127"/>
                    </a:cxn>
                    <a:cxn ang="0">
                      <a:pos x="connsiteX128" y="connsiteY128"/>
                    </a:cxn>
                    <a:cxn ang="0">
                      <a:pos x="connsiteX129" y="connsiteY129"/>
                    </a:cxn>
                    <a:cxn ang="0">
                      <a:pos x="connsiteX130" y="connsiteY130"/>
                    </a:cxn>
                    <a:cxn ang="0">
                      <a:pos x="connsiteX131" y="connsiteY131"/>
                    </a:cxn>
                    <a:cxn ang="0">
                      <a:pos x="connsiteX132" y="connsiteY132"/>
                    </a:cxn>
                  </a:cxnLst>
                  <a:rect l="l" t="t" r="r" b="b"/>
                  <a:pathLst>
                    <a:path w="1096963" h="684213">
                      <a:moveTo>
                        <a:pt x="711994" y="285750"/>
                      </a:moveTo>
                      <a:cubicBezTo>
                        <a:pt x="720473" y="285750"/>
                        <a:pt x="727540" y="292895"/>
                        <a:pt x="727540" y="301470"/>
                      </a:cubicBezTo>
                      <a:cubicBezTo>
                        <a:pt x="727540" y="301470"/>
                        <a:pt x="727540" y="301470"/>
                        <a:pt x="727540" y="347199"/>
                      </a:cubicBezTo>
                      <a:cubicBezTo>
                        <a:pt x="727540" y="347199"/>
                        <a:pt x="727540" y="347199"/>
                        <a:pt x="754392" y="347199"/>
                      </a:cubicBezTo>
                      <a:cubicBezTo>
                        <a:pt x="762871" y="347199"/>
                        <a:pt x="769938" y="354345"/>
                        <a:pt x="769938" y="362919"/>
                      </a:cubicBezTo>
                      <a:cubicBezTo>
                        <a:pt x="769938" y="362919"/>
                        <a:pt x="769938" y="362919"/>
                        <a:pt x="769938" y="587994"/>
                      </a:cubicBezTo>
                      <a:cubicBezTo>
                        <a:pt x="769938" y="596569"/>
                        <a:pt x="762871" y="603714"/>
                        <a:pt x="754392" y="603714"/>
                      </a:cubicBezTo>
                      <a:cubicBezTo>
                        <a:pt x="754392" y="603714"/>
                        <a:pt x="754392" y="603714"/>
                        <a:pt x="727540" y="603714"/>
                      </a:cubicBezTo>
                      <a:cubicBezTo>
                        <a:pt x="727540" y="603714"/>
                        <a:pt x="727540" y="603714"/>
                        <a:pt x="727540" y="649444"/>
                      </a:cubicBezTo>
                      <a:cubicBezTo>
                        <a:pt x="727540" y="658018"/>
                        <a:pt x="720473" y="665163"/>
                        <a:pt x="711994" y="665163"/>
                      </a:cubicBezTo>
                      <a:cubicBezTo>
                        <a:pt x="703514" y="665163"/>
                        <a:pt x="696448" y="658018"/>
                        <a:pt x="696448" y="649444"/>
                      </a:cubicBezTo>
                      <a:cubicBezTo>
                        <a:pt x="696448" y="649444"/>
                        <a:pt x="696448" y="649444"/>
                        <a:pt x="696448" y="603714"/>
                      </a:cubicBezTo>
                      <a:cubicBezTo>
                        <a:pt x="696448" y="603714"/>
                        <a:pt x="696448" y="603714"/>
                        <a:pt x="669596" y="603714"/>
                      </a:cubicBezTo>
                      <a:cubicBezTo>
                        <a:pt x="661116" y="603714"/>
                        <a:pt x="654050" y="596569"/>
                        <a:pt x="654050" y="587994"/>
                      </a:cubicBezTo>
                      <a:cubicBezTo>
                        <a:pt x="654050" y="587994"/>
                        <a:pt x="654050" y="587994"/>
                        <a:pt x="654050" y="362919"/>
                      </a:cubicBezTo>
                      <a:cubicBezTo>
                        <a:pt x="654050" y="354345"/>
                        <a:pt x="661116" y="347199"/>
                        <a:pt x="669596" y="347199"/>
                      </a:cubicBezTo>
                      <a:cubicBezTo>
                        <a:pt x="669596" y="347199"/>
                        <a:pt x="669596" y="347199"/>
                        <a:pt x="696448" y="347199"/>
                      </a:cubicBezTo>
                      <a:cubicBezTo>
                        <a:pt x="696448" y="347199"/>
                        <a:pt x="696448" y="347199"/>
                        <a:pt x="696448" y="301470"/>
                      </a:cubicBezTo>
                      <a:cubicBezTo>
                        <a:pt x="696448" y="292895"/>
                        <a:pt x="703514" y="285750"/>
                        <a:pt x="711994" y="285750"/>
                      </a:cubicBezTo>
                      <a:close/>
                      <a:moveTo>
                        <a:pt x="384969" y="244475"/>
                      </a:moveTo>
                      <a:cubicBezTo>
                        <a:pt x="393448" y="244475"/>
                        <a:pt x="400515" y="251625"/>
                        <a:pt x="400515" y="260206"/>
                      </a:cubicBezTo>
                      <a:cubicBezTo>
                        <a:pt x="400515" y="260206"/>
                        <a:pt x="400515" y="260206"/>
                        <a:pt x="400515" y="335998"/>
                      </a:cubicBezTo>
                      <a:cubicBezTo>
                        <a:pt x="400515" y="335998"/>
                        <a:pt x="400515" y="335998"/>
                        <a:pt x="427367" y="335998"/>
                      </a:cubicBezTo>
                      <a:cubicBezTo>
                        <a:pt x="435846" y="335998"/>
                        <a:pt x="442913" y="343148"/>
                        <a:pt x="442913" y="351728"/>
                      </a:cubicBezTo>
                      <a:cubicBezTo>
                        <a:pt x="442913" y="351728"/>
                        <a:pt x="442913" y="351728"/>
                        <a:pt x="442913" y="576960"/>
                      </a:cubicBezTo>
                      <a:cubicBezTo>
                        <a:pt x="442913" y="585540"/>
                        <a:pt x="435846" y="592690"/>
                        <a:pt x="427367" y="592690"/>
                      </a:cubicBezTo>
                      <a:cubicBezTo>
                        <a:pt x="427367" y="592690"/>
                        <a:pt x="427367" y="592690"/>
                        <a:pt x="400515" y="592690"/>
                      </a:cubicBezTo>
                      <a:cubicBezTo>
                        <a:pt x="400515" y="592690"/>
                        <a:pt x="400515" y="592690"/>
                        <a:pt x="400515" y="668483"/>
                      </a:cubicBezTo>
                      <a:cubicBezTo>
                        <a:pt x="400515" y="677063"/>
                        <a:pt x="393448" y="684213"/>
                        <a:pt x="384969" y="684213"/>
                      </a:cubicBezTo>
                      <a:cubicBezTo>
                        <a:pt x="376489" y="684213"/>
                        <a:pt x="369423" y="677063"/>
                        <a:pt x="369423" y="668483"/>
                      </a:cubicBezTo>
                      <a:cubicBezTo>
                        <a:pt x="369423" y="668483"/>
                        <a:pt x="369423" y="668483"/>
                        <a:pt x="369423" y="592690"/>
                      </a:cubicBezTo>
                      <a:cubicBezTo>
                        <a:pt x="369423" y="592690"/>
                        <a:pt x="369423" y="592690"/>
                        <a:pt x="342571" y="592690"/>
                      </a:cubicBezTo>
                      <a:cubicBezTo>
                        <a:pt x="334091" y="592690"/>
                        <a:pt x="327025" y="585540"/>
                        <a:pt x="327025" y="576960"/>
                      </a:cubicBezTo>
                      <a:cubicBezTo>
                        <a:pt x="327025" y="576960"/>
                        <a:pt x="327025" y="576960"/>
                        <a:pt x="327025" y="351728"/>
                      </a:cubicBezTo>
                      <a:cubicBezTo>
                        <a:pt x="327025" y="343148"/>
                        <a:pt x="334091" y="335998"/>
                        <a:pt x="342571" y="335998"/>
                      </a:cubicBezTo>
                      <a:cubicBezTo>
                        <a:pt x="342571" y="335998"/>
                        <a:pt x="342571" y="335998"/>
                        <a:pt x="369423" y="335998"/>
                      </a:cubicBezTo>
                      <a:cubicBezTo>
                        <a:pt x="369423" y="335998"/>
                        <a:pt x="369423" y="335998"/>
                        <a:pt x="369423" y="260206"/>
                      </a:cubicBezTo>
                      <a:cubicBezTo>
                        <a:pt x="369423" y="251625"/>
                        <a:pt x="376489" y="244475"/>
                        <a:pt x="384969" y="244475"/>
                      </a:cubicBezTo>
                      <a:close/>
                      <a:moveTo>
                        <a:pt x="58737" y="227013"/>
                      </a:moveTo>
                      <a:cubicBezTo>
                        <a:pt x="67333" y="227013"/>
                        <a:pt x="74496" y="234161"/>
                        <a:pt x="74496" y="242739"/>
                      </a:cubicBezTo>
                      <a:cubicBezTo>
                        <a:pt x="74496" y="242739"/>
                        <a:pt x="74496" y="242739"/>
                        <a:pt x="74496" y="302784"/>
                      </a:cubicBezTo>
                      <a:cubicBezTo>
                        <a:pt x="74496" y="302784"/>
                        <a:pt x="74496" y="302784"/>
                        <a:pt x="101716" y="302784"/>
                      </a:cubicBezTo>
                      <a:cubicBezTo>
                        <a:pt x="110312" y="302784"/>
                        <a:pt x="117475" y="309932"/>
                        <a:pt x="117475" y="318510"/>
                      </a:cubicBezTo>
                      <a:cubicBezTo>
                        <a:pt x="117475" y="318510"/>
                        <a:pt x="117475" y="318510"/>
                        <a:pt x="117475" y="516516"/>
                      </a:cubicBezTo>
                      <a:cubicBezTo>
                        <a:pt x="117475" y="525094"/>
                        <a:pt x="110312" y="532242"/>
                        <a:pt x="101716" y="532242"/>
                      </a:cubicBezTo>
                      <a:cubicBezTo>
                        <a:pt x="101716" y="532242"/>
                        <a:pt x="101716" y="532242"/>
                        <a:pt x="74496" y="532242"/>
                      </a:cubicBezTo>
                      <a:cubicBezTo>
                        <a:pt x="74496" y="532242"/>
                        <a:pt x="74496" y="532242"/>
                        <a:pt x="74496" y="592287"/>
                      </a:cubicBezTo>
                      <a:cubicBezTo>
                        <a:pt x="74496" y="600865"/>
                        <a:pt x="67333" y="608013"/>
                        <a:pt x="58737" y="608013"/>
                      </a:cubicBezTo>
                      <a:cubicBezTo>
                        <a:pt x="50142" y="608013"/>
                        <a:pt x="42978" y="600865"/>
                        <a:pt x="42978" y="592287"/>
                      </a:cubicBezTo>
                      <a:cubicBezTo>
                        <a:pt x="42978" y="592287"/>
                        <a:pt x="42978" y="592287"/>
                        <a:pt x="42978" y="532242"/>
                      </a:cubicBezTo>
                      <a:cubicBezTo>
                        <a:pt x="42978" y="532242"/>
                        <a:pt x="42978" y="532242"/>
                        <a:pt x="15759" y="532242"/>
                      </a:cubicBezTo>
                      <a:cubicBezTo>
                        <a:pt x="7163" y="532242"/>
                        <a:pt x="0" y="525094"/>
                        <a:pt x="0" y="516516"/>
                      </a:cubicBezTo>
                      <a:cubicBezTo>
                        <a:pt x="0" y="516516"/>
                        <a:pt x="0" y="516516"/>
                        <a:pt x="0" y="318510"/>
                      </a:cubicBezTo>
                      <a:cubicBezTo>
                        <a:pt x="0" y="309932"/>
                        <a:pt x="7163" y="302784"/>
                        <a:pt x="15759" y="302784"/>
                      </a:cubicBezTo>
                      <a:cubicBezTo>
                        <a:pt x="15759" y="302784"/>
                        <a:pt x="15759" y="302784"/>
                        <a:pt x="42978" y="302784"/>
                      </a:cubicBezTo>
                      <a:cubicBezTo>
                        <a:pt x="42978" y="302784"/>
                        <a:pt x="42978" y="302784"/>
                        <a:pt x="42978" y="242739"/>
                      </a:cubicBezTo>
                      <a:cubicBezTo>
                        <a:pt x="42978" y="234161"/>
                        <a:pt x="50142" y="227013"/>
                        <a:pt x="58737" y="227013"/>
                      </a:cubicBezTo>
                      <a:close/>
                      <a:moveTo>
                        <a:pt x="875507" y="193675"/>
                      </a:moveTo>
                      <a:cubicBezTo>
                        <a:pt x="883987" y="193675"/>
                        <a:pt x="891053" y="200800"/>
                        <a:pt x="891053" y="209350"/>
                      </a:cubicBezTo>
                      <a:cubicBezTo>
                        <a:pt x="891053" y="209350"/>
                        <a:pt x="891053" y="209350"/>
                        <a:pt x="891053" y="264210"/>
                      </a:cubicBezTo>
                      <a:cubicBezTo>
                        <a:pt x="891053" y="264210"/>
                        <a:pt x="891053" y="264210"/>
                        <a:pt x="917905" y="264210"/>
                      </a:cubicBezTo>
                      <a:cubicBezTo>
                        <a:pt x="926385" y="264210"/>
                        <a:pt x="933451" y="271335"/>
                        <a:pt x="933451" y="279884"/>
                      </a:cubicBezTo>
                      <a:cubicBezTo>
                        <a:pt x="933451" y="279884"/>
                        <a:pt x="933451" y="279884"/>
                        <a:pt x="933451" y="434491"/>
                      </a:cubicBezTo>
                      <a:cubicBezTo>
                        <a:pt x="933451" y="443041"/>
                        <a:pt x="926385" y="450165"/>
                        <a:pt x="917905" y="450165"/>
                      </a:cubicBezTo>
                      <a:cubicBezTo>
                        <a:pt x="917905" y="450165"/>
                        <a:pt x="917905" y="450165"/>
                        <a:pt x="891053" y="450165"/>
                      </a:cubicBezTo>
                      <a:cubicBezTo>
                        <a:pt x="891053" y="450165"/>
                        <a:pt x="891053" y="450165"/>
                        <a:pt x="891053" y="505026"/>
                      </a:cubicBezTo>
                      <a:cubicBezTo>
                        <a:pt x="891053" y="513575"/>
                        <a:pt x="883987" y="520700"/>
                        <a:pt x="875507" y="520700"/>
                      </a:cubicBezTo>
                      <a:cubicBezTo>
                        <a:pt x="867028" y="520700"/>
                        <a:pt x="859961" y="513575"/>
                        <a:pt x="859961" y="505026"/>
                      </a:cubicBezTo>
                      <a:cubicBezTo>
                        <a:pt x="859961" y="505026"/>
                        <a:pt x="859961" y="505026"/>
                        <a:pt x="859961" y="450165"/>
                      </a:cubicBezTo>
                      <a:cubicBezTo>
                        <a:pt x="859961" y="450165"/>
                        <a:pt x="859961" y="450165"/>
                        <a:pt x="833109" y="450165"/>
                      </a:cubicBezTo>
                      <a:cubicBezTo>
                        <a:pt x="824630" y="450165"/>
                        <a:pt x="817563" y="443041"/>
                        <a:pt x="817563" y="434491"/>
                      </a:cubicBezTo>
                      <a:cubicBezTo>
                        <a:pt x="817563" y="434491"/>
                        <a:pt x="817563" y="434491"/>
                        <a:pt x="817563" y="279884"/>
                      </a:cubicBezTo>
                      <a:cubicBezTo>
                        <a:pt x="817563" y="271335"/>
                        <a:pt x="824630" y="264210"/>
                        <a:pt x="833109" y="264210"/>
                      </a:cubicBezTo>
                      <a:cubicBezTo>
                        <a:pt x="833109" y="264210"/>
                        <a:pt x="833109" y="264210"/>
                        <a:pt x="859961" y="264210"/>
                      </a:cubicBezTo>
                      <a:cubicBezTo>
                        <a:pt x="859961" y="264210"/>
                        <a:pt x="859961" y="264210"/>
                        <a:pt x="859961" y="209350"/>
                      </a:cubicBezTo>
                      <a:cubicBezTo>
                        <a:pt x="859961" y="200800"/>
                        <a:pt x="867028" y="193675"/>
                        <a:pt x="875507" y="193675"/>
                      </a:cubicBezTo>
                      <a:close/>
                      <a:moveTo>
                        <a:pt x="1039019" y="52388"/>
                      </a:moveTo>
                      <a:cubicBezTo>
                        <a:pt x="1047499" y="52388"/>
                        <a:pt x="1054565" y="58834"/>
                        <a:pt x="1054565" y="68144"/>
                      </a:cubicBezTo>
                      <a:cubicBezTo>
                        <a:pt x="1054565" y="68144"/>
                        <a:pt x="1054565" y="68144"/>
                        <a:pt x="1054565" y="129020"/>
                      </a:cubicBezTo>
                      <a:cubicBezTo>
                        <a:pt x="1054565" y="129020"/>
                        <a:pt x="1054565" y="129020"/>
                        <a:pt x="1081417" y="129020"/>
                      </a:cubicBezTo>
                      <a:cubicBezTo>
                        <a:pt x="1089897" y="129020"/>
                        <a:pt x="1096963" y="136182"/>
                        <a:pt x="1096963" y="144776"/>
                      </a:cubicBezTo>
                      <a:cubicBezTo>
                        <a:pt x="1096963" y="144776"/>
                        <a:pt x="1096963" y="144776"/>
                        <a:pt x="1096963" y="399738"/>
                      </a:cubicBezTo>
                      <a:cubicBezTo>
                        <a:pt x="1096963" y="408332"/>
                        <a:pt x="1089897" y="415494"/>
                        <a:pt x="1081417" y="415494"/>
                      </a:cubicBezTo>
                      <a:cubicBezTo>
                        <a:pt x="1081417" y="415494"/>
                        <a:pt x="1081417" y="415494"/>
                        <a:pt x="1054565" y="415494"/>
                      </a:cubicBezTo>
                      <a:cubicBezTo>
                        <a:pt x="1054565" y="415494"/>
                        <a:pt x="1054565" y="415494"/>
                        <a:pt x="1054565" y="476370"/>
                      </a:cubicBezTo>
                      <a:cubicBezTo>
                        <a:pt x="1054565" y="485680"/>
                        <a:pt x="1047499" y="492126"/>
                        <a:pt x="1039019" y="492126"/>
                      </a:cubicBezTo>
                      <a:cubicBezTo>
                        <a:pt x="1030540" y="492126"/>
                        <a:pt x="1023473" y="485680"/>
                        <a:pt x="1023473" y="476370"/>
                      </a:cubicBezTo>
                      <a:cubicBezTo>
                        <a:pt x="1023473" y="476370"/>
                        <a:pt x="1023473" y="476370"/>
                        <a:pt x="1023473" y="415494"/>
                      </a:cubicBezTo>
                      <a:cubicBezTo>
                        <a:pt x="1023473" y="415494"/>
                        <a:pt x="1023473" y="415494"/>
                        <a:pt x="996621" y="415494"/>
                      </a:cubicBezTo>
                      <a:cubicBezTo>
                        <a:pt x="988142" y="415494"/>
                        <a:pt x="981075" y="408332"/>
                        <a:pt x="981075" y="399738"/>
                      </a:cubicBezTo>
                      <a:cubicBezTo>
                        <a:pt x="981075" y="399738"/>
                        <a:pt x="981075" y="399738"/>
                        <a:pt x="981075" y="144776"/>
                      </a:cubicBezTo>
                      <a:cubicBezTo>
                        <a:pt x="981075" y="136182"/>
                        <a:pt x="988142" y="129020"/>
                        <a:pt x="996621" y="129020"/>
                      </a:cubicBezTo>
                      <a:cubicBezTo>
                        <a:pt x="996621" y="129020"/>
                        <a:pt x="996621" y="129020"/>
                        <a:pt x="1023473" y="129020"/>
                      </a:cubicBezTo>
                      <a:cubicBezTo>
                        <a:pt x="1023473" y="129020"/>
                        <a:pt x="1023473" y="129020"/>
                        <a:pt x="1023473" y="68144"/>
                      </a:cubicBezTo>
                      <a:cubicBezTo>
                        <a:pt x="1023473" y="58834"/>
                        <a:pt x="1030540" y="52388"/>
                        <a:pt x="1039019" y="52388"/>
                      </a:cubicBezTo>
                      <a:close/>
                      <a:moveTo>
                        <a:pt x="221457" y="52388"/>
                      </a:moveTo>
                      <a:cubicBezTo>
                        <a:pt x="229936" y="52388"/>
                        <a:pt x="237003" y="59536"/>
                        <a:pt x="237003" y="68114"/>
                      </a:cubicBezTo>
                      <a:cubicBezTo>
                        <a:pt x="237003" y="68114"/>
                        <a:pt x="237003" y="68114"/>
                        <a:pt x="237003" y="115292"/>
                      </a:cubicBezTo>
                      <a:cubicBezTo>
                        <a:pt x="237003" y="115292"/>
                        <a:pt x="237003" y="115292"/>
                        <a:pt x="263855" y="115292"/>
                      </a:cubicBezTo>
                      <a:cubicBezTo>
                        <a:pt x="272334" y="115292"/>
                        <a:pt x="279401" y="122440"/>
                        <a:pt x="279401" y="131018"/>
                      </a:cubicBezTo>
                      <a:cubicBezTo>
                        <a:pt x="279401" y="131018"/>
                        <a:pt x="279401" y="131018"/>
                        <a:pt x="279401" y="355473"/>
                      </a:cubicBezTo>
                      <a:cubicBezTo>
                        <a:pt x="279401" y="364050"/>
                        <a:pt x="272334" y="371199"/>
                        <a:pt x="263855" y="371199"/>
                      </a:cubicBezTo>
                      <a:cubicBezTo>
                        <a:pt x="263855" y="371199"/>
                        <a:pt x="263855" y="371199"/>
                        <a:pt x="237003" y="371199"/>
                      </a:cubicBezTo>
                      <a:cubicBezTo>
                        <a:pt x="237003" y="371199"/>
                        <a:pt x="237003" y="371199"/>
                        <a:pt x="237003" y="417662"/>
                      </a:cubicBezTo>
                      <a:cubicBezTo>
                        <a:pt x="237003" y="426240"/>
                        <a:pt x="229936" y="433388"/>
                        <a:pt x="221457" y="433388"/>
                      </a:cubicBezTo>
                      <a:cubicBezTo>
                        <a:pt x="212977" y="433388"/>
                        <a:pt x="205911" y="426240"/>
                        <a:pt x="205911" y="417662"/>
                      </a:cubicBezTo>
                      <a:cubicBezTo>
                        <a:pt x="205911" y="417662"/>
                        <a:pt x="205911" y="417662"/>
                        <a:pt x="205911" y="371199"/>
                      </a:cubicBezTo>
                      <a:cubicBezTo>
                        <a:pt x="205911" y="371199"/>
                        <a:pt x="205911" y="371199"/>
                        <a:pt x="179059" y="371199"/>
                      </a:cubicBezTo>
                      <a:cubicBezTo>
                        <a:pt x="170579" y="371199"/>
                        <a:pt x="163513" y="364050"/>
                        <a:pt x="163513" y="355473"/>
                      </a:cubicBezTo>
                      <a:cubicBezTo>
                        <a:pt x="163513" y="355473"/>
                        <a:pt x="163513" y="355473"/>
                        <a:pt x="163513" y="131018"/>
                      </a:cubicBezTo>
                      <a:cubicBezTo>
                        <a:pt x="163513" y="122440"/>
                        <a:pt x="170579" y="115292"/>
                        <a:pt x="179059" y="115292"/>
                      </a:cubicBezTo>
                      <a:cubicBezTo>
                        <a:pt x="179059" y="115292"/>
                        <a:pt x="179059" y="115292"/>
                        <a:pt x="205911" y="115292"/>
                      </a:cubicBezTo>
                      <a:cubicBezTo>
                        <a:pt x="205911" y="115292"/>
                        <a:pt x="205911" y="115292"/>
                        <a:pt x="205911" y="68114"/>
                      </a:cubicBezTo>
                      <a:cubicBezTo>
                        <a:pt x="205911" y="59536"/>
                        <a:pt x="212977" y="52388"/>
                        <a:pt x="221457" y="52388"/>
                      </a:cubicBezTo>
                      <a:close/>
                      <a:moveTo>
                        <a:pt x="548482" y="0"/>
                      </a:moveTo>
                      <a:cubicBezTo>
                        <a:pt x="556961" y="0"/>
                        <a:pt x="564028" y="7150"/>
                        <a:pt x="564028" y="15730"/>
                      </a:cubicBezTo>
                      <a:cubicBezTo>
                        <a:pt x="564028" y="15730"/>
                        <a:pt x="564028" y="15730"/>
                        <a:pt x="564028" y="82942"/>
                      </a:cubicBezTo>
                      <a:cubicBezTo>
                        <a:pt x="564028" y="82942"/>
                        <a:pt x="564028" y="82942"/>
                        <a:pt x="590880" y="82942"/>
                      </a:cubicBezTo>
                      <a:cubicBezTo>
                        <a:pt x="599359" y="82942"/>
                        <a:pt x="606426" y="89378"/>
                        <a:pt x="606426" y="98673"/>
                      </a:cubicBezTo>
                      <a:cubicBezTo>
                        <a:pt x="606426" y="98673"/>
                        <a:pt x="606426" y="98673"/>
                        <a:pt x="606426" y="341065"/>
                      </a:cubicBezTo>
                      <a:cubicBezTo>
                        <a:pt x="606426" y="349645"/>
                        <a:pt x="599359" y="356796"/>
                        <a:pt x="590880" y="356796"/>
                      </a:cubicBezTo>
                      <a:cubicBezTo>
                        <a:pt x="590880" y="356796"/>
                        <a:pt x="590880" y="356796"/>
                        <a:pt x="564028" y="356796"/>
                      </a:cubicBezTo>
                      <a:cubicBezTo>
                        <a:pt x="564028" y="356796"/>
                        <a:pt x="564028" y="356796"/>
                        <a:pt x="564028" y="424008"/>
                      </a:cubicBezTo>
                      <a:cubicBezTo>
                        <a:pt x="564028" y="432588"/>
                        <a:pt x="556961" y="439738"/>
                        <a:pt x="548482" y="439738"/>
                      </a:cubicBezTo>
                      <a:cubicBezTo>
                        <a:pt x="540002" y="439738"/>
                        <a:pt x="532936" y="432588"/>
                        <a:pt x="532936" y="424008"/>
                      </a:cubicBezTo>
                      <a:cubicBezTo>
                        <a:pt x="532936" y="424008"/>
                        <a:pt x="532936" y="424008"/>
                        <a:pt x="532936" y="356796"/>
                      </a:cubicBezTo>
                      <a:cubicBezTo>
                        <a:pt x="532936" y="356796"/>
                        <a:pt x="532936" y="356796"/>
                        <a:pt x="506084" y="356796"/>
                      </a:cubicBezTo>
                      <a:cubicBezTo>
                        <a:pt x="497604" y="356796"/>
                        <a:pt x="490538" y="349645"/>
                        <a:pt x="490538" y="341065"/>
                      </a:cubicBezTo>
                      <a:cubicBezTo>
                        <a:pt x="490538" y="341065"/>
                        <a:pt x="490538" y="341065"/>
                        <a:pt x="490538" y="98673"/>
                      </a:cubicBezTo>
                      <a:cubicBezTo>
                        <a:pt x="490538" y="89378"/>
                        <a:pt x="497604" y="82942"/>
                        <a:pt x="506084" y="82942"/>
                      </a:cubicBezTo>
                      <a:cubicBezTo>
                        <a:pt x="506084" y="82942"/>
                        <a:pt x="506084" y="82942"/>
                        <a:pt x="532936" y="82942"/>
                      </a:cubicBezTo>
                      <a:cubicBezTo>
                        <a:pt x="532936" y="82942"/>
                        <a:pt x="532936" y="82942"/>
                        <a:pt x="532936" y="15730"/>
                      </a:cubicBezTo>
                      <a:cubicBezTo>
                        <a:pt x="532936" y="7150"/>
                        <a:pt x="540002" y="0"/>
                        <a:pt x="548482" y="0"/>
                      </a:cubicBezTo>
                      <a:close/>
                    </a:path>
                  </a:pathLst>
                </a:custGeom>
                <a:solidFill>
                  <a:schemeClr val="tx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en-US"/>
                </a:p>
              </p:txBody>
            </p:sp>
          </p:grpSp>
        </p:grpSp>
      </p:grpSp>
      <p:sp>
        <p:nvSpPr>
          <p:cNvPr id="3" name="Titel 2">
            <a:extLst>
              <a:ext uri="{FF2B5EF4-FFF2-40B4-BE49-F238E27FC236}">
                <a16:creationId xmlns:a16="http://schemas.microsoft.com/office/drawing/2014/main" id="{2AEE8A9C-E8EE-D3B0-A352-5A2136C9D64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1473" y="267286"/>
            <a:ext cx="8108077" cy="410369"/>
          </a:xfrm>
        </p:spPr>
        <p:txBody>
          <a:bodyPr vert="horz" wrap="square" anchor="t">
            <a:normAutofit/>
          </a:bodyPr>
          <a:lstStyle/>
          <a:p>
            <a:r>
              <a:rPr lang="en-US"/>
              <a:t> Keeping the ML development organized!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39F5B9FC-F645-066B-FA18-B888E3E2F3D6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fld id="{CE58CB1E-F828-4F11-99E0-327109AF9DA4}" type="slidenum">
              <a:rPr lang="de-DE" smtClean="0"/>
              <a:pPr>
                <a:spcAft>
                  <a:spcPts val="600"/>
                </a:spcAft>
              </a:pPr>
              <a:t>15</a:t>
            </a:fld>
            <a:endParaRPr lang="de-DE"/>
          </a:p>
        </p:txBody>
      </p:sp>
      <p:sp>
        <p:nvSpPr>
          <p:cNvPr id="11" name="Inhaltsplatzhalter 1">
            <a:extLst>
              <a:ext uri="{FF2B5EF4-FFF2-40B4-BE49-F238E27FC236}">
                <a16:creationId xmlns:a16="http://schemas.microsoft.com/office/drawing/2014/main" id="{42B0FF37-C1FC-4436-81B9-D3462F8728B2}"/>
              </a:ext>
            </a:extLst>
          </p:cNvPr>
          <p:cNvSpPr txBox="1">
            <a:spLocks/>
          </p:cNvSpPr>
          <p:nvPr/>
        </p:nvSpPr>
        <p:spPr>
          <a:xfrm>
            <a:off x="342900" y="2087612"/>
            <a:ext cx="1345115" cy="523220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lang="de-DE" sz="14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6213" indent="-176213"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363" indent="-184150" algn="l" rtl="0" eaLnBrk="1" fontAlgn="base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8163" indent="-177800" algn="l" rtl="0" eaLnBrk="1" fontAlgn="base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4375" indent="-176213" algn="l" rtl="0" eaLnBrk="1" fontAlgn="base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600"/>
              </a:spcAft>
            </a:pPr>
            <a:r>
              <a:rPr lang="en-US"/>
              <a:t>Which </a:t>
            </a:r>
            <a:r>
              <a:rPr lang="en-US" b="1"/>
              <a:t>dataset</a:t>
            </a:r>
            <a:r>
              <a:rPr lang="en-US"/>
              <a:t> has been used?</a:t>
            </a:r>
          </a:p>
        </p:txBody>
      </p:sp>
      <p:sp>
        <p:nvSpPr>
          <p:cNvPr id="12" name="Inhaltsplatzhalter 1">
            <a:extLst>
              <a:ext uri="{FF2B5EF4-FFF2-40B4-BE49-F238E27FC236}">
                <a16:creationId xmlns:a16="http://schemas.microsoft.com/office/drawing/2014/main" id="{664A3FFE-D90F-40CF-8BBC-62C03BDBD6B1}"/>
              </a:ext>
            </a:extLst>
          </p:cNvPr>
          <p:cNvSpPr txBox="1">
            <a:spLocks/>
          </p:cNvSpPr>
          <p:nvPr/>
        </p:nvSpPr>
        <p:spPr>
          <a:xfrm>
            <a:off x="2475718" y="2064591"/>
            <a:ext cx="1719238" cy="523220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lang="de-DE" sz="14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6213" indent="-176213"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363" indent="-184150" algn="l" rtl="0" eaLnBrk="1" fontAlgn="base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8163" indent="-177800" algn="l" rtl="0" eaLnBrk="1" fontAlgn="base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4375" indent="-176213" algn="l" rtl="0" eaLnBrk="1" fontAlgn="base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600"/>
              </a:spcAft>
            </a:pPr>
            <a:r>
              <a:rPr lang="en-US"/>
              <a:t>Which values had the </a:t>
            </a:r>
            <a:r>
              <a:rPr lang="en-US" b="1"/>
              <a:t>hyperparameters</a:t>
            </a:r>
            <a:r>
              <a:rPr lang="en-US"/>
              <a:t>?</a:t>
            </a:r>
          </a:p>
        </p:txBody>
      </p:sp>
      <p:sp>
        <p:nvSpPr>
          <p:cNvPr id="13" name="Inhaltsplatzhalter 1">
            <a:extLst>
              <a:ext uri="{FF2B5EF4-FFF2-40B4-BE49-F238E27FC236}">
                <a16:creationId xmlns:a16="http://schemas.microsoft.com/office/drawing/2014/main" id="{E5426947-9A74-404E-B61D-3F01AB5772F9}"/>
              </a:ext>
            </a:extLst>
          </p:cNvPr>
          <p:cNvSpPr txBox="1">
            <a:spLocks/>
          </p:cNvSpPr>
          <p:nvPr/>
        </p:nvSpPr>
        <p:spPr>
          <a:xfrm>
            <a:off x="5094899" y="2051083"/>
            <a:ext cx="1086162" cy="523220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lang="de-DE" sz="14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6213" indent="-176213"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363" indent="-184150" algn="l" rtl="0" eaLnBrk="1" fontAlgn="base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8163" indent="-177800" algn="l" rtl="0" eaLnBrk="1" fontAlgn="base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4375" indent="-176213" algn="l" rtl="0" eaLnBrk="1" fontAlgn="base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600"/>
              </a:spcAft>
            </a:pPr>
            <a:r>
              <a:rPr lang="en-US"/>
              <a:t>What caused a </a:t>
            </a:r>
            <a:r>
              <a:rPr lang="en-US" b="1"/>
              <a:t>failure</a:t>
            </a:r>
            <a:r>
              <a:rPr lang="en-US"/>
              <a:t>?</a:t>
            </a:r>
          </a:p>
        </p:txBody>
      </p:sp>
      <p:sp>
        <p:nvSpPr>
          <p:cNvPr id="14" name="Inhaltsplatzhalter 1">
            <a:extLst>
              <a:ext uri="{FF2B5EF4-FFF2-40B4-BE49-F238E27FC236}">
                <a16:creationId xmlns:a16="http://schemas.microsoft.com/office/drawing/2014/main" id="{A51CDA4B-F98C-4F48-91E9-3E13B310DD49}"/>
              </a:ext>
            </a:extLst>
          </p:cNvPr>
          <p:cNvSpPr txBox="1">
            <a:spLocks/>
          </p:cNvSpPr>
          <p:nvPr/>
        </p:nvSpPr>
        <p:spPr>
          <a:xfrm>
            <a:off x="1286966" y="3664026"/>
            <a:ext cx="1481066" cy="738664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lang="de-DE" sz="14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6213" indent="-176213"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363" indent="-184150" algn="l" rtl="0" eaLnBrk="1" fontAlgn="base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8163" indent="-177800" algn="l" rtl="0" eaLnBrk="1" fontAlgn="base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4375" indent="-176213" algn="l" rtl="0" eaLnBrk="1" fontAlgn="base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600"/>
              </a:spcAft>
            </a:pPr>
            <a:r>
              <a:rPr lang="en-US"/>
              <a:t>Which </a:t>
            </a:r>
            <a:r>
              <a:rPr lang="en-US" b="1"/>
              <a:t>pipeline structure </a:t>
            </a:r>
            <a:r>
              <a:rPr lang="en-US"/>
              <a:t>has been used?</a:t>
            </a:r>
          </a:p>
        </p:txBody>
      </p:sp>
      <p:sp>
        <p:nvSpPr>
          <p:cNvPr id="17" name="Inhaltsplatzhalter 1">
            <a:extLst>
              <a:ext uri="{FF2B5EF4-FFF2-40B4-BE49-F238E27FC236}">
                <a16:creationId xmlns:a16="http://schemas.microsoft.com/office/drawing/2014/main" id="{529ED8E0-1C85-4BD0-9A75-0806852570E9}"/>
              </a:ext>
            </a:extLst>
          </p:cNvPr>
          <p:cNvSpPr txBox="1">
            <a:spLocks/>
          </p:cNvSpPr>
          <p:nvPr/>
        </p:nvSpPr>
        <p:spPr>
          <a:xfrm>
            <a:off x="4141889" y="3704439"/>
            <a:ext cx="1627272" cy="738664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lang="de-DE" sz="14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6213" indent="-176213"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363" indent="-184150" algn="l" rtl="0" eaLnBrk="1" fontAlgn="base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8163" indent="-177800" algn="l" rtl="0" eaLnBrk="1" fontAlgn="base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4375" indent="-176213" algn="l" rtl="0" eaLnBrk="1" fontAlgn="base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600"/>
              </a:spcAft>
            </a:pPr>
            <a:r>
              <a:rPr lang="en-US"/>
              <a:t>How do the implementations </a:t>
            </a:r>
            <a:r>
              <a:rPr lang="en-US" b="1"/>
              <a:t>compare</a:t>
            </a:r>
            <a:r>
              <a:rPr lang="en-US"/>
              <a:t>?</a:t>
            </a:r>
          </a:p>
        </p:txBody>
      </p:sp>
      <p:grpSp>
        <p:nvGrpSpPr>
          <p:cNvPr id="53" name="Group 52">
            <a:extLst>
              <a:ext uri="{FF2B5EF4-FFF2-40B4-BE49-F238E27FC236}">
                <a16:creationId xmlns:a16="http://schemas.microsoft.com/office/drawing/2014/main" id="{223FA4E2-898A-4D09-852E-C1FF86CD616E}"/>
              </a:ext>
            </a:extLst>
          </p:cNvPr>
          <p:cNvGrpSpPr/>
          <p:nvPr/>
        </p:nvGrpSpPr>
        <p:grpSpPr>
          <a:xfrm>
            <a:off x="1441433" y="2730608"/>
            <a:ext cx="927786" cy="927786"/>
            <a:chOff x="1903942" y="2731651"/>
            <a:chExt cx="1291932" cy="1291932"/>
          </a:xfrm>
        </p:grpSpPr>
        <p:sp>
          <p:nvSpPr>
            <p:cNvPr id="52" name="Oval 51">
              <a:extLst>
                <a:ext uri="{FF2B5EF4-FFF2-40B4-BE49-F238E27FC236}">
                  <a16:creationId xmlns:a16="http://schemas.microsoft.com/office/drawing/2014/main" id="{9375E486-E9EA-49B5-BBFB-770C04BD0483}"/>
                </a:ext>
              </a:extLst>
            </p:cNvPr>
            <p:cNvSpPr/>
            <p:nvPr>
              <p:custDataLst>
                <p:tags r:id="rId3"/>
              </p:custDataLst>
            </p:nvPr>
          </p:nvSpPr>
          <p:spPr>
            <a:xfrm>
              <a:off x="1903942" y="2731651"/>
              <a:ext cx="1291932" cy="1291932"/>
            </a:xfrm>
            <a:prstGeom prst="ellipse">
              <a:avLst/>
            </a:prstGeom>
            <a:solidFill>
              <a:srgbClr val="FFFFFF"/>
            </a:solidFill>
            <a:ln w="38100">
              <a:gradFill flip="none" rotWithShape="1">
                <a:gsLst>
                  <a:gs pos="0">
                    <a:schemeClr val="accent5"/>
                  </a:gs>
                  <a:gs pos="100000">
                    <a:schemeClr val="bg1">
                      <a:lumMod val="75000"/>
                    </a:schemeClr>
                  </a:gs>
                </a:gsLst>
                <a:lin ang="2700000" scaled="1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91440" rIns="91440" bIns="91440" rtlCol="0" anchor="ctr"/>
            <a:lstStyle/>
            <a:p>
              <a:pPr algn="ctr">
                <a:lnSpc>
                  <a:spcPct val="95000"/>
                </a:lnSpc>
              </a:pPr>
              <a:endParaRPr lang="en-US" kern="0">
                <a:solidFill>
                  <a:schemeClr val="bg1">
                    <a:lumMod val="50000"/>
                  </a:schemeClr>
                </a:solidFill>
              </a:endParaRPr>
            </a:p>
          </p:txBody>
        </p:sp>
        <p:grpSp>
          <p:nvGrpSpPr>
            <p:cNvPr id="23" name="Group 22">
              <a:extLst>
                <a:ext uri="{FF2B5EF4-FFF2-40B4-BE49-F238E27FC236}">
                  <a16:creationId xmlns:a16="http://schemas.microsoft.com/office/drawing/2014/main" id="{929BDD12-D9C6-4A7C-94BF-7EA93093AD25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2093141" y="2920850"/>
              <a:ext cx="913534" cy="913534"/>
              <a:chOff x="5272882" y="2605881"/>
              <a:chExt cx="1646237" cy="1646238"/>
            </a:xfrm>
          </p:grpSpPr>
          <p:sp>
            <p:nvSpPr>
              <p:cNvPr id="24" name="AutoShape 80">
                <a:extLst>
                  <a:ext uri="{FF2B5EF4-FFF2-40B4-BE49-F238E27FC236}">
                    <a16:creationId xmlns:a16="http://schemas.microsoft.com/office/drawing/2014/main" id="{AFBB6F0E-846B-4F24-ADA0-4D2B413948F7}"/>
                  </a:ext>
                </a:extLst>
              </p:cNvPr>
              <p:cNvSpPr>
                <a:spLocks noChangeAspect="1" noChangeArrowheads="1" noTextEdit="1"/>
              </p:cNvSpPr>
              <p:nvPr/>
            </p:nvSpPr>
            <p:spPr bwMode="auto">
              <a:xfrm>
                <a:off x="5272882" y="2605881"/>
                <a:ext cx="1646237" cy="164623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D4DF33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575757"/>
                  </a:solidFill>
                </a:endParaRPr>
              </a:p>
            </p:txBody>
          </p:sp>
          <p:grpSp>
            <p:nvGrpSpPr>
              <p:cNvPr id="25" name="Group 24">
                <a:extLst>
                  <a:ext uri="{FF2B5EF4-FFF2-40B4-BE49-F238E27FC236}">
                    <a16:creationId xmlns:a16="http://schemas.microsoft.com/office/drawing/2014/main" id="{ED7FF8A8-CB52-4A98-9A74-83F82FEAB515}"/>
                  </a:ext>
                </a:extLst>
              </p:cNvPr>
              <p:cNvGrpSpPr/>
              <p:nvPr/>
            </p:nvGrpSpPr>
            <p:grpSpPr>
              <a:xfrm>
                <a:off x="5550694" y="3164681"/>
                <a:ext cx="1090612" cy="528638"/>
                <a:chOff x="5550694" y="3156744"/>
                <a:chExt cx="1090612" cy="528638"/>
              </a:xfrm>
            </p:grpSpPr>
            <p:sp>
              <p:nvSpPr>
                <p:cNvPr id="26" name="Freeform 82">
                  <a:extLst>
                    <a:ext uri="{FF2B5EF4-FFF2-40B4-BE49-F238E27FC236}">
                      <a16:creationId xmlns:a16="http://schemas.microsoft.com/office/drawing/2014/main" id="{916DEAFA-63B2-4AAF-9250-A58B9BAA0E2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669757" y="3156744"/>
                  <a:ext cx="852487" cy="469900"/>
                </a:xfrm>
                <a:custGeom>
                  <a:avLst/>
                  <a:gdLst>
                    <a:gd name="T0" fmla="*/ 824 w 1194"/>
                    <a:gd name="T1" fmla="*/ 356 h 657"/>
                    <a:gd name="T2" fmla="*/ 824 w 1194"/>
                    <a:gd name="T3" fmla="*/ 214 h 657"/>
                    <a:gd name="T4" fmla="*/ 802 w 1194"/>
                    <a:gd name="T5" fmla="*/ 192 h 657"/>
                    <a:gd name="T6" fmla="*/ 618 w 1194"/>
                    <a:gd name="T7" fmla="*/ 192 h 657"/>
                    <a:gd name="T8" fmla="*/ 618 w 1194"/>
                    <a:gd name="T9" fmla="*/ 191 h 657"/>
                    <a:gd name="T10" fmla="*/ 618 w 1194"/>
                    <a:gd name="T11" fmla="*/ 104 h 657"/>
                    <a:gd name="T12" fmla="*/ 724 w 1194"/>
                    <a:gd name="T13" fmla="*/ 104 h 657"/>
                    <a:gd name="T14" fmla="*/ 746 w 1194"/>
                    <a:gd name="T15" fmla="*/ 82 h 657"/>
                    <a:gd name="T16" fmla="*/ 746 w 1194"/>
                    <a:gd name="T17" fmla="*/ 67 h 657"/>
                    <a:gd name="T18" fmla="*/ 724 w 1194"/>
                    <a:gd name="T19" fmla="*/ 45 h 657"/>
                    <a:gd name="T20" fmla="*/ 618 w 1194"/>
                    <a:gd name="T21" fmla="*/ 45 h 657"/>
                    <a:gd name="T22" fmla="*/ 618 w 1194"/>
                    <a:gd name="T23" fmla="*/ 22 h 657"/>
                    <a:gd name="T24" fmla="*/ 596 w 1194"/>
                    <a:gd name="T25" fmla="*/ 0 h 657"/>
                    <a:gd name="T26" fmla="*/ 576 w 1194"/>
                    <a:gd name="T27" fmla="*/ 0 h 657"/>
                    <a:gd name="T28" fmla="*/ 554 w 1194"/>
                    <a:gd name="T29" fmla="*/ 22 h 657"/>
                    <a:gd name="T30" fmla="*/ 554 w 1194"/>
                    <a:gd name="T31" fmla="*/ 45 h 657"/>
                    <a:gd name="T32" fmla="*/ 448 w 1194"/>
                    <a:gd name="T33" fmla="*/ 45 h 657"/>
                    <a:gd name="T34" fmla="*/ 426 w 1194"/>
                    <a:gd name="T35" fmla="*/ 67 h 657"/>
                    <a:gd name="T36" fmla="*/ 426 w 1194"/>
                    <a:gd name="T37" fmla="*/ 82 h 657"/>
                    <a:gd name="T38" fmla="*/ 448 w 1194"/>
                    <a:gd name="T39" fmla="*/ 104 h 657"/>
                    <a:gd name="T40" fmla="*/ 554 w 1194"/>
                    <a:gd name="T41" fmla="*/ 104 h 657"/>
                    <a:gd name="T42" fmla="*/ 554 w 1194"/>
                    <a:gd name="T43" fmla="*/ 191 h 657"/>
                    <a:gd name="T44" fmla="*/ 554 w 1194"/>
                    <a:gd name="T45" fmla="*/ 192 h 657"/>
                    <a:gd name="T46" fmla="*/ 371 w 1194"/>
                    <a:gd name="T47" fmla="*/ 192 h 657"/>
                    <a:gd name="T48" fmla="*/ 349 w 1194"/>
                    <a:gd name="T49" fmla="*/ 214 h 657"/>
                    <a:gd name="T50" fmla="*/ 349 w 1194"/>
                    <a:gd name="T51" fmla="*/ 356 h 657"/>
                    <a:gd name="T52" fmla="*/ 0 w 1194"/>
                    <a:gd name="T53" fmla="*/ 356 h 657"/>
                    <a:gd name="T54" fmla="*/ 0 w 1194"/>
                    <a:gd name="T55" fmla="*/ 657 h 657"/>
                    <a:gd name="T56" fmla="*/ 1194 w 1194"/>
                    <a:gd name="T57" fmla="*/ 657 h 657"/>
                    <a:gd name="T58" fmla="*/ 1194 w 1194"/>
                    <a:gd name="T59" fmla="*/ 356 h 657"/>
                    <a:gd name="T60" fmla="*/ 824 w 1194"/>
                    <a:gd name="T61" fmla="*/ 356 h 65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</a:cxnLst>
                  <a:rect l="0" t="0" r="r" b="b"/>
                  <a:pathLst>
                    <a:path w="1194" h="657">
                      <a:moveTo>
                        <a:pt x="824" y="356"/>
                      </a:moveTo>
                      <a:cubicBezTo>
                        <a:pt x="824" y="214"/>
                        <a:pt x="824" y="214"/>
                        <a:pt x="824" y="214"/>
                      </a:cubicBezTo>
                      <a:cubicBezTo>
                        <a:pt x="824" y="202"/>
                        <a:pt x="814" y="192"/>
                        <a:pt x="802" y="192"/>
                      </a:cubicBezTo>
                      <a:cubicBezTo>
                        <a:pt x="618" y="192"/>
                        <a:pt x="618" y="192"/>
                        <a:pt x="618" y="192"/>
                      </a:cubicBezTo>
                      <a:cubicBezTo>
                        <a:pt x="618" y="192"/>
                        <a:pt x="618" y="192"/>
                        <a:pt x="618" y="191"/>
                      </a:cubicBezTo>
                      <a:cubicBezTo>
                        <a:pt x="618" y="104"/>
                        <a:pt x="618" y="104"/>
                        <a:pt x="618" y="104"/>
                      </a:cubicBezTo>
                      <a:cubicBezTo>
                        <a:pt x="724" y="104"/>
                        <a:pt x="724" y="104"/>
                        <a:pt x="724" y="104"/>
                      </a:cubicBezTo>
                      <a:cubicBezTo>
                        <a:pt x="736" y="104"/>
                        <a:pt x="746" y="94"/>
                        <a:pt x="746" y="82"/>
                      </a:cubicBezTo>
                      <a:cubicBezTo>
                        <a:pt x="746" y="67"/>
                        <a:pt x="746" y="67"/>
                        <a:pt x="746" y="67"/>
                      </a:cubicBezTo>
                      <a:cubicBezTo>
                        <a:pt x="746" y="55"/>
                        <a:pt x="736" y="45"/>
                        <a:pt x="724" y="45"/>
                      </a:cubicBezTo>
                      <a:cubicBezTo>
                        <a:pt x="618" y="45"/>
                        <a:pt x="618" y="45"/>
                        <a:pt x="618" y="45"/>
                      </a:cubicBezTo>
                      <a:cubicBezTo>
                        <a:pt x="618" y="22"/>
                        <a:pt x="618" y="22"/>
                        <a:pt x="618" y="22"/>
                      </a:cubicBezTo>
                      <a:cubicBezTo>
                        <a:pt x="618" y="10"/>
                        <a:pt x="608" y="0"/>
                        <a:pt x="596" y="0"/>
                      </a:cubicBezTo>
                      <a:cubicBezTo>
                        <a:pt x="576" y="0"/>
                        <a:pt x="576" y="0"/>
                        <a:pt x="576" y="0"/>
                      </a:cubicBezTo>
                      <a:cubicBezTo>
                        <a:pt x="564" y="0"/>
                        <a:pt x="554" y="10"/>
                        <a:pt x="554" y="22"/>
                      </a:cubicBezTo>
                      <a:cubicBezTo>
                        <a:pt x="554" y="45"/>
                        <a:pt x="554" y="45"/>
                        <a:pt x="554" y="45"/>
                      </a:cubicBezTo>
                      <a:cubicBezTo>
                        <a:pt x="448" y="45"/>
                        <a:pt x="448" y="45"/>
                        <a:pt x="448" y="45"/>
                      </a:cubicBezTo>
                      <a:cubicBezTo>
                        <a:pt x="436" y="45"/>
                        <a:pt x="426" y="55"/>
                        <a:pt x="426" y="67"/>
                      </a:cubicBezTo>
                      <a:cubicBezTo>
                        <a:pt x="426" y="82"/>
                        <a:pt x="426" y="82"/>
                        <a:pt x="426" y="82"/>
                      </a:cubicBezTo>
                      <a:cubicBezTo>
                        <a:pt x="426" y="94"/>
                        <a:pt x="436" y="104"/>
                        <a:pt x="448" y="104"/>
                      </a:cubicBezTo>
                      <a:cubicBezTo>
                        <a:pt x="554" y="104"/>
                        <a:pt x="554" y="104"/>
                        <a:pt x="554" y="104"/>
                      </a:cubicBezTo>
                      <a:cubicBezTo>
                        <a:pt x="554" y="191"/>
                        <a:pt x="554" y="191"/>
                        <a:pt x="554" y="191"/>
                      </a:cubicBezTo>
                      <a:cubicBezTo>
                        <a:pt x="554" y="192"/>
                        <a:pt x="554" y="192"/>
                        <a:pt x="554" y="192"/>
                      </a:cubicBezTo>
                      <a:cubicBezTo>
                        <a:pt x="371" y="192"/>
                        <a:pt x="371" y="192"/>
                        <a:pt x="371" y="192"/>
                      </a:cubicBezTo>
                      <a:cubicBezTo>
                        <a:pt x="359" y="192"/>
                        <a:pt x="349" y="202"/>
                        <a:pt x="349" y="214"/>
                      </a:cubicBezTo>
                      <a:cubicBezTo>
                        <a:pt x="349" y="356"/>
                        <a:pt x="349" y="356"/>
                        <a:pt x="349" y="356"/>
                      </a:cubicBezTo>
                      <a:cubicBezTo>
                        <a:pt x="0" y="356"/>
                        <a:pt x="0" y="356"/>
                        <a:pt x="0" y="356"/>
                      </a:cubicBezTo>
                      <a:cubicBezTo>
                        <a:pt x="0" y="657"/>
                        <a:pt x="0" y="657"/>
                        <a:pt x="0" y="657"/>
                      </a:cubicBezTo>
                      <a:cubicBezTo>
                        <a:pt x="1194" y="657"/>
                        <a:pt x="1194" y="657"/>
                        <a:pt x="1194" y="657"/>
                      </a:cubicBezTo>
                      <a:cubicBezTo>
                        <a:pt x="1194" y="356"/>
                        <a:pt x="1194" y="356"/>
                        <a:pt x="1194" y="356"/>
                      </a:cubicBezTo>
                      <a:lnTo>
                        <a:pt x="824" y="356"/>
                      </a:lnTo>
                      <a:close/>
                    </a:path>
                  </a:pathLst>
                </a:custGeom>
                <a:solidFill>
                  <a:schemeClr val="tx2"/>
                </a:solidFill>
                <a:ln w="15875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69816" tIns="34908" rIns="69816" bIns="34908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74" kern="0">
                    <a:solidFill>
                      <a:srgbClr val="000000"/>
                    </a:solidFill>
                    <a:latin typeface="Arial"/>
                  </a:endParaRPr>
                </a:p>
              </p:txBody>
            </p:sp>
            <p:sp>
              <p:nvSpPr>
                <p:cNvPr id="27" name="Freeform 6">
                  <a:extLst>
                    <a:ext uri="{FF2B5EF4-FFF2-40B4-BE49-F238E27FC236}">
                      <a16:creationId xmlns:a16="http://schemas.microsoft.com/office/drawing/2014/main" id="{1A5B79AA-BD8C-49F2-8963-880D6406E6C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550694" y="3353594"/>
                  <a:ext cx="1090612" cy="331788"/>
                </a:xfrm>
                <a:custGeom>
                  <a:avLst/>
                  <a:gdLst>
                    <a:gd name="connsiteX0" fmla="*/ 1018917 w 1090612"/>
                    <a:gd name="connsiteY0" fmla="*/ 0 h 331788"/>
                    <a:gd name="connsiteX1" fmla="*/ 1074995 w 1090612"/>
                    <a:gd name="connsiteY1" fmla="*/ 0 h 331788"/>
                    <a:gd name="connsiteX2" fmla="*/ 1090612 w 1090612"/>
                    <a:gd name="connsiteY2" fmla="*/ 15731 h 331788"/>
                    <a:gd name="connsiteX3" fmla="*/ 1090612 w 1090612"/>
                    <a:gd name="connsiteY3" fmla="*/ 316057 h 331788"/>
                    <a:gd name="connsiteX4" fmla="*/ 1074995 w 1090612"/>
                    <a:gd name="connsiteY4" fmla="*/ 331788 h 331788"/>
                    <a:gd name="connsiteX5" fmla="*/ 1018917 w 1090612"/>
                    <a:gd name="connsiteY5" fmla="*/ 331788 h 331788"/>
                    <a:gd name="connsiteX6" fmla="*/ 1003300 w 1090612"/>
                    <a:gd name="connsiteY6" fmla="*/ 316057 h 331788"/>
                    <a:gd name="connsiteX7" fmla="*/ 1003300 w 1090612"/>
                    <a:gd name="connsiteY7" fmla="*/ 273153 h 331788"/>
                    <a:gd name="connsiteX8" fmla="*/ 1003300 w 1090612"/>
                    <a:gd name="connsiteY8" fmla="*/ 57920 h 331788"/>
                    <a:gd name="connsiteX9" fmla="*/ 1003300 w 1090612"/>
                    <a:gd name="connsiteY9" fmla="*/ 15731 h 331788"/>
                    <a:gd name="connsiteX10" fmla="*/ 1018917 w 1090612"/>
                    <a:gd name="connsiteY10" fmla="*/ 0 h 331788"/>
                    <a:gd name="connsiteX11" fmla="*/ 15617 w 1090612"/>
                    <a:gd name="connsiteY11" fmla="*/ 0 h 331788"/>
                    <a:gd name="connsiteX12" fmla="*/ 71695 w 1090612"/>
                    <a:gd name="connsiteY12" fmla="*/ 0 h 331788"/>
                    <a:gd name="connsiteX13" fmla="*/ 87312 w 1090612"/>
                    <a:gd name="connsiteY13" fmla="*/ 15731 h 331788"/>
                    <a:gd name="connsiteX14" fmla="*/ 87312 w 1090612"/>
                    <a:gd name="connsiteY14" fmla="*/ 57920 h 331788"/>
                    <a:gd name="connsiteX15" fmla="*/ 87312 w 1090612"/>
                    <a:gd name="connsiteY15" fmla="*/ 273153 h 331788"/>
                    <a:gd name="connsiteX16" fmla="*/ 87312 w 1090612"/>
                    <a:gd name="connsiteY16" fmla="*/ 316057 h 331788"/>
                    <a:gd name="connsiteX17" fmla="*/ 71695 w 1090612"/>
                    <a:gd name="connsiteY17" fmla="*/ 331788 h 331788"/>
                    <a:gd name="connsiteX18" fmla="*/ 15617 w 1090612"/>
                    <a:gd name="connsiteY18" fmla="*/ 331788 h 331788"/>
                    <a:gd name="connsiteX19" fmla="*/ 0 w 1090612"/>
                    <a:gd name="connsiteY19" fmla="*/ 316057 h 331788"/>
                    <a:gd name="connsiteX20" fmla="*/ 0 w 1090612"/>
                    <a:gd name="connsiteY20" fmla="*/ 15731 h 331788"/>
                    <a:gd name="connsiteX21" fmla="*/ 15617 w 1090612"/>
                    <a:gd name="connsiteY21" fmla="*/ 0 h 33178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</a:cxnLst>
                  <a:rect l="l" t="t" r="r" b="b"/>
                  <a:pathLst>
                    <a:path w="1090612" h="331788">
                      <a:moveTo>
                        <a:pt x="1018917" y="0"/>
                      </a:moveTo>
                      <a:cubicBezTo>
                        <a:pt x="1018917" y="0"/>
                        <a:pt x="1018917" y="0"/>
                        <a:pt x="1074995" y="0"/>
                      </a:cubicBezTo>
                      <a:cubicBezTo>
                        <a:pt x="1083514" y="0"/>
                        <a:pt x="1090612" y="7151"/>
                        <a:pt x="1090612" y="15731"/>
                      </a:cubicBezTo>
                      <a:cubicBezTo>
                        <a:pt x="1090612" y="15731"/>
                        <a:pt x="1090612" y="15731"/>
                        <a:pt x="1090612" y="316057"/>
                      </a:cubicBezTo>
                      <a:cubicBezTo>
                        <a:pt x="1090612" y="324638"/>
                        <a:pt x="1083514" y="331788"/>
                        <a:pt x="1074995" y="331788"/>
                      </a:cubicBezTo>
                      <a:cubicBezTo>
                        <a:pt x="1074995" y="331788"/>
                        <a:pt x="1074995" y="331788"/>
                        <a:pt x="1018917" y="331788"/>
                      </a:cubicBezTo>
                      <a:cubicBezTo>
                        <a:pt x="1010399" y="331788"/>
                        <a:pt x="1003300" y="324638"/>
                        <a:pt x="1003300" y="316057"/>
                      </a:cubicBezTo>
                      <a:cubicBezTo>
                        <a:pt x="1003300" y="316057"/>
                        <a:pt x="1003300" y="316057"/>
                        <a:pt x="1003300" y="273153"/>
                      </a:cubicBezTo>
                      <a:cubicBezTo>
                        <a:pt x="1003300" y="273153"/>
                        <a:pt x="1003300" y="273153"/>
                        <a:pt x="1003300" y="57920"/>
                      </a:cubicBezTo>
                      <a:cubicBezTo>
                        <a:pt x="1003300" y="57920"/>
                        <a:pt x="1003300" y="57920"/>
                        <a:pt x="1003300" y="15731"/>
                      </a:cubicBezTo>
                      <a:cubicBezTo>
                        <a:pt x="1003300" y="7151"/>
                        <a:pt x="1010399" y="0"/>
                        <a:pt x="1018917" y="0"/>
                      </a:cubicBezTo>
                      <a:close/>
                      <a:moveTo>
                        <a:pt x="15617" y="0"/>
                      </a:moveTo>
                      <a:cubicBezTo>
                        <a:pt x="15617" y="0"/>
                        <a:pt x="15617" y="0"/>
                        <a:pt x="71695" y="0"/>
                      </a:cubicBezTo>
                      <a:cubicBezTo>
                        <a:pt x="80213" y="0"/>
                        <a:pt x="87312" y="7151"/>
                        <a:pt x="87312" y="15731"/>
                      </a:cubicBezTo>
                      <a:cubicBezTo>
                        <a:pt x="87312" y="15731"/>
                        <a:pt x="87312" y="15731"/>
                        <a:pt x="87312" y="57920"/>
                      </a:cubicBezTo>
                      <a:cubicBezTo>
                        <a:pt x="87312" y="57920"/>
                        <a:pt x="87312" y="57920"/>
                        <a:pt x="87312" y="273153"/>
                      </a:cubicBezTo>
                      <a:cubicBezTo>
                        <a:pt x="87312" y="273153"/>
                        <a:pt x="87312" y="273153"/>
                        <a:pt x="87312" y="316057"/>
                      </a:cubicBezTo>
                      <a:cubicBezTo>
                        <a:pt x="87312" y="324638"/>
                        <a:pt x="80213" y="331788"/>
                        <a:pt x="71695" y="331788"/>
                      </a:cubicBezTo>
                      <a:cubicBezTo>
                        <a:pt x="71695" y="331788"/>
                        <a:pt x="71695" y="331788"/>
                        <a:pt x="15617" y="331788"/>
                      </a:cubicBezTo>
                      <a:cubicBezTo>
                        <a:pt x="7098" y="331788"/>
                        <a:pt x="0" y="324638"/>
                        <a:pt x="0" y="316057"/>
                      </a:cubicBezTo>
                      <a:cubicBezTo>
                        <a:pt x="0" y="316057"/>
                        <a:pt x="0" y="316057"/>
                        <a:pt x="0" y="15731"/>
                      </a:cubicBezTo>
                      <a:cubicBezTo>
                        <a:pt x="0" y="7151"/>
                        <a:pt x="7098" y="0"/>
                        <a:pt x="15617" y="0"/>
                      </a:cubicBezTo>
                      <a:close/>
                    </a:path>
                  </a:pathLst>
                </a:custGeom>
                <a:solidFill>
                  <a:schemeClr val="accent1"/>
                </a:solidFill>
                <a:ln w="15875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69816" tIns="34908" rIns="69816" bIns="34908" numCol="1" anchor="t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en-US" sz="1374" kern="0">
                    <a:solidFill>
                      <a:srgbClr val="000000"/>
                    </a:solidFill>
                    <a:latin typeface="Arial"/>
                  </a:endParaRPr>
                </a:p>
              </p:txBody>
            </p:sp>
          </p:grpSp>
        </p:grpSp>
      </p:grpSp>
      <p:grpSp>
        <p:nvGrpSpPr>
          <p:cNvPr id="55" name="Group 54">
            <a:extLst>
              <a:ext uri="{FF2B5EF4-FFF2-40B4-BE49-F238E27FC236}">
                <a16:creationId xmlns:a16="http://schemas.microsoft.com/office/drawing/2014/main" id="{763A02A2-3E34-48FD-B23C-E9357113E2E3}"/>
              </a:ext>
            </a:extLst>
          </p:cNvPr>
          <p:cNvGrpSpPr/>
          <p:nvPr/>
        </p:nvGrpSpPr>
        <p:grpSpPr>
          <a:xfrm>
            <a:off x="431902" y="1101953"/>
            <a:ext cx="927786" cy="926890"/>
            <a:chOff x="257704" y="870136"/>
            <a:chExt cx="1291932" cy="1290684"/>
          </a:xfrm>
        </p:grpSpPr>
        <p:sp>
          <p:nvSpPr>
            <p:cNvPr id="54" name="Oval 53">
              <a:extLst>
                <a:ext uri="{FF2B5EF4-FFF2-40B4-BE49-F238E27FC236}">
                  <a16:creationId xmlns:a16="http://schemas.microsoft.com/office/drawing/2014/main" id="{0126AC1B-9B2E-4D16-B5B1-F63213902893}"/>
                </a:ext>
              </a:extLst>
            </p:cNvPr>
            <p:cNvSpPr/>
            <p:nvPr>
              <p:custDataLst>
                <p:tags r:id="rId2"/>
              </p:custDataLst>
            </p:nvPr>
          </p:nvSpPr>
          <p:spPr>
            <a:xfrm>
              <a:off x="257704" y="870136"/>
              <a:ext cx="1291932" cy="1290684"/>
            </a:xfrm>
            <a:prstGeom prst="ellipse">
              <a:avLst/>
            </a:prstGeom>
            <a:solidFill>
              <a:srgbClr val="FFFFFF"/>
            </a:solidFill>
            <a:ln w="38100">
              <a:gradFill flip="none" rotWithShape="1">
                <a:gsLst>
                  <a:gs pos="0">
                    <a:schemeClr val="accent5"/>
                  </a:gs>
                  <a:gs pos="100000">
                    <a:schemeClr val="bg1">
                      <a:lumMod val="75000"/>
                    </a:schemeClr>
                  </a:gs>
                </a:gsLst>
                <a:lin ang="2700000" scaled="1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91440" rIns="91440" bIns="91440" rtlCol="0" anchor="ctr"/>
            <a:lstStyle/>
            <a:p>
              <a:pPr algn="ctr">
                <a:lnSpc>
                  <a:spcPct val="95000"/>
                </a:lnSpc>
              </a:pPr>
              <a:endParaRPr lang="en-US" kern="0">
                <a:solidFill>
                  <a:schemeClr val="bg1">
                    <a:lumMod val="50000"/>
                  </a:schemeClr>
                </a:solidFill>
              </a:endParaRPr>
            </a:p>
          </p:txBody>
        </p:sp>
        <p:grpSp>
          <p:nvGrpSpPr>
            <p:cNvPr id="18" name="Group 17">
              <a:extLst>
                <a:ext uri="{FF2B5EF4-FFF2-40B4-BE49-F238E27FC236}">
                  <a16:creationId xmlns:a16="http://schemas.microsoft.com/office/drawing/2014/main" id="{F7EAEB48-5E05-42BE-9CBE-112301961699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446903" y="1059152"/>
              <a:ext cx="913534" cy="912652"/>
              <a:chOff x="5273675" y="2606675"/>
              <a:chExt cx="1646238" cy="1644650"/>
            </a:xfrm>
          </p:grpSpPr>
          <p:sp>
            <p:nvSpPr>
              <p:cNvPr id="19" name="AutoShape 3">
                <a:extLst>
                  <a:ext uri="{FF2B5EF4-FFF2-40B4-BE49-F238E27FC236}">
                    <a16:creationId xmlns:a16="http://schemas.microsoft.com/office/drawing/2014/main" id="{8D794D47-1612-47B4-88D3-D935B1901FE5}"/>
                  </a:ext>
                </a:extLst>
              </p:cNvPr>
              <p:cNvSpPr>
                <a:spLocks noChangeAspect="1" noChangeArrowheads="1" noTextEdit="1"/>
              </p:cNvSpPr>
              <p:nvPr/>
            </p:nvSpPr>
            <p:spPr bwMode="auto">
              <a:xfrm>
                <a:off x="5273675" y="2606675"/>
                <a:ext cx="1646238" cy="164465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grpSp>
            <p:nvGrpSpPr>
              <p:cNvPr id="20" name="Group 19">
                <a:extLst>
                  <a:ext uri="{FF2B5EF4-FFF2-40B4-BE49-F238E27FC236}">
                    <a16:creationId xmlns:a16="http://schemas.microsoft.com/office/drawing/2014/main" id="{FE338000-5993-4E75-AE54-77D7AE40053F}"/>
                  </a:ext>
                </a:extLst>
              </p:cNvPr>
              <p:cNvGrpSpPr/>
              <p:nvPr/>
            </p:nvGrpSpPr>
            <p:grpSpPr>
              <a:xfrm>
                <a:off x="5608638" y="2881313"/>
                <a:ext cx="977900" cy="1093788"/>
                <a:chOff x="5608638" y="2881313"/>
                <a:chExt cx="977900" cy="1093788"/>
              </a:xfrm>
            </p:grpSpPr>
            <p:sp>
              <p:nvSpPr>
                <p:cNvPr id="21" name="Freeform 17">
                  <a:extLst>
                    <a:ext uri="{FF2B5EF4-FFF2-40B4-BE49-F238E27FC236}">
                      <a16:creationId xmlns:a16="http://schemas.microsoft.com/office/drawing/2014/main" id="{DFE2C578-5C3D-489D-AB2B-9B8E34F649B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608638" y="2881313"/>
                  <a:ext cx="977900" cy="1093788"/>
                </a:xfrm>
                <a:custGeom>
                  <a:avLst/>
                  <a:gdLst>
                    <a:gd name="connsiteX0" fmla="*/ 488514 w 977900"/>
                    <a:gd name="connsiteY0" fmla="*/ 61912 h 1093788"/>
                    <a:gd name="connsiteX1" fmla="*/ 917575 w 977900"/>
                    <a:gd name="connsiteY1" fmla="*/ 219512 h 1093788"/>
                    <a:gd name="connsiteX2" fmla="*/ 488514 w 977900"/>
                    <a:gd name="connsiteY2" fmla="*/ 377825 h 1093788"/>
                    <a:gd name="connsiteX3" fmla="*/ 58737 w 977900"/>
                    <a:gd name="connsiteY3" fmla="*/ 224504 h 1093788"/>
                    <a:gd name="connsiteX4" fmla="*/ 58737 w 977900"/>
                    <a:gd name="connsiteY4" fmla="*/ 215233 h 1093788"/>
                    <a:gd name="connsiteX5" fmla="*/ 488514 w 977900"/>
                    <a:gd name="connsiteY5" fmla="*/ 61912 h 1093788"/>
                    <a:gd name="connsiteX6" fmla="*/ 477508 w 977900"/>
                    <a:gd name="connsiteY6" fmla="*/ 28575 h 1093788"/>
                    <a:gd name="connsiteX7" fmla="*/ 173585 w 977900"/>
                    <a:gd name="connsiteY7" fmla="*/ 78482 h 1093788"/>
                    <a:gd name="connsiteX8" fmla="*/ 172155 w 977900"/>
                    <a:gd name="connsiteY8" fmla="*/ 79195 h 1093788"/>
                    <a:gd name="connsiteX9" fmla="*/ 165719 w 977900"/>
                    <a:gd name="connsiteY9" fmla="*/ 81334 h 1093788"/>
                    <a:gd name="connsiteX10" fmla="*/ 164289 w 977900"/>
                    <a:gd name="connsiteY10" fmla="*/ 82047 h 1093788"/>
                    <a:gd name="connsiteX11" fmla="*/ 157138 w 977900"/>
                    <a:gd name="connsiteY11" fmla="*/ 84899 h 1093788"/>
                    <a:gd name="connsiteX12" fmla="*/ 149271 w 977900"/>
                    <a:gd name="connsiteY12" fmla="*/ 88463 h 1093788"/>
                    <a:gd name="connsiteX13" fmla="*/ 144981 w 977900"/>
                    <a:gd name="connsiteY13" fmla="*/ 89889 h 1093788"/>
                    <a:gd name="connsiteX14" fmla="*/ 142835 w 977900"/>
                    <a:gd name="connsiteY14" fmla="*/ 91315 h 1093788"/>
                    <a:gd name="connsiteX15" fmla="*/ 50586 w 977900"/>
                    <a:gd name="connsiteY15" fmla="*/ 153342 h 1093788"/>
                    <a:gd name="connsiteX16" fmla="*/ 49156 w 977900"/>
                    <a:gd name="connsiteY16" fmla="*/ 154768 h 1093788"/>
                    <a:gd name="connsiteX17" fmla="*/ 47726 w 977900"/>
                    <a:gd name="connsiteY17" fmla="*/ 156907 h 1093788"/>
                    <a:gd name="connsiteX18" fmla="*/ 44150 w 977900"/>
                    <a:gd name="connsiteY18" fmla="*/ 161185 h 1093788"/>
                    <a:gd name="connsiteX19" fmla="*/ 43435 w 977900"/>
                    <a:gd name="connsiteY19" fmla="*/ 161898 h 1093788"/>
                    <a:gd name="connsiteX20" fmla="*/ 41289 w 977900"/>
                    <a:gd name="connsiteY20" fmla="*/ 165463 h 1093788"/>
                    <a:gd name="connsiteX21" fmla="*/ 39859 w 977900"/>
                    <a:gd name="connsiteY21" fmla="*/ 167602 h 1093788"/>
                    <a:gd name="connsiteX22" fmla="*/ 38429 w 977900"/>
                    <a:gd name="connsiteY22" fmla="*/ 169740 h 1093788"/>
                    <a:gd name="connsiteX23" fmla="*/ 36999 w 977900"/>
                    <a:gd name="connsiteY23" fmla="*/ 171879 h 1093788"/>
                    <a:gd name="connsiteX24" fmla="*/ 36284 w 977900"/>
                    <a:gd name="connsiteY24" fmla="*/ 174018 h 1093788"/>
                    <a:gd name="connsiteX25" fmla="*/ 34853 w 977900"/>
                    <a:gd name="connsiteY25" fmla="*/ 176870 h 1093788"/>
                    <a:gd name="connsiteX26" fmla="*/ 34138 w 977900"/>
                    <a:gd name="connsiteY26" fmla="*/ 178296 h 1093788"/>
                    <a:gd name="connsiteX27" fmla="*/ 32708 w 977900"/>
                    <a:gd name="connsiteY27" fmla="*/ 181148 h 1093788"/>
                    <a:gd name="connsiteX28" fmla="*/ 31993 w 977900"/>
                    <a:gd name="connsiteY28" fmla="*/ 182574 h 1093788"/>
                    <a:gd name="connsiteX29" fmla="*/ 31278 w 977900"/>
                    <a:gd name="connsiteY29" fmla="*/ 186138 h 1093788"/>
                    <a:gd name="connsiteX30" fmla="*/ 30563 w 977900"/>
                    <a:gd name="connsiteY30" fmla="*/ 187564 h 1093788"/>
                    <a:gd name="connsiteX31" fmla="*/ 29848 w 977900"/>
                    <a:gd name="connsiteY31" fmla="*/ 190416 h 1093788"/>
                    <a:gd name="connsiteX32" fmla="*/ 29133 w 977900"/>
                    <a:gd name="connsiteY32" fmla="*/ 191842 h 1093788"/>
                    <a:gd name="connsiteX33" fmla="*/ 28417 w 977900"/>
                    <a:gd name="connsiteY33" fmla="*/ 195407 h 1093788"/>
                    <a:gd name="connsiteX34" fmla="*/ 28417 w 977900"/>
                    <a:gd name="connsiteY34" fmla="*/ 196833 h 1093788"/>
                    <a:gd name="connsiteX35" fmla="*/ 27702 w 977900"/>
                    <a:gd name="connsiteY35" fmla="*/ 199685 h 1093788"/>
                    <a:gd name="connsiteX36" fmla="*/ 27702 w 977900"/>
                    <a:gd name="connsiteY36" fmla="*/ 201823 h 1093788"/>
                    <a:gd name="connsiteX37" fmla="*/ 26987 w 977900"/>
                    <a:gd name="connsiteY37" fmla="*/ 203962 h 1093788"/>
                    <a:gd name="connsiteX38" fmla="*/ 26987 w 977900"/>
                    <a:gd name="connsiteY38" fmla="*/ 208953 h 1093788"/>
                    <a:gd name="connsiteX39" fmla="*/ 26987 w 977900"/>
                    <a:gd name="connsiteY39" fmla="*/ 210379 h 1093788"/>
                    <a:gd name="connsiteX40" fmla="*/ 26987 w 977900"/>
                    <a:gd name="connsiteY40" fmla="*/ 211092 h 1093788"/>
                    <a:gd name="connsiteX41" fmla="*/ 26987 w 977900"/>
                    <a:gd name="connsiteY41" fmla="*/ 211805 h 1093788"/>
                    <a:gd name="connsiteX42" fmla="*/ 26987 w 977900"/>
                    <a:gd name="connsiteY42" fmla="*/ 215370 h 1093788"/>
                    <a:gd name="connsiteX43" fmla="*/ 27702 w 977900"/>
                    <a:gd name="connsiteY43" fmla="*/ 217508 h 1093788"/>
                    <a:gd name="connsiteX44" fmla="*/ 27702 w 977900"/>
                    <a:gd name="connsiteY44" fmla="*/ 876280 h 1093788"/>
                    <a:gd name="connsiteX45" fmla="*/ 26987 w 977900"/>
                    <a:gd name="connsiteY45" fmla="*/ 878419 h 1093788"/>
                    <a:gd name="connsiteX46" fmla="*/ 26987 w 977900"/>
                    <a:gd name="connsiteY46" fmla="*/ 881983 h 1093788"/>
                    <a:gd name="connsiteX47" fmla="*/ 26987 w 977900"/>
                    <a:gd name="connsiteY47" fmla="*/ 882696 h 1093788"/>
                    <a:gd name="connsiteX48" fmla="*/ 26987 w 977900"/>
                    <a:gd name="connsiteY48" fmla="*/ 883409 h 1093788"/>
                    <a:gd name="connsiteX49" fmla="*/ 26987 w 977900"/>
                    <a:gd name="connsiteY49" fmla="*/ 884835 h 1093788"/>
                    <a:gd name="connsiteX50" fmla="*/ 26987 w 977900"/>
                    <a:gd name="connsiteY50" fmla="*/ 889826 h 1093788"/>
                    <a:gd name="connsiteX51" fmla="*/ 27702 w 977900"/>
                    <a:gd name="connsiteY51" fmla="*/ 891965 h 1093788"/>
                    <a:gd name="connsiteX52" fmla="*/ 27702 w 977900"/>
                    <a:gd name="connsiteY52" fmla="*/ 894104 h 1093788"/>
                    <a:gd name="connsiteX53" fmla="*/ 28417 w 977900"/>
                    <a:gd name="connsiteY53" fmla="*/ 896956 h 1093788"/>
                    <a:gd name="connsiteX54" fmla="*/ 28417 w 977900"/>
                    <a:gd name="connsiteY54" fmla="*/ 898381 h 1093788"/>
                    <a:gd name="connsiteX55" fmla="*/ 29133 w 977900"/>
                    <a:gd name="connsiteY55" fmla="*/ 901946 h 1093788"/>
                    <a:gd name="connsiteX56" fmla="*/ 29848 w 977900"/>
                    <a:gd name="connsiteY56" fmla="*/ 903372 h 1093788"/>
                    <a:gd name="connsiteX57" fmla="*/ 30563 w 977900"/>
                    <a:gd name="connsiteY57" fmla="*/ 906224 h 1093788"/>
                    <a:gd name="connsiteX58" fmla="*/ 31278 w 977900"/>
                    <a:gd name="connsiteY58" fmla="*/ 907650 h 1093788"/>
                    <a:gd name="connsiteX59" fmla="*/ 31993 w 977900"/>
                    <a:gd name="connsiteY59" fmla="*/ 911215 h 1093788"/>
                    <a:gd name="connsiteX60" fmla="*/ 32708 w 977900"/>
                    <a:gd name="connsiteY60" fmla="*/ 912641 h 1093788"/>
                    <a:gd name="connsiteX61" fmla="*/ 34138 w 977900"/>
                    <a:gd name="connsiteY61" fmla="*/ 915492 h 1093788"/>
                    <a:gd name="connsiteX62" fmla="*/ 34853 w 977900"/>
                    <a:gd name="connsiteY62" fmla="*/ 916918 h 1093788"/>
                    <a:gd name="connsiteX63" fmla="*/ 36284 w 977900"/>
                    <a:gd name="connsiteY63" fmla="*/ 919770 h 1093788"/>
                    <a:gd name="connsiteX64" fmla="*/ 36999 w 977900"/>
                    <a:gd name="connsiteY64" fmla="*/ 921909 h 1093788"/>
                    <a:gd name="connsiteX65" fmla="*/ 38429 w 977900"/>
                    <a:gd name="connsiteY65" fmla="*/ 924048 h 1093788"/>
                    <a:gd name="connsiteX66" fmla="*/ 39859 w 977900"/>
                    <a:gd name="connsiteY66" fmla="*/ 926187 h 1093788"/>
                    <a:gd name="connsiteX67" fmla="*/ 41289 w 977900"/>
                    <a:gd name="connsiteY67" fmla="*/ 928326 h 1093788"/>
                    <a:gd name="connsiteX68" fmla="*/ 43435 w 977900"/>
                    <a:gd name="connsiteY68" fmla="*/ 931890 h 1093788"/>
                    <a:gd name="connsiteX69" fmla="*/ 44150 w 977900"/>
                    <a:gd name="connsiteY69" fmla="*/ 931890 h 1093788"/>
                    <a:gd name="connsiteX70" fmla="*/ 47726 w 977900"/>
                    <a:gd name="connsiteY70" fmla="*/ 936881 h 1093788"/>
                    <a:gd name="connsiteX71" fmla="*/ 49156 w 977900"/>
                    <a:gd name="connsiteY71" fmla="*/ 939020 h 1093788"/>
                    <a:gd name="connsiteX72" fmla="*/ 50586 w 977900"/>
                    <a:gd name="connsiteY72" fmla="*/ 940446 h 1093788"/>
                    <a:gd name="connsiteX73" fmla="*/ 142835 w 977900"/>
                    <a:gd name="connsiteY73" fmla="*/ 1002473 h 1093788"/>
                    <a:gd name="connsiteX74" fmla="*/ 144981 w 977900"/>
                    <a:gd name="connsiteY74" fmla="*/ 1003899 h 1093788"/>
                    <a:gd name="connsiteX75" fmla="*/ 149271 w 977900"/>
                    <a:gd name="connsiteY75" fmla="*/ 1005325 h 1093788"/>
                    <a:gd name="connsiteX76" fmla="*/ 157138 w 977900"/>
                    <a:gd name="connsiteY76" fmla="*/ 1008890 h 1093788"/>
                    <a:gd name="connsiteX77" fmla="*/ 162859 w 977900"/>
                    <a:gd name="connsiteY77" fmla="*/ 1011029 h 1093788"/>
                    <a:gd name="connsiteX78" fmla="*/ 164289 w 977900"/>
                    <a:gd name="connsiteY78" fmla="*/ 1011741 h 1093788"/>
                    <a:gd name="connsiteX79" fmla="*/ 172155 w 977900"/>
                    <a:gd name="connsiteY79" fmla="*/ 1014593 h 1093788"/>
                    <a:gd name="connsiteX80" fmla="*/ 172870 w 977900"/>
                    <a:gd name="connsiteY80" fmla="*/ 1015306 h 1093788"/>
                    <a:gd name="connsiteX81" fmla="*/ 477508 w 977900"/>
                    <a:gd name="connsiteY81" fmla="*/ 1065213 h 1093788"/>
                    <a:gd name="connsiteX82" fmla="*/ 486089 w 977900"/>
                    <a:gd name="connsiteY82" fmla="*/ 1065213 h 1093788"/>
                    <a:gd name="connsiteX83" fmla="*/ 488950 w 977900"/>
                    <a:gd name="connsiteY83" fmla="*/ 1065213 h 1093788"/>
                    <a:gd name="connsiteX84" fmla="*/ 491810 w 977900"/>
                    <a:gd name="connsiteY84" fmla="*/ 1065213 h 1093788"/>
                    <a:gd name="connsiteX85" fmla="*/ 500392 w 977900"/>
                    <a:gd name="connsiteY85" fmla="*/ 1065213 h 1093788"/>
                    <a:gd name="connsiteX86" fmla="*/ 805029 w 977900"/>
                    <a:gd name="connsiteY86" fmla="*/ 1015306 h 1093788"/>
                    <a:gd name="connsiteX87" fmla="*/ 805744 w 977900"/>
                    <a:gd name="connsiteY87" fmla="*/ 1014593 h 1093788"/>
                    <a:gd name="connsiteX88" fmla="*/ 813611 w 977900"/>
                    <a:gd name="connsiteY88" fmla="*/ 1011741 h 1093788"/>
                    <a:gd name="connsiteX89" fmla="*/ 814326 w 977900"/>
                    <a:gd name="connsiteY89" fmla="*/ 1011741 h 1093788"/>
                    <a:gd name="connsiteX90" fmla="*/ 820762 w 977900"/>
                    <a:gd name="connsiteY90" fmla="*/ 1008890 h 1093788"/>
                    <a:gd name="connsiteX91" fmla="*/ 828628 w 977900"/>
                    <a:gd name="connsiteY91" fmla="*/ 1005325 h 1093788"/>
                    <a:gd name="connsiteX92" fmla="*/ 832919 w 977900"/>
                    <a:gd name="connsiteY92" fmla="*/ 1003899 h 1093788"/>
                    <a:gd name="connsiteX93" fmla="*/ 835064 w 977900"/>
                    <a:gd name="connsiteY93" fmla="*/ 1002473 h 1093788"/>
                    <a:gd name="connsiteX94" fmla="*/ 927314 w 977900"/>
                    <a:gd name="connsiteY94" fmla="*/ 940446 h 1093788"/>
                    <a:gd name="connsiteX95" fmla="*/ 928744 w 977900"/>
                    <a:gd name="connsiteY95" fmla="*/ 939020 h 1093788"/>
                    <a:gd name="connsiteX96" fmla="*/ 930174 w 977900"/>
                    <a:gd name="connsiteY96" fmla="*/ 936881 h 1093788"/>
                    <a:gd name="connsiteX97" fmla="*/ 933750 w 977900"/>
                    <a:gd name="connsiteY97" fmla="*/ 931890 h 1093788"/>
                    <a:gd name="connsiteX98" fmla="*/ 934465 w 977900"/>
                    <a:gd name="connsiteY98" fmla="*/ 931890 h 1093788"/>
                    <a:gd name="connsiteX99" fmla="*/ 936610 w 977900"/>
                    <a:gd name="connsiteY99" fmla="*/ 928326 h 1093788"/>
                    <a:gd name="connsiteX100" fmla="*/ 938040 w 977900"/>
                    <a:gd name="connsiteY100" fmla="*/ 926187 h 1093788"/>
                    <a:gd name="connsiteX101" fmla="*/ 939470 w 977900"/>
                    <a:gd name="connsiteY101" fmla="*/ 924048 h 1093788"/>
                    <a:gd name="connsiteX102" fmla="*/ 940901 w 977900"/>
                    <a:gd name="connsiteY102" fmla="*/ 921909 h 1093788"/>
                    <a:gd name="connsiteX103" fmla="*/ 941616 w 977900"/>
                    <a:gd name="connsiteY103" fmla="*/ 919770 h 1093788"/>
                    <a:gd name="connsiteX104" fmla="*/ 943046 w 977900"/>
                    <a:gd name="connsiteY104" fmla="*/ 916918 h 1093788"/>
                    <a:gd name="connsiteX105" fmla="*/ 943761 w 977900"/>
                    <a:gd name="connsiteY105" fmla="*/ 915492 h 1093788"/>
                    <a:gd name="connsiteX106" fmla="*/ 945191 w 977900"/>
                    <a:gd name="connsiteY106" fmla="*/ 912641 h 1093788"/>
                    <a:gd name="connsiteX107" fmla="*/ 945906 w 977900"/>
                    <a:gd name="connsiteY107" fmla="*/ 911215 h 1093788"/>
                    <a:gd name="connsiteX108" fmla="*/ 946622 w 977900"/>
                    <a:gd name="connsiteY108" fmla="*/ 907650 h 1093788"/>
                    <a:gd name="connsiteX109" fmla="*/ 947337 w 977900"/>
                    <a:gd name="connsiteY109" fmla="*/ 906224 h 1093788"/>
                    <a:gd name="connsiteX110" fmla="*/ 948052 w 977900"/>
                    <a:gd name="connsiteY110" fmla="*/ 903372 h 1093788"/>
                    <a:gd name="connsiteX111" fmla="*/ 948767 w 977900"/>
                    <a:gd name="connsiteY111" fmla="*/ 901946 h 1093788"/>
                    <a:gd name="connsiteX112" fmla="*/ 949482 w 977900"/>
                    <a:gd name="connsiteY112" fmla="*/ 898381 h 1093788"/>
                    <a:gd name="connsiteX113" fmla="*/ 949482 w 977900"/>
                    <a:gd name="connsiteY113" fmla="*/ 896956 h 1093788"/>
                    <a:gd name="connsiteX114" fmla="*/ 950197 w 977900"/>
                    <a:gd name="connsiteY114" fmla="*/ 894104 h 1093788"/>
                    <a:gd name="connsiteX115" fmla="*/ 950197 w 977900"/>
                    <a:gd name="connsiteY115" fmla="*/ 891965 h 1093788"/>
                    <a:gd name="connsiteX116" fmla="*/ 950912 w 977900"/>
                    <a:gd name="connsiteY116" fmla="*/ 889826 h 1093788"/>
                    <a:gd name="connsiteX117" fmla="*/ 950912 w 977900"/>
                    <a:gd name="connsiteY117" fmla="*/ 884835 h 1093788"/>
                    <a:gd name="connsiteX118" fmla="*/ 950912 w 977900"/>
                    <a:gd name="connsiteY118" fmla="*/ 208240 h 1093788"/>
                    <a:gd name="connsiteX119" fmla="*/ 950912 w 977900"/>
                    <a:gd name="connsiteY119" fmla="*/ 206101 h 1093788"/>
                    <a:gd name="connsiteX120" fmla="*/ 950912 w 977900"/>
                    <a:gd name="connsiteY120" fmla="*/ 203249 h 1093788"/>
                    <a:gd name="connsiteX121" fmla="*/ 950197 w 977900"/>
                    <a:gd name="connsiteY121" fmla="*/ 200398 h 1093788"/>
                    <a:gd name="connsiteX122" fmla="*/ 949482 w 977900"/>
                    <a:gd name="connsiteY122" fmla="*/ 196833 h 1093788"/>
                    <a:gd name="connsiteX123" fmla="*/ 949482 w 977900"/>
                    <a:gd name="connsiteY123" fmla="*/ 195407 h 1093788"/>
                    <a:gd name="connsiteX124" fmla="*/ 948767 w 977900"/>
                    <a:gd name="connsiteY124" fmla="*/ 192555 h 1093788"/>
                    <a:gd name="connsiteX125" fmla="*/ 885122 w 977900"/>
                    <a:gd name="connsiteY125" fmla="*/ 117695 h 1093788"/>
                    <a:gd name="connsiteX126" fmla="*/ 880831 w 977900"/>
                    <a:gd name="connsiteY126" fmla="*/ 114843 h 1093788"/>
                    <a:gd name="connsiteX127" fmla="*/ 879401 w 977900"/>
                    <a:gd name="connsiteY127" fmla="*/ 114130 h 1093788"/>
                    <a:gd name="connsiteX128" fmla="*/ 875110 w 977900"/>
                    <a:gd name="connsiteY128" fmla="*/ 111278 h 1093788"/>
                    <a:gd name="connsiteX129" fmla="*/ 873680 w 977900"/>
                    <a:gd name="connsiteY129" fmla="*/ 110565 h 1093788"/>
                    <a:gd name="connsiteX130" fmla="*/ 870105 w 977900"/>
                    <a:gd name="connsiteY130" fmla="*/ 108426 h 1093788"/>
                    <a:gd name="connsiteX131" fmla="*/ 867959 w 977900"/>
                    <a:gd name="connsiteY131" fmla="*/ 107000 h 1093788"/>
                    <a:gd name="connsiteX132" fmla="*/ 864384 w 977900"/>
                    <a:gd name="connsiteY132" fmla="*/ 104861 h 1093788"/>
                    <a:gd name="connsiteX133" fmla="*/ 861523 w 977900"/>
                    <a:gd name="connsiteY133" fmla="*/ 103436 h 1093788"/>
                    <a:gd name="connsiteX134" fmla="*/ 858663 w 977900"/>
                    <a:gd name="connsiteY134" fmla="*/ 102010 h 1093788"/>
                    <a:gd name="connsiteX135" fmla="*/ 855087 w 977900"/>
                    <a:gd name="connsiteY135" fmla="*/ 99871 h 1093788"/>
                    <a:gd name="connsiteX136" fmla="*/ 852227 w 977900"/>
                    <a:gd name="connsiteY136" fmla="*/ 98445 h 1093788"/>
                    <a:gd name="connsiteX137" fmla="*/ 848651 w 977900"/>
                    <a:gd name="connsiteY137" fmla="*/ 97019 h 1093788"/>
                    <a:gd name="connsiteX138" fmla="*/ 845791 w 977900"/>
                    <a:gd name="connsiteY138" fmla="*/ 95593 h 1093788"/>
                    <a:gd name="connsiteX139" fmla="*/ 841500 w 977900"/>
                    <a:gd name="connsiteY139" fmla="*/ 93454 h 1093788"/>
                    <a:gd name="connsiteX140" fmla="*/ 839355 w 977900"/>
                    <a:gd name="connsiteY140" fmla="*/ 92028 h 1093788"/>
                    <a:gd name="connsiteX141" fmla="*/ 834349 w 977900"/>
                    <a:gd name="connsiteY141" fmla="*/ 90602 h 1093788"/>
                    <a:gd name="connsiteX142" fmla="*/ 830773 w 977900"/>
                    <a:gd name="connsiteY142" fmla="*/ 88463 h 1093788"/>
                    <a:gd name="connsiteX143" fmla="*/ 827198 w 977900"/>
                    <a:gd name="connsiteY143" fmla="*/ 87038 h 1093788"/>
                    <a:gd name="connsiteX144" fmla="*/ 821477 w 977900"/>
                    <a:gd name="connsiteY144" fmla="*/ 84899 h 1093788"/>
                    <a:gd name="connsiteX145" fmla="*/ 820047 w 977900"/>
                    <a:gd name="connsiteY145" fmla="*/ 84186 h 1093788"/>
                    <a:gd name="connsiteX146" fmla="*/ 812180 w 977900"/>
                    <a:gd name="connsiteY146" fmla="*/ 80621 h 1093788"/>
                    <a:gd name="connsiteX147" fmla="*/ 795733 w 977900"/>
                    <a:gd name="connsiteY147" fmla="*/ 74917 h 1093788"/>
                    <a:gd name="connsiteX148" fmla="*/ 795018 w 977900"/>
                    <a:gd name="connsiteY148" fmla="*/ 74917 h 1093788"/>
                    <a:gd name="connsiteX149" fmla="*/ 778570 w 977900"/>
                    <a:gd name="connsiteY149" fmla="*/ 69214 h 1093788"/>
                    <a:gd name="connsiteX150" fmla="*/ 777855 w 977900"/>
                    <a:gd name="connsiteY150" fmla="*/ 68501 h 1093788"/>
                    <a:gd name="connsiteX151" fmla="*/ 760692 w 977900"/>
                    <a:gd name="connsiteY151" fmla="*/ 63510 h 1093788"/>
                    <a:gd name="connsiteX152" fmla="*/ 759977 w 977900"/>
                    <a:gd name="connsiteY152" fmla="*/ 63510 h 1093788"/>
                    <a:gd name="connsiteX153" fmla="*/ 742815 w 977900"/>
                    <a:gd name="connsiteY153" fmla="*/ 58519 h 1093788"/>
                    <a:gd name="connsiteX154" fmla="*/ 741384 w 977900"/>
                    <a:gd name="connsiteY154" fmla="*/ 58519 h 1093788"/>
                    <a:gd name="connsiteX155" fmla="*/ 723507 w 977900"/>
                    <a:gd name="connsiteY155" fmla="*/ 54242 h 1093788"/>
                    <a:gd name="connsiteX156" fmla="*/ 722076 w 977900"/>
                    <a:gd name="connsiteY156" fmla="*/ 53529 h 1093788"/>
                    <a:gd name="connsiteX157" fmla="*/ 704198 w 977900"/>
                    <a:gd name="connsiteY157" fmla="*/ 49251 h 1093788"/>
                    <a:gd name="connsiteX158" fmla="*/ 702768 w 977900"/>
                    <a:gd name="connsiteY158" fmla="*/ 49251 h 1093788"/>
                    <a:gd name="connsiteX159" fmla="*/ 684175 w 977900"/>
                    <a:gd name="connsiteY159" fmla="*/ 45686 h 1093788"/>
                    <a:gd name="connsiteX160" fmla="*/ 682745 w 977900"/>
                    <a:gd name="connsiteY160" fmla="*/ 45686 h 1093788"/>
                    <a:gd name="connsiteX161" fmla="*/ 664152 w 977900"/>
                    <a:gd name="connsiteY161" fmla="*/ 42121 h 1093788"/>
                    <a:gd name="connsiteX162" fmla="*/ 662007 w 977900"/>
                    <a:gd name="connsiteY162" fmla="*/ 42121 h 1093788"/>
                    <a:gd name="connsiteX163" fmla="*/ 643414 w 977900"/>
                    <a:gd name="connsiteY163" fmla="*/ 39269 h 1093788"/>
                    <a:gd name="connsiteX164" fmla="*/ 641984 w 977900"/>
                    <a:gd name="connsiteY164" fmla="*/ 38557 h 1093788"/>
                    <a:gd name="connsiteX165" fmla="*/ 621961 w 977900"/>
                    <a:gd name="connsiteY165" fmla="*/ 36418 h 1093788"/>
                    <a:gd name="connsiteX166" fmla="*/ 620530 w 977900"/>
                    <a:gd name="connsiteY166" fmla="*/ 35705 h 1093788"/>
                    <a:gd name="connsiteX167" fmla="*/ 600507 w 977900"/>
                    <a:gd name="connsiteY167" fmla="*/ 33566 h 1093788"/>
                    <a:gd name="connsiteX168" fmla="*/ 599792 w 977900"/>
                    <a:gd name="connsiteY168" fmla="*/ 33566 h 1093788"/>
                    <a:gd name="connsiteX169" fmla="*/ 578339 w 977900"/>
                    <a:gd name="connsiteY169" fmla="*/ 32140 h 1093788"/>
                    <a:gd name="connsiteX170" fmla="*/ 577624 w 977900"/>
                    <a:gd name="connsiteY170" fmla="*/ 32140 h 1093788"/>
                    <a:gd name="connsiteX171" fmla="*/ 556170 w 977900"/>
                    <a:gd name="connsiteY171" fmla="*/ 30714 h 1093788"/>
                    <a:gd name="connsiteX172" fmla="*/ 534002 w 977900"/>
                    <a:gd name="connsiteY172" fmla="*/ 29288 h 1093788"/>
                    <a:gd name="connsiteX173" fmla="*/ 488950 w 977900"/>
                    <a:gd name="connsiteY173" fmla="*/ 28575 h 1093788"/>
                    <a:gd name="connsiteX174" fmla="*/ 477508 w 977900"/>
                    <a:gd name="connsiteY174" fmla="*/ 28575 h 1093788"/>
                    <a:gd name="connsiteX175" fmla="*/ 488950 w 977900"/>
                    <a:gd name="connsiteY175" fmla="*/ 0 h 1093788"/>
                    <a:gd name="connsiteX176" fmla="*/ 821579 w 977900"/>
                    <a:gd name="connsiteY176" fmla="*/ 54903 h 1093788"/>
                    <a:gd name="connsiteX177" fmla="*/ 976473 w 977900"/>
                    <a:gd name="connsiteY177" fmla="*/ 192518 h 1093788"/>
                    <a:gd name="connsiteX178" fmla="*/ 977900 w 977900"/>
                    <a:gd name="connsiteY178" fmla="*/ 198935 h 1093788"/>
                    <a:gd name="connsiteX179" fmla="*/ 977900 w 977900"/>
                    <a:gd name="connsiteY179" fmla="*/ 884870 h 1093788"/>
                    <a:gd name="connsiteX180" fmla="*/ 488950 w 977900"/>
                    <a:gd name="connsiteY180" fmla="*/ 1093788 h 1093788"/>
                    <a:gd name="connsiteX181" fmla="*/ 0 w 977900"/>
                    <a:gd name="connsiteY181" fmla="*/ 884870 h 1093788"/>
                    <a:gd name="connsiteX182" fmla="*/ 714 w 977900"/>
                    <a:gd name="connsiteY182" fmla="*/ 873462 h 1093788"/>
                    <a:gd name="connsiteX183" fmla="*/ 714 w 977900"/>
                    <a:gd name="connsiteY183" fmla="*/ 220326 h 1093788"/>
                    <a:gd name="connsiteX184" fmla="*/ 0 w 977900"/>
                    <a:gd name="connsiteY184" fmla="*/ 208918 h 1093788"/>
                    <a:gd name="connsiteX185" fmla="*/ 488950 w 977900"/>
                    <a:gd name="connsiteY185" fmla="*/ 0 h 109378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  <a:cxn ang="0">
                      <a:pos x="connsiteX86" y="connsiteY86"/>
                    </a:cxn>
                    <a:cxn ang="0">
                      <a:pos x="connsiteX87" y="connsiteY87"/>
                    </a:cxn>
                    <a:cxn ang="0">
                      <a:pos x="connsiteX88" y="connsiteY88"/>
                    </a:cxn>
                    <a:cxn ang="0">
                      <a:pos x="connsiteX89" y="connsiteY89"/>
                    </a:cxn>
                    <a:cxn ang="0">
                      <a:pos x="connsiteX90" y="connsiteY90"/>
                    </a:cxn>
                    <a:cxn ang="0">
                      <a:pos x="connsiteX91" y="connsiteY91"/>
                    </a:cxn>
                    <a:cxn ang="0">
                      <a:pos x="connsiteX92" y="connsiteY92"/>
                    </a:cxn>
                    <a:cxn ang="0">
                      <a:pos x="connsiteX93" y="connsiteY93"/>
                    </a:cxn>
                    <a:cxn ang="0">
                      <a:pos x="connsiteX94" y="connsiteY94"/>
                    </a:cxn>
                    <a:cxn ang="0">
                      <a:pos x="connsiteX95" y="connsiteY95"/>
                    </a:cxn>
                    <a:cxn ang="0">
                      <a:pos x="connsiteX96" y="connsiteY96"/>
                    </a:cxn>
                    <a:cxn ang="0">
                      <a:pos x="connsiteX97" y="connsiteY97"/>
                    </a:cxn>
                    <a:cxn ang="0">
                      <a:pos x="connsiteX98" y="connsiteY98"/>
                    </a:cxn>
                    <a:cxn ang="0">
                      <a:pos x="connsiteX99" y="connsiteY99"/>
                    </a:cxn>
                    <a:cxn ang="0">
                      <a:pos x="connsiteX100" y="connsiteY100"/>
                    </a:cxn>
                    <a:cxn ang="0">
                      <a:pos x="connsiteX101" y="connsiteY101"/>
                    </a:cxn>
                    <a:cxn ang="0">
                      <a:pos x="connsiteX102" y="connsiteY102"/>
                    </a:cxn>
                    <a:cxn ang="0">
                      <a:pos x="connsiteX103" y="connsiteY103"/>
                    </a:cxn>
                    <a:cxn ang="0">
                      <a:pos x="connsiteX104" y="connsiteY104"/>
                    </a:cxn>
                    <a:cxn ang="0">
                      <a:pos x="connsiteX105" y="connsiteY105"/>
                    </a:cxn>
                    <a:cxn ang="0">
                      <a:pos x="connsiteX106" y="connsiteY106"/>
                    </a:cxn>
                    <a:cxn ang="0">
                      <a:pos x="connsiteX107" y="connsiteY107"/>
                    </a:cxn>
                    <a:cxn ang="0">
                      <a:pos x="connsiteX108" y="connsiteY108"/>
                    </a:cxn>
                    <a:cxn ang="0">
                      <a:pos x="connsiteX109" y="connsiteY109"/>
                    </a:cxn>
                    <a:cxn ang="0">
                      <a:pos x="connsiteX110" y="connsiteY110"/>
                    </a:cxn>
                    <a:cxn ang="0">
                      <a:pos x="connsiteX111" y="connsiteY111"/>
                    </a:cxn>
                    <a:cxn ang="0">
                      <a:pos x="connsiteX112" y="connsiteY112"/>
                    </a:cxn>
                    <a:cxn ang="0">
                      <a:pos x="connsiteX113" y="connsiteY113"/>
                    </a:cxn>
                    <a:cxn ang="0">
                      <a:pos x="connsiteX114" y="connsiteY114"/>
                    </a:cxn>
                    <a:cxn ang="0">
                      <a:pos x="connsiteX115" y="connsiteY115"/>
                    </a:cxn>
                    <a:cxn ang="0">
                      <a:pos x="connsiteX116" y="connsiteY116"/>
                    </a:cxn>
                    <a:cxn ang="0">
                      <a:pos x="connsiteX117" y="connsiteY117"/>
                    </a:cxn>
                    <a:cxn ang="0">
                      <a:pos x="connsiteX118" y="connsiteY118"/>
                    </a:cxn>
                    <a:cxn ang="0">
                      <a:pos x="connsiteX119" y="connsiteY119"/>
                    </a:cxn>
                    <a:cxn ang="0">
                      <a:pos x="connsiteX120" y="connsiteY120"/>
                    </a:cxn>
                    <a:cxn ang="0">
                      <a:pos x="connsiteX121" y="connsiteY121"/>
                    </a:cxn>
                    <a:cxn ang="0">
                      <a:pos x="connsiteX122" y="connsiteY122"/>
                    </a:cxn>
                    <a:cxn ang="0">
                      <a:pos x="connsiteX123" y="connsiteY123"/>
                    </a:cxn>
                    <a:cxn ang="0">
                      <a:pos x="connsiteX124" y="connsiteY124"/>
                    </a:cxn>
                    <a:cxn ang="0">
                      <a:pos x="connsiteX125" y="connsiteY125"/>
                    </a:cxn>
                    <a:cxn ang="0">
                      <a:pos x="connsiteX126" y="connsiteY126"/>
                    </a:cxn>
                    <a:cxn ang="0">
                      <a:pos x="connsiteX127" y="connsiteY127"/>
                    </a:cxn>
                    <a:cxn ang="0">
                      <a:pos x="connsiteX128" y="connsiteY128"/>
                    </a:cxn>
                    <a:cxn ang="0">
                      <a:pos x="connsiteX129" y="connsiteY129"/>
                    </a:cxn>
                    <a:cxn ang="0">
                      <a:pos x="connsiteX130" y="connsiteY130"/>
                    </a:cxn>
                    <a:cxn ang="0">
                      <a:pos x="connsiteX131" y="connsiteY131"/>
                    </a:cxn>
                    <a:cxn ang="0">
                      <a:pos x="connsiteX132" y="connsiteY132"/>
                    </a:cxn>
                    <a:cxn ang="0">
                      <a:pos x="connsiteX133" y="connsiteY133"/>
                    </a:cxn>
                    <a:cxn ang="0">
                      <a:pos x="connsiteX134" y="connsiteY134"/>
                    </a:cxn>
                    <a:cxn ang="0">
                      <a:pos x="connsiteX135" y="connsiteY135"/>
                    </a:cxn>
                    <a:cxn ang="0">
                      <a:pos x="connsiteX136" y="connsiteY136"/>
                    </a:cxn>
                    <a:cxn ang="0">
                      <a:pos x="connsiteX137" y="connsiteY137"/>
                    </a:cxn>
                    <a:cxn ang="0">
                      <a:pos x="connsiteX138" y="connsiteY138"/>
                    </a:cxn>
                    <a:cxn ang="0">
                      <a:pos x="connsiteX139" y="connsiteY139"/>
                    </a:cxn>
                    <a:cxn ang="0">
                      <a:pos x="connsiteX140" y="connsiteY140"/>
                    </a:cxn>
                    <a:cxn ang="0">
                      <a:pos x="connsiteX141" y="connsiteY141"/>
                    </a:cxn>
                    <a:cxn ang="0">
                      <a:pos x="connsiteX142" y="connsiteY142"/>
                    </a:cxn>
                    <a:cxn ang="0">
                      <a:pos x="connsiteX143" y="connsiteY143"/>
                    </a:cxn>
                    <a:cxn ang="0">
                      <a:pos x="connsiteX144" y="connsiteY144"/>
                    </a:cxn>
                    <a:cxn ang="0">
                      <a:pos x="connsiteX145" y="connsiteY145"/>
                    </a:cxn>
                    <a:cxn ang="0">
                      <a:pos x="connsiteX146" y="connsiteY146"/>
                    </a:cxn>
                    <a:cxn ang="0">
                      <a:pos x="connsiteX147" y="connsiteY147"/>
                    </a:cxn>
                    <a:cxn ang="0">
                      <a:pos x="connsiteX148" y="connsiteY148"/>
                    </a:cxn>
                    <a:cxn ang="0">
                      <a:pos x="connsiteX149" y="connsiteY149"/>
                    </a:cxn>
                    <a:cxn ang="0">
                      <a:pos x="connsiteX150" y="connsiteY150"/>
                    </a:cxn>
                    <a:cxn ang="0">
                      <a:pos x="connsiteX151" y="connsiteY151"/>
                    </a:cxn>
                    <a:cxn ang="0">
                      <a:pos x="connsiteX152" y="connsiteY152"/>
                    </a:cxn>
                    <a:cxn ang="0">
                      <a:pos x="connsiteX153" y="connsiteY153"/>
                    </a:cxn>
                    <a:cxn ang="0">
                      <a:pos x="connsiteX154" y="connsiteY154"/>
                    </a:cxn>
                    <a:cxn ang="0">
                      <a:pos x="connsiteX155" y="connsiteY155"/>
                    </a:cxn>
                    <a:cxn ang="0">
                      <a:pos x="connsiteX156" y="connsiteY156"/>
                    </a:cxn>
                    <a:cxn ang="0">
                      <a:pos x="connsiteX157" y="connsiteY157"/>
                    </a:cxn>
                    <a:cxn ang="0">
                      <a:pos x="connsiteX158" y="connsiteY158"/>
                    </a:cxn>
                    <a:cxn ang="0">
                      <a:pos x="connsiteX159" y="connsiteY159"/>
                    </a:cxn>
                    <a:cxn ang="0">
                      <a:pos x="connsiteX160" y="connsiteY160"/>
                    </a:cxn>
                    <a:cxn ang="0">
                      <a:pos x="connsiteX161" y="connsiteY161"/>
                    </a:cxn>
                    <a:cxn ang="0">
                      <a:pos x="connsiteX162" y="connsiteY162"/>
                    </a:cxn>
                    <a:cxn ang="0">
                      <a:pos x="connsiteX163" y="connsiteY163"/>
                    </a:cxn>
                    <a:cxn ang="0">
                      <a:pos x="connsiteX164" y="connsiteY164"/>
                    </a:cxn>
                    <a:cxn ang="0">
                      <a:pos x="connsiteX165" y="connsiteY165"/>
                    </a:cxn>
                    <a:cxn ang="0">
                      <a:pos x="connsiteX166" y="connsiteY166"/>
                    </a:cxn>
                    <a:cxn ang="0">
                      <a:pos x="connsiteX167" y="connsiteY167"/>
                    </a:cxn>
                    <a:cxn ang="0">
                      <a:pos x="connsiteX168" y="connsiteY168"/>
                    </a:cxn>
                    <a:cxn ang="0">
                      <a:pos x="connsiteX169" y="connsiteY169"/>
                    </a:cxn>
                    <a:cxn ang="0">
                      <a:pos x="connsiteX170" y="connsiteY170"/>
                    </a:cxn>
                    <a:cxn ang="0">
                      <a:pos x="connsiteX171" y="connsiteY171"/>
                    </a:cxn>
                    <a:cxn ang="0">
                      <a:pos x="connsiteX172" y="connsiteY172"/>
                    </a:cxn>
                    <a:cxn ang="0">
                      <a:pos x="connsiteX173" y="connsiteY173"/>
                    </a:cxn>
                    <a:cxn ang="0">
                      <a:pos x="connsiteX174" y="connsiteY174"/>
                    </a:cxn>
                    <a:cxn ang="0">
                      <a:pos x="connsiteX175" y="connsiteY175"/>
                    </a:cxn>
                    <a:cxn ang="0">
                      <a:pos x="connsiteX176" y="connsiteY176"/>
                    </a:cxn>
                    <a:cxn ang="0">
                      <a:pos x="connsiteX177" y="connsiteY177"/>
                    </a:cxn>
                    <a:cxn ang="0">
                      <a:pos x="connsiteX178" y="connsiteY178"/>
                    </a:cxn>
                    <a:cxn ang="0">
                      <a:pos x="connsiteX179" y="connsiteY179"/>
                    </a:cxn>
                    <a:cxn ang="0">
                      <a:pos x="connsiteX180" y="connsiteY180"/>
                    </a:cxn>
                    <a:cxn ang="0">
                      <a:pos x="connsiteX181" y="connsiteY181"/>
                    </a:cxn>
                    <a:cxn ang="0">
                      <a:pos x="connsiteX182" y="connsiteY182"/>
                    </a:cxn>
                    <a:cxn ang="0">
                      <a:pos x="connsiteX183" y="connsiteY183"/>
                    </a:cxn>
                    <a:cxn ang="0">
                      <a:pos x="connsiteX184" y="connsiteY184"/>
                    </a:cxn>
                    <a:cxn ang="0">
                      <a:pos x="connsiteX185" y="connsiteY185"/>
                    </a:cxn>
                  </a:cxnLst>
                  <a:rect l="l" t="t" r="r" b="b"/>
                  <a:pathLst>
                    <a:path w="977900" h="1093788">
                      <a:moveTo>
                        <a:pt x="488514" y="61912"/>
                      </a:moveTo>
                      <a:cubicBezTo>
                        <a:pt x="725213" y="61912"/>
                        <a:pt x="917575" y="132511"/>
                        <a:pt x="917575" y="219512"/>
                      </a:cubicBezTo>
                      <a:cubicBezTo>
                        <a:pt x="917575" y="306513"/>
                        <a:pt x="725213" y="377825"/>
                        <a:pt x="488514" y="377825"/>
                      </a:cubicBezTo>
                      <a:cubicBezTo>
                        <a:pt x="255390" y="377825"/>
                        <a:pt x="65173" y="308652"/>
                        <a:pt x="58737" y="224504"/>
                      </a:cubicBezTo>
                      <a:cubicBezTo>
                        <a:pt x="58737" y="224504"/>
                        <a:pt x="58737" y="224504"/>
                        <a:pt x="58737" y="215233"/>
                      </a:cubicBezTo>
                      <a:cubicBezTo>
                        <a:pt x="65173" y="129659"/>
                        <a:pt x="255390" y="61912"/>
                        <a:pt x="488514" y="61912"/>
                      </a:cubicBezTo>
                      <a:close/>
                      <a:moveTo>
                        <a:pt x="477508" y="28575"/>
                      </a:moveTo>
                      <a:cubicBezTo>
                        <a:pt x="361660" y="30001"/>
                        <a:pt x="254393" y="48538"/>
                        <a:pt x="173585" y="78482"/>
                      </a:cubicBezTo>
                      <a:cubicBezTo>
                        <a:pt x="173585" y="78482"/>
                        <a:pt x="172870" y="78482"/>
                        <a:pt x="172155" y="79195"/>
                      </a:cubicBezTo>
                      <a:cubicBezTo>
                        <a:pt x="170010" y="79908"/>
                        <a:pt x="167864" y="80621"/>
                        <a:pt x="165719" y="81334"/>
                      </a:cubicBezTo>
                      <a:cubicBezTo>
                        <a:pt x="165719" y="81334"/>
                        <a:pt x="165004" y="82047"/>
                        <a:pt x="164289" y="82047"/>
                      </a:cubicBezTo>
                      <a:cubicBezTo>
                        <a:pt x="162143" y="82760"/>
                        <a:pt x="159283" y="84186"/>
                        <a:pt x="157138" y="84899"/>
                      </a:cubicBezTo>
                      <a:cubicBezTo>
                        <a:pt x="154277" y="86325"/>
                        <a:pt x="151417" y="87038"/>
                        <a:pt x="149271" y="88463"/>
                      </a:cubicBezTo>
                      <a:cubicBezTo>
                        <a:pt x="147841" y="89176"/>
                        <a:pt x="146411" y="89176"/>
                        <a:pt x="144981" y="89889"/>
                      </a:cubicBezTo>
                      <a:cubicBezTo>
                        <a:pt x="144266" y="90602"/>
                        <a:pt x="143551" y="90602"/>
                        <a:pt x="142835" y="91315"/>
                      </a:cubicBezTo>
                      <a:cubicBezTo>
                        <a:pt x="102074" y="109139"/>
                        <a:pt x="70609" y="130528"/>
                        <a:pt x="50586" y="153342"/>
                      </a:cubicBezTo>
                      <a:cubicBezTo>
                        <a:pt x="49871" y="154055"/>
                        <a:pt x="49871" y="154768"/>
                        <a:pt x="49156" y="154768"/>
                      </a:cubicBezTo>
                      <a:cubicBezTo>
                        <a:pt x="48441" y="155481"/>
                        <a:pt x="47726" y="156194"/>
                        <a:pt x="47726" y="156907"/>
                      </a:cubicBezTo>
                      <a:cubicBezTo>
                        <a:pt x="46295" y="158333"/>
                        <a:pt x="44865" y="159759"/>
                        <a:pt x="44150" y="161185"/>
                      </a:cubicBezTo>
                      <a:cubicBezTo>
                        <a:pt x="44150" y="161898"/>
                        <a:pt x="43435" y="161898"/>
                        <a:pt x="43435" y="161898"/>
                      </a:cubicBezTo>
                      <a:cubicBezTo>
                        <a:pt x="42720" y="163324"/>
                        <a:pt x="42005" y="164750"/>
                        <a:pt x="41289" y="165463"/>
                      </a:cubicBezTo>
                      <a:cubicBezTo>
                        <a:pt x="40574" y="166176"/>
                        <a:pt x="40574" y="166889"/>
                        <a:pt x="39859" y="167602"/>
                      </a:cubicBezTo>
                      <a:cubicBezTo>
                        <a:pt x="39859" y="168315"/>
                        <a:pt x="39144" y="169027"/>
                        <a:pt x="38429" y="169740"/>
                      </a:cubicBezTo>
                      <a:cubicBezTo>
                        <a:pt x="38429" y="170453"/>
                        <a:pt x="37714" y="171166"/>
                        <a:pt x="36999" y="171879"/>
                      </a:cubicBezTo>
                      <a:cubicBezTo>
                        <a:pt x="36999" y="172592"/>
                        <a:pt x="36284" y="173305"/>
                        <a:pt x="36284" y="174018"/>
                      </a:cubicBezTo>
                      <a:cubicBezTo>
                        <a:pt x="35569" y="174731"/>
                        <a:pt x="35569" y="176157"/>
                        <a:pt x="34853" y="176870"/>
                      </a:cubicBezTo>
                      <a:cubicBezTo>
                        <a:pt x="34853" y="177583"/>
                        <a:pt x="34138" y="177583"/>
                        <a:pt x="34138" y="178296"/>
                      </a:cubicBezTo>
                      <a:cubicBezTo>
                        <a:pt x="33423" y="179722"/>
                        <a:pt x="33423" y="180435"/>
                        <a:pt x="32708" y="181148"/>
                      </a:cubicBezTo>
                      <a:cubicBezTo>
                        <a:pt x="32708" y="181861"/>
                        <a:pt x="32708" y="182574"/>
                        <a:pt x="31993" y="182574"/>
                      </a:cubicBezTo>
                      <a:cubicBezTo>
                        <a:pt x="31993" y="184000"/>
                        <a:pt x="31278" y="184712"/>
                        <a:pt x="31278" y="186138"/>
                      </a:cubicBezTo>
                      <a:cubicBezTo>
                        <a:pt x="31278" y="186138"/>
                        <a:pt x="30563" y="186851"/>
                        <a:pt x="30563" y="187564"/>
                      </a:cubicBezTo>
                      <a:cubicBezTo>
                        <a:pt x="30563" y="188277"/>
                        <a:pt x="29848" y="189703"/>
                        <a:pt x="29848" y="190416"/>
                      </a:cubicBezTo>
                      <a:cubicBezTo>
                        <a:pt x="29848" y="191129"/>
                        <a:pt x="29133" y="191129"/>
                        <a:pt x="29133" y="191842"/>
                      </a:cubicBezTo>
                      <a:cubicBezTo>
                        <a:pt x="29133" y="193268"/>
                        <a:pt x="29133" y="193981"/>
                        <a:pt x="28417" y="195407"/>
                      </a:cubicBezTo>
                      <a:cubicBezTo>
                        <a:pt x="28417" y="195407"/>
                        <a:pt x="28417" y="196120"/>
                        <a:pt x="28417" y="196833"/>
                      </a:cubicBezTo>
                      <a:cubicBezTo>
                        <a:pt x="28417" y="197546"/>
                        <a:pt x="27702" y="198972"/>
                        <a:pt x="27702" y="199685"/>
                      </a:cubicBezTo>
                      <a:cubicBezTo>
                        <a:pt x="27702" y="200398"/>
                        <a:pt x="27702" y="201110"/>
                        <a:pt x="27702" y="201823"/>
                      </a:cubicBezTo>
                      <a:cubicBezTo>
                        <a:pt x="27702" y="202536"/>
                        <a:pt x="27702" y="203249"/>
                        <a:pt x="26987" y="203962"/>
                      </a:cubicBezTo>
                      <a:cubicBezTo>
                        <a:pt x="26987" y="206101"/>
                        <a:pt x="26987" y="207527"/>
                        <a:pt x="26987" y="208953"/>
                      </a:cubicBezTo>
                      <a:cubicBezTo>
                        <a:pt x="26987" y="209666"/>
                        <a:pt x="26987" y="209666"/>
                        <a:pt x="26987" y="210379"/>
                      </a:cubicBezTo>
                      <a:cubicBezTo>
                        <a:pt x="26987" y="211092"/>
                        <a:pt x="26987" y="211092"/>
                        <a:pt x="26987" y="211092"/>
                      </a:cubicBezTo>
                      <a:cubicBezTo>
                        <a:pt x="26987" y="211092"/>
                        <a:pt x="26987" y="211805"/>
                        <a:pt x="26987" y="211805"/>
                      </a:cubicBezTo>
                      <a:cubicBezTo>
                        <a:pt x="26987" y="211805"/>
                        <a:pt x="26987" y="211805"/>
                        <a:pt x="26987" y="215370"/>
                      </a:cubicBezTo>
                      <a:cubicBezTo>
                        <a:pt x="26987" y="215370"/>
                        <a:pt x="26987" y="215370"/>
                        <a:pt x="27702" y="217508"/>
                      </a:cubicBezTo>
                      <a:cubicBezTo>
                        <a:pt x="27702" y="217508"/>
                        <a:pt x="27702" y="217508"/>
                        <a:pt x="27702" y="876280"/>
                      </a:cubicBezTo>
                      <a:cubicBezTo>
                        <a:pt x="27702" y="876280"/>
                        <a:pt x="27702" y="876280"/>
                        <a:pt x="26987" y="878419"/>
                      </a:cubicBezTo>
                      <a:cubicBezTo>
                        <a:pt x="26987" y="878419"/>
                        <a:pt x="26987" y="878419"/>
                        <a:pt x="26987" y="881983"/>
                      </a:cubicBezTo>
                      <a:cubicBezTo>
                        <a:pt x="26987" y="881983"/>
                        <a:pt x="26987" y="882696"/>
                        <a:pt x="26987" y="882696"/>
                      </a:cubicBezTo>
                      <a:cubicBezTo>
                        <a:pt x="26987" y="882696"/>
                        <a:pt x="26987" y="882696"/>
                        <a:pt x="26987" y="883409"/>
                      </a:cubicBezTo>
                      <a:cubicBezTo>
                        <a:pt x="26987" y="884122"/>
                        <a:pt x="26987" y="884122"/>
                        <a:pt x="26987" y="884835"/>
                      </a:cubicBezTo>
                      <a:cubicBezTo>
                        <a:pt x="26987" y="886261"/>
                        <a:pt x="26987" y="887687"/>
                        <a:pt x="26987" y="889826"/>
                      </a:cubicBezTo>
                      <a:cubicBezTo>
                        <a:pt x="27702" y="890539"/>
                        <a:pt x="27702" y="891252"/>
                        <a:pt x="27702" y="891965"/>
                      </a:cubicBezTo>
                      <a:cubicBezTo>
                        <a:pt x="27702" y="892678"/>
                        <a:pt x="27702" y="893391"/>
                        <a:pt x="27702" y="894104"/>
                      </a:cubicBezTo>
                      <a:cubicBezTo>
                        <a:pt x="27702" y="894817"/>
                        <a:pt x="28417" y="896243"/>
                        <a:pt x="28417" y="896956"/>
                      </a:cubicBezTo>
                      <a:cubicBezTo>
                        <a:pt x="28417" y="897669"/>
                        <a:pt x="28417" y="898381"/>
                        <a:pt x="28417" y="898381"/>
                      </a:cubicBezTo>
                      <a:cubicBezTo>
                        <a:pt x="29133" y="899807"/>
                        <a:pt x="29133" y="900520"/>
                        <a:pt x="29133" y="901946"/>
                      </a:cubicBezTo>
                      <a:cubicBezTo>
                        <a:pt x="29133" y="902659"/>
                        <a:pt x="29848" y="902659"/>
                        <a:pt x="29848" y="903372"/>
                      </a:cubicBezTo>
                      <a:cubicBezTo>
                        <a:pt x="29848" y="904085"/>
                        <a:pt x="30563" y="905511"/>
                        <a:pt x="30563" y="906224"/>
                      </a:cubicBezTo>
                      <a:cubicBezTo>
                        <a:pt x="30563" y="906937"/>
                        <a:pt x="31278" y="907650"/>
                        <a:pt x="31278" y="907650"/>
                      </a:cubicBezTo>
                      <a:cubicBezTo>
                        <a:pt x="31278" y="909076"/>
                        <a:pt x="31993" y="909789"/>
                        <a:pt x="31993" y="911215"/>
                      </a:cubicBezTo>
                      <a:cubicBezTo>
                        <a:pt x="32708" y="911215"/>
                        <a:pt x="32708" y="911928"/>
                        <a:pt x="32708" y="912641"/>
                      </a:cubicBezTo>
                      <a:cubicBezTo>
                        <a:pt x="33423" y="913354"/>
                        <a:pt x="33423" y="914066"/>
                        <a:pt x="34138" y="915492"/>
                      </a:cubicBezTo>
                      <a:cubicBezTo>
                        <a:pt x="34138" y="916205"/>
                        <a:pt x="34853" y="916205"/>
                        <a:pt x="34853" y="916918"/>
                      </a:cubicBezTo>
                      <a:cubicBezTo>
                        <a:pt x="35569" y="917631"/>
                        <a:pt x="35569" y="919057"/>
                        <a:pt x="36284" y="919770"/>
                      </a:cubicBezTo>
                      <a:cubicBezTo>
                        <a:pt x="36284" y="920483"/>
                        <a:pt x="36999" y="921196"/>
                        <a:pt x="36999" y="921909"/>
                      </a:cubicBezTo>
                      <a:cubicBezTo>
                        <a:pt x="37714" y="922622"/>
                        <a:pt x="38429" y="923335"/>
                        <a:pt x="38429" y="924048"/>
                      </a:cubicBezTo>
                      <a:cubicBezTo>
                        <a:pt x="39144" y="924761"/>
                        <a:pt x="39859" y="925474"/>
                        <a:pt x="39859" y="926187"/>
                      </a:cubicBezTo>
                      <a:cubicBezTo>
                        <a:pt x="40574" y="926900"/>
                        <a:pt x="40574" y="927613"/>
                        <a:pt x="41289" y="928326"/>
                      </a:cubicBezTo>
                      <a:cubicBezTo>
                        <a:pt x="42005" y="929039"/>
                        <a:pt x="42720" y="930464"/>
                        <a:pt x="43435" y="931890"/>
                      </a:cubicBezTo>
                      <a:cubicBezTo>
                        <a:pt x="43435" y="931890"/>
                        <a:pt x="44150" y="931890"/>
                        <a:pt x="44150" y="931890"/>
                      </a:cubicBezTo>
                      <a:cubicBezTo>
                        <a:pt x="44865" y="934029"/>
                        <a:pt x="46295" y="935455"/>
                        <a:pt x="47726" y="936881"/>
                      </a:cubicBezTo>
                      <a:cubicBezTo>
                        <a:pt x="47726" y="937594"/>
                        <a:pt x="48441" y="938307"/>
                        <a:pt x="49156" y="939020"/>
                      </a:cubicBezTo>
                      <a:cubicBezTo>
                        <a:pt x="49871" y="939020"/>
                        <a:pt x="49871" y="939733"/>
                        <a:pt x="50586" y="940446"/>
                      </a:cubicBezTo>
                      <a:cubicBezTo>
                        <a:pt x="70609" y="963260"/>
                        <a:pt x="102074" y="984649"/>
                        <a:pt x="142835" y="1002473"/>
                      </a:cubicBezTo>
                      <a:cubicBezTo>
                        <a:pt x="143551" y="1003186"/>
                        <a:pt x="144266" y="1003186"/>
                        <a:pt x="144981" y="1003899"/>
                      </a:cubicBezTo>
                      <a:cubicBezTo>
                        <a:pt x="146411" y="1004612"/>
                        <a:pt x="147841" y="1005325"/>
                        <a:pt x="149271" y="1005325"/>
                      </a:cubicBezTo>
                      <a:cubicBezTo>
                        <a:pt x="151417" y="1006751"/>
                        <a:pt x="154277" y="1008177"/>
                        <a:pt x="157138" y="1008890"/>
                      </a:cubicBezTo>
                      <a:cubicBezTo>
                        <a:pt x="159283" y="1009603"/>
                        <a:pt x="160713" y="1010316"/>
                        <a:pt x="162859" y="1011029"/>
                      </a:cubicBezTo>
                      <a:cubicBezTo>
                        <a:pt x="163574" y="1011741"/>
                        <a:pt x="163574" y="1011741"/>
                        <a:pt x="164289" y="1011741"/>
                      </a:cubicBezTo>
                      <a:cubicBezTo>
                        <a:pt x="167149" y="1013167"/>
                        <a:pt x="170010" y="1013880"/>
                        <a:pt x="172155" y="1014593"/>
                      </a:cubicBezTo>
                      <a:cubicBezTo>
                        <a:pt x="172870" y="1015306"/>
                        <a:pt x="172870" y="1015306"/>
                        <a:pt x="172870" y="1015306"/>
                      </a:cubicBezTo>
                      <a:cubicBezTo>
                        <a:pt x="253678" y="1045250"/>
                        <a:pt x="360945" y="1063787"/>
                        <a:pt x="477508" y="1065213"/>
                      </a:cubicBezTo>
                      <a:cubicBezTo>
                        <a:pt x="480368" y="1065213"/>
                        <a:pt x="483229" y="1065213"/>
                        <a:pt x="486089" y="1065213"/>
                      </a:cubicBezTo>
                      <a:cubicBezTo>
                        <a:pt x="486804" y="1065213"/>
                        <a:pt x="488235" y="1065213"/>
                        <a:pt x="488950" y="1065213"/>
                      </a:cubicBezTo>
                      <a:cubicBezTo>
                        <a:pt x="489665" y="1065213"/>
                        <a:pt x="491095" y="1065213"/>
                        <a:pt x="491810" y="1065213"/>
                      </a:cubicBezTo>
                      <a:cubicBezTo>
                        <a:pt x="494671" y="1065213"/>
                        <a:pt x="497531" y="1065213"/>
                        <a:pt x="500392" y="1065213"/>
                      </a:cubicBezTo>
                      <a:cubicBezTo>
                        <a:pt x="616955" y="1063787"/>
                        <a:pt x="724222" y="1045250"/>
                        <a:pt x="805029" y="1015306"/>
                      </a:cubicBezTo>
                      <a:cubicBezTo>
                        <a:pt x="805029" y="1015306"/>
                        <a:pt x="805029" y="1015306"/>
                        <a:pt x="805744" y="1014593"/>
                      </a:cubicBezTo>
                      <a:cubicBezTo>
                        <a:pt x="807890" y="1013880"/>
                        <a:pt x="810750" y="1013167"/>
                        <a:pt x="813611" y="1011741"/>
                      </a:cubicBezTo>
                      <a:cubicBezTo>
                        <a:pt x="813611" y="1011741"/>
                        <a:pt x="814326" y="1011741"/>
                        <a:pt x="814326" y="1011741"/>
                      </a:cubicBezTo>
                      <a:cubicBezTo>
                        <a:pt x="816471" y="1010316"/>
                        <a:pt x="818616" y="1009603"/>
                        <a:pt x="820762" y="1008890"/>
                      </a:cubicBezTo>
                      <a:cubicBezTo>
                        <a:pt x="823622" y="1008177"/>
                        <a:pt x="826483" y="1006751"/>
                        <a:pt x="828628" y="1005325"/>
                      </a:cubicBezTo>
                      <a:cubicBezTo>
                        <a:pt x="830058" y="1005325"/>
                        <a:pt x="831488" y="1004612"/>
                        <a:pt x="832919" y="1003899"/>
                      </a:cubicBezTo>
                      <a:cubicBezTo>
                        <a:pt x="833634" y="1003186"/>
                        <a:pt x="834349" y="1003186"/>
                        <a:pt x="835064" y="1002473"/>
                      </a:cubicBezTo>
                      <a:cubicBezTo>
                        <a:pt x="875825" y="984649"/>
                        <a:pt x="907290" y="963260"/>
                        <a:pt x="927314" y="940446"/>
                      </a:cubicBezTo>
                      <a:cubicBezTo>
                        <a:pt x="928029" y="939733"/>
                        <a:pt x="928029" y="939020"/>
                        <a:pt x="928744" y="939020"/>
                      </a:cubicBezTo>
                      <a:cubicBezTo>
                        <a:pt x="929459" y="938307"/>
                        <a:pt x="930174" y="937594"/>
                        <a:pt x="930174" y="936881"/>
                      </a:cubicBezTo>
                      <a:cubicBezTo>
                        <a:pt x="931604" y="935455"/>
                        <a:pt x="933034" y="934029"/>
                        <a:pt x="933750" y="931890"/>
                      </a:cubicBezTo>
                      <a:cubicBezTo>
                        <a:pt x="933750" y="931890"/>
                        <a:pt x="934465" y="931890"/>
                        <a:pt x="934465" y="931890"/>
                      </a:cubicBezTo>
                      <a:cubicBezTo>
                        <a:pt x="935180" y="930464"/>
                        <a:pt x="935895" y="929039"/>
                        <a:pt x="936610" y="928326"/>
                      </a:cubicBezTo>
                      <a:cubicBezTo>
                        <a:pt x="937325" y="927613"/>
                        <a:pt x="937325" y="926900"/>
                        <a:pt x="938040" y="926187"/>
                      </a:cubicBezTo>
                      <a:cubicBezTo>
                        <a:pt x="938040" y="925474"/>
                        <a:pt x="938755" y="924761"/>
                        <a:pt x="939470" y="924048"/>
                      </a:cubicBezTo>
                      <a:cubicBezTo>
                        <a:pt x="939470" y="923335"/>
                        <a:pt x="940186" y="922622"/>
                        <a:pt x="940901" y="921909"/>
                      </a:cubicBezTo>
                      <a:cubicBezTo>
                        <a:pt x="940901" y="921196"/>
                        <a:pt x="941616" y="920483"/>
                        <a:pt x="941616" y="919770"/>
                      </a:cubicBezTo>
                      <a:cubicBezTo>
                        <a:pt x="942331" y="919057"/>
                        <a:pt x="942331" y="917631"/>
                        <a:pt x="943046" y="916918"/>
                      </a:cubicBezTo>
                      <a:cubicBezTo>
                        <a:pt x="943046" y="916205"/>
                        <a:pt x="943761" y="916205"/>
                        <a:pt x="943761" y="915492"/>
                      </a:cubicBezTo>
                      <a:cubicBezTo>
                        <a:pt x="944476" y="914066"/>
                        <a:pt x="944476" y="913354"/>
                        <a:pt x="945191" y="912641"/>
                      </a:cubicBezTo>
                      <a:cubicBezTo>
                        <a:pt x="945191" y="911928"/>
                        <a:pt x="945191" y="911215"/>
                        <a:pt x="945906" y="911215"/>
                      </a:cubicBezTo>
                      <a:cubicBezTo>
                        <a:pt x="945906" y="909789"/>
                        <a:pt x="946622" y="909076"/>
                        <a:pt x="946622" y="907650"/>
                      </a:cubicBezTo>
                      <a:cubicBezTo>
                        <a:pt x="946622" y="907650"/>
                        <a:pt x="947337" y="906937"/>
                        <a:pt x="947337" y="906224"/>
                      </a:cubicBezTo>
                      <a:cubicBezTo>
                        <a:pt x="947337" y="905511"/>
                        <a:pt x="948052" y="904085"/>
                        <a:pt x="948052" y="903372"/>
                      </a:cubicBezTo>
                      <a:cubicBezTo>
                        <a:pt x="948052" y="902659"/>
                        <a:pt x="948767" y="902659"/>
                        <a:pt x="948767" y="901946"/>
                      </a:cubicBezTo>
                      <a:cubicBezTo>
                        <a:pt x="948767" y="900520"/>
                        <a:pt x="948767" y="899807"/>
                        <a:pt x="949482" y="898381"/>
                      </a:cubicBezTo>
                      <a:cubicBezTo>
                        <a:pt x="949482" y="898381"/>
                        <a:pt x="949482" y="897669"/>
                        <a:pt x="949482" y="896956"/>
                      </a:cubicBezTo>
                      <a:cubicBezTo>
                        <a:pt x="949482" y="896243"/>
                        <a:pt x="950197" y="894817"/>
                        <a:pt x="950197" y="894104"/>
                      </a:cubicBezTo>
                      <a:cubicBezTo>
                        <a:pt x="950197" y="893391"/>
                        <a:pt x="950197" y="892678"/>
                        <a:pt x="950197" y="891965"/>
                      </a:cubicBezTo>
                      <a:cubicBezTo>
                        <a:pt x="950197" y="891252"/>
                        <a:pt x="950197" y="890539"/>
                        <a:pt x="950912" y="889826"/>
                      </a:cubicBezTo>
                      <a:cubicBezTo>
                        <a:pt x="950912" y="887687"/>
                        <a:pt x="950912" y="886261"/>
                        <a:pt x="950912" y="884835"/>
                      </a:cubicBezTo>
                      <a:cubicBezTo>
                        <a:pt x="950912" y="884835"/>
                        <a:pt x="950912" y="879132"/>
                        <a:pt x="950912" y="208240"/>
                      </a:cubicBezTo>
                      <a:cubicBezTo>
                        <a:pt x="950912" y="207527"/>
                        <a:pt x="950912" y="206814"/>
                        <a:pt x="950912" y="206101"/>
                      </a:cubicBezTo>
                      <a:cubicBezTo>
                        <a:pt x="950912" y="205388"/>
                        <a:pt x="950912" y="203962"/>
                        <a:pt x="950912" y="203249"/>
                      </a:cubicBezTo>
                      <a:cubicBezTo>
                        <a:pt x="950912" y="201823"/>
                        <a:pt x="950912" y="201110"/>
                        <a:pt x="950197" y="200398"/>
                      </a:cubicBezTo>
                      <a:cubicBezTo>
                        <a:pt x="950197" y="198972"/>
                        <a:pt x="949482" y="197546"/>
                        <a:pt x="949482" y="196833"/>
                      </a:cubicBezTo>
                      <a:cubicBezTo>
                        <a:pt x="949482" y="196120"/>
                        <a:pt x="949482" y="196120"/>
                        <a:pt x="949482" y="195407"/>
                      </a:cubicBezTo>
                      <a:cubicBezTo>
                        <a:pt x="948767" y="194694"/>
                        <a:pt x="948767" y="193268"/>
                        <a:pt x="948767" y="192555"/>
                      </a:cubicBezTo>
                      <a:cubicBezTo>
                        <a:pt x="942331" y="166176"/>
                        <a:pt x="920162" y="140509"/>
                        <a:pt x="885122" y="117695"/>
                      </a:cubicBezTo>
                      <a:cubicBezTo>
                        <a:pt x="883692" y="116982"/>
                        <a:pt x="882261" y="115556"/>
                        <a:pt x="880831" y="114843"/>
                      </a:cubicBezTo>
                      <a:cubicBezTo>
                        <a:pt x="880116" y="114130"/>
                        <a:pt x="880116" y="114130"/>
                        <a:pt x="879401" y="114130"/>
                      </a:cubicBezTo>
                      <a:cubicBezTo>
                        <a:pt x="877971" y="113417"/>
                        <a:pt x="876541" y="111991"/>
                        <a:pt x="875110" y="111278"/>
                      </a:cubicBezTo>
                      <a:cubicBezTo>
                        <a:pt x="875110" y="111278"/>
                        <a:pt x="874395" y="110565"/>
                        <a:pt x="873680" y="110565"/>
                      </a:cubicBezTo>
                      <a:cubicBezTo>
                        <a:pt x="872250" y="109852"/>
                        <a:pt x="871535" y="109139"/>
                        <a:pt x="870105" y="108426"/>
                      </a:cubicBezTo>
                      <a:cubicBezTo>
                        <a:pt x="869389" y="107713"/>
                        <a:pt x="868674" y="107713"/>
                        <a:pt x="867959" y="107000"/>
                      </a:cubicBezTo>
                      <a:cubicBezTo>
                        <a:pt x="866529" y="106287"/>
                        <a:pt x="865814" y="105574"/>
                        <a:pt x="864384" y="104861"/>
                      </a:cubicBezTo>
                      <a:cubicBezTo>
                        <a:pt x="863669" y="104861"/>
                        <a:pt x="862238" y="104148"/>
                        <a:pt x="861523" y="103436"/>
                      </a:cubicBezTo>
                      <a:cubicBezTo>
                        <a:pt x="860808" y="102723"/>
                        <a:pt x="859378" y="102723"/>
                        <a:pt x="858663" y="102010"/>
                      </a:cubicBezTo>
                      <a:cubicBezTo>
                        <a:pt x="857233" y="101297"/>
                        <a:pt x="856517" y="100584"/>
                        <a:pt x="855087" y="99871"/>
                      </a:cubicBezTo>
                      <a:cubicBezTo>
                        <a:pt x="854372" y="99871"/>
                        <a:pt x="852942" y="99158"/>
                        <a:pt x="852227" y="98445"/>
                      </a:cubicBezTo>
                      <a:cubicBezTo>
                        <a:pt x="850797" y="98445"/>
                        <a:pt x="849366" y="97732"/>
                        <a:pt x="848651" y="97019"/>
                      </a:cubicBezTo>
                      <a:cubicBezTo>
                        <a:pt x="847221" y="96306"/>
                        <a:pt x="846506" y="96306"/>
                        <a:pt x="845791" y="95593"/>
                      </a:cubicBezTo>
                      <a:cubicBezTo>
                        <a:pt x="844360" y="94880"/>
                        <a:pt x="842930" y="94167"/>
                        <a:pt x="841500" y="93454"/>
                      </a:cubicBezTo>
                      <a:cubicBezTo>
                        <a:pt x="840785" y="93454"/>
                        <a:pt x="840070" y="92741"/>
                        <a:pt x="839355" y="92028"/>
                      </a:cubicBezTo>
                      <a:cubicBezTo>
                        <a:pt x="837209" y="91315"/>
                        <a:pt x="835779" y="90602"/>
                        <a:pt x="834349" y="90602"/>
                      </a:cubicBezTo>
                      <a:cubicBezTo>
                        <a:pt x="833634" y="89889"/>
                        <a:pt x="832204" y="89176"/>
                        <a:pt x="830773" y="88463"/>
                      </a:cubicBezTo>
                      <a:cubicBezTo>
                        <a:pt x="830058" y="88463"/>
                        <a:pt x="828628" y="87750"/>
                        <a:pt x="827198" y="87038"/>
                      </a:cubicBezTo>
                      <a:cubicBezTo>
                        <a:pt x="825768" y="86325"/>
                        <a:pt x="823622" y="85612"/>
                        <a:pt x="821477" y="84899"/>
                      </a:cubicBezTo>
                      <a:cubicBezTo>
                        <a:pt x="820762" y="84186"/>
                        <a:pt x="820762" y="84186"/>
                        <a:pt x="820047" y="84186"/>
                      </a:cubicBezTo>
                      <a:cubicBezTo>
                        <a:pt x="817186" y="82760"/>
                        <a:pt x="815041" y="82047"/>
                        <a:pt x="812180" y="80621"/>
                      </a:cubicBezTo>
                      <a:cubicBezTo>
                        <a:pt x="806460" y="78482"/>
                        <a:pt x="801454" y="77056"/>
                        <a:pt x="795733" y="74917"/>
                      </a:cubicBezTo>
                      <a:cubicBezTo>
                        <a:pt x="795733" y="74917"/>
                        <a:pt x="795733" y="74917"/>
                        <a:pt x="795018" y="74917"/>
                      </a:cubicBezTo>
                      <a:cubicBezTo>
                        <a:pt x="790012" y="72778"/>
                        <a:pt x="784291" y="70640"/>
                        <a:pt x="778570" y="69214"/>
                      </a:cubicBezTo>
                      <a:cubicBezTo>
                        <a:pt x="778570" y="69214"/>
                        <a:pt x="777855" y="69214"/>
                        <a:pt x="777855" y="68501"/>
                      </a:cubicBezTo>
                      <a:cubicBezTo>
                        <a:pt x="772134" y="67075"/>
                        <a:pt x="766413" y="65649"/>
                        <a:pt x="760692" y="63510"/>
                      </a:cubicBezTo>
                      <a:cubicBezTo>
                        <a:pt x="760692" y="63510"/>
                        <a:pt x="759977" y="63510"/>
                        <a:pt x="759977" y="63510"/>
                      </a:cubicBezTo>
                      <a:cubicBezTo>
                        <a:pt x="754256" y="61371"/>
                        <a:pt x="748535" y="59945"/>
                        <a:pt x="742815" y="58519"/>
                      </a:cubicBezTo>
                      <a:cubicBezTo>
                        <a:pt x="742099" y="58519"/>
                        <a:pt x="741384" y="58519"/>
                        <a:pt x="741384" y="58519"/>
                      </a:cubicBezTo>
                      <a:cubicBezTo>
                        <a:pt x="735663" y="56380"/>
                        <a:pt x="729227" y="54954"/>
                        <a:pt x="723507" y="54242"/>
                      </a:cubicBezTo>
                      <a:cubicBezTo>
                        <a:pt x="722791" y="53529"/>
                        <a:pt x="722791" y="53529"/>
                        <a:pt x="722076" y="53529"/>
                      </a:cubicBezTo>
                      <a:cubicBezTo>
                        <a:pt x="716355" y="52103"/>
                        <a:pt x="709919" y="50677"/>
                        <a:pt x="704198" y="49251"/>
                      </a:cubicBezTo>
                      <a:cubicBezTo>
                        <a:pt x="703483" y="49251"/>
                        <a:pt x="703483" y="49251"/>
                        <a:pt x="702768" y="49251"/>
                      </a:cubicBezTo>
                      <a:cubicBezTo>
                        <a:pt x="696332" y="47825"/>
                        <a:pt x="690611" y="47112"/>
                        <a:pt x="684175" y="45686"/>
                      </a:cubicBezTo>
                      <a:cubicBezTo>
                        <a:pt x="683460" y="45686"/>
                        <a:pt x="683460" y="45686"/>
                        <a:pt x="682745" y="45686"/>
                      </a:cubicBezTo>
                      <a:cubicBezTo>
                        <a:pt x="676309" y="44260"/>
                        <a:pt x="670588" y="42834"/>
                        <a:pt x="664152" y="42121"/>
                      </a:cubicBezTo>
                      <a:cubicBezTo>
                        <a:pt x="663437" y="42121"/>
                        <a:pt x="662722" y="42121"/>
                        <a:pt x="662007" y="42121"/>
                      </a:cubicBezTo>
                      <a:cubicBezTo>
                        <a:pt x="656286" y="40695"/>
                        <a:pt x="649850" y="39982"/>
                        <a:pt x="643414" y="39269"/>
                      </a:cubicBezTo>
                      <a:cubicBezTo>
                        <a:pt x="642699" y="38557"/>
                        <a:pt x="641984" y="38557"/>
                        <a:pt x="641984" y="38557"/>
                      </a:cubicBezTo>
                      <a:cubicBezTo>
                        <a:pt x="635548" y="37844"/>
                        <a:pt x="628397" y="37131"/>
                        <a:pt x="621961" y="36418"/>
                      </a:cubicBezTo>
                      <a:cubicBezTo>
                        <a:pt x="621245" y="36418"/>
                        <a:pt x="621245" y="36418"/>
                        <a:pt x="620530" y="35705"/>
                      </a:cubicBezTo>
                      <a:cubicBezTo>
                        <a:pt x="614094" y="34992"/>
                        <a:pt x="606943" y="34279"/>
                        <a:pt x="600507" y="33566"/>
                      </a:cubicBezTo>
                      <a:cubicBezTo>
                        <a:pt x="599792" y="33566"/>
                        <a:pt x="599792" y="33566"/>
                        <a:pt x="599792" y="33566"/>
                      </a:cubicBezTo>
                      <a:cubicBezTo>
                        <a:pt x="592641" y="32853"/>
                        <a:pt x="585490" y="32140"/>
                        <a:pt x="578339" y="32140"/>
                      </a:cubicBezTo>
                      <a:cubicBezTo>
                        <a:pt x="578339" y="32140"/>
                        <a:pt x="578339" y="32140"/>
                        <a:pt x="577624" y="32140"/>
                      </a:cubicBezTo>
                      <a:cubicBezTo>
                        <a:pt x="570473" y="31427"/>
                        <a:pt x="563321" y="30714"/>
                        <a:pt x="556170" y="30714"/>
                      </a:cubicBezTo>
                      <a:cubicBezTo>
                        <a:pt x="549019" y="30001"/>
                        <a:pt x="541153" y="29288"/>
                        <a:pt x="534002" y="29288"/>
                      </a:cubicBezTo>
                      <a:cubicBezTo>
                        <a:pt x="518984" y="28575"/>
                        <a:pt x="503967" y="28575"/>
                        <a:pt x="488950" y="28575"/>
                      </a:cubicBezTo>
                      <a:cubicBezTo>
                        <a:pt x="485374" y="28575"/>
                        <a:pt x="481083" y="28575"/>
                        <a:pt x="477508" y="28575"/>
                      </a:cubicBezTo>
                      <a:close/>
                      <a:moveTo>
                        <a:pt x="488950" y="0"/>
                      </a:moveTo>
                      <a:cubicBezTo>
                        <a:pt x="613151" y="0"/>
                        <a:pt x="731641" y="19252"/>
                        <a:pt x="821579" y="54903"/>
                      </a:cubicBezTo>
                      <a:cubicBezTo>
                        <a:pt x="912945" y="90555"/>
                        <a:pt x="967193" y="139041"/>
                        <a:pt x="976473" y="192518"/>
                      </a:cubicBezTo>
                      <a:cubicBezTo>
                        <a:pt x="977186" y="193944"/>
                        <a:pt x="977900" y="196083"/>
                        <a:pt x="977900" y="198935"/>
                      </a:cubicBezTo>
                      <a:cubicBezTo>
                        <a:pt x="977900" y="198935"/>
                        <a:pt x="977900" y="198935"/>
                        <a:pt x="977900" y="884870"/>
                      </a:cubicBezTo>
                      <a:cubicBezTo>
                        <a:pt x="977900" y="1001807"/>
                        <a:pt x="763762" y="1093788"/>
                        <a:pt x="488950" y="1093788"/>
                      </a:cubicBezTo>
                      <a:cubicBezTo>
                        <a:pt x="214139" y="1093788"/>
                        <a:pt x="0" y="1001807"/>
                        <a:pt x="0" y="884870"/>
                      </a:cubicBezTo>
                      <a:cubicBezTo>
                        <a:pt x="0" y="881305"/>
                        <a:pt x="0" y="877027"/>
                        <a:pt x="714" y="873462"/>
                      </a:cubicBezTo>
                      <a:cubicBezTo>
                        <a:pt x="714" y="873462"/>
                        <a:pt x="714" y="873462"/>
                        <a:pt x="714" y="220326"/>
                      </a:cubicBezTo>
                      <a:cubicBezTo>
                        <a:pt x="0" y="216761"/>
                        <a:pt x="0" y="212483"/>
                        <a:pt x="0" y="208918"/>
                      </a:cubicBezTo>
                      <a:cubicBezTo>
                        <a:pt x="0" y="91981"/>
                        <a:pt x="214139" y="0"/>
                        <a:pt x="488950" y="0"/>
                      </a:cubicBezTo>
                      <a:close/>
                    </a:path>
                  </a:pathLst>
                </a:custGeom>
                <a:solidFill>
                  <a:schemeClr val="accent1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en-US"/>
                </a:p>
              </p:txBody>
            </p:sp>
            <p:sp>
              <p:nvSpPr>
                <p:cNvPr id="22" name="Freeform 18">
                  <a:extLst>
                    <a:ext uri="{FF2B5EF4-FFF2-40B4-BE49-F238E27FC236}">
                      <a16:creationId xmlns:a16="http://schemas.microsoft.com/office/drawing/2014/main" id="{D7818D5E-4574-42C7-91D0-D438C534950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667375" y="3184524"/>
                  <a:ext cx="860425" cy="723900"/>
                </a:xfrm>
                <a:custGeom>
                  <a:avLst/>
                  <a:gdLst>
                    <a:gd name="connsiteX0" fmla="*/ 860425 w 860425"/>
                    <a:gd name="connsiteY0" fmla="*/ 434975 h 723900"/>
                    <a:gd name="connsiteX1" fmla="*/ 860425 w 860425"/>
                    <a:gd name="connsiteY1" fmla="*/ 581935 h 723900"/>
                    <a:gd name="connsiteX2" fmla="*/ 743224 w 860425"/>
                    <a:gd name="connsiteY2" fmla="*/ 679670 h 723900"/>
                    <a:gd name="connsiteX3" fmla="*/ 703919 w 860425"/>
                    <a:gd name="connsiteY3" fmla="*/ 693224 h 723900"/>
                    <a:gd name="connsiteX4" fmla="*/ 430927 w 860425"/>
                    <a:gd name="connsiteY4" fmla="*/ 723900 h 723900"/>
                    <a:gd name="connsiteX5" fmla="*/ 155791 w 860425"/>
                    <a:gd name="connsiteY5" fmla="*/ 693224 h 723900"/>
                    <a:gd name="connsiteX6" fmla="*/ 117201 w 860425"/>
                    <a:gd name="connsiteY6" fmla="*/ 679670 h 723900"/>
                    <a:gd name="connsiteX7" fmla="*/ 0 w 860425"/>
                    <a:gd name="connsiteY7" fmla="*/ 581935 h 723900"/>
                    <a:gd name="connsiteX8" fmla="*/ 0 w 860425"/>
                    <a:gd name="connsiteY8" fmla="*/ 579794 h 723900"/>
                    <a:gd name="connsiteX9" fmla="*/ 715 w 860425"/>
                    <a:gd name="connsiteY9" fmla="*/ 577654 h 723900"/>
                    <a:gd name="connsiteX10" fmla="*/ 715 w 860425"/>
                    <a:gd name="connsiteY10" fmla="*/ 436402 h 723900"/>
                    <a:gd name="connsiteX11" fmla="*/ 430927 w 860425"/>
                    <a:gd name="connsiteY11" fmla="*/ 557679 h 723900"/>
                    <a:gd name="connsiteX12" fmla="*/ 860425 w 860425"/>
                    <a:gd name="connsiteY12" fmla="*/ 434975 h 723900"/>
                    <a:gd name="connsiteX13" fmla="*/ 860425 w 860425"/>
                    <a:gd name="connsiteY13" fmla="*/ 214313 h 723900"/>
                    <a:gd name="connsiteX14" fmla="*/ 860425 w 860425"/>
                    <a:gd name="connsiteY14" fmla="*/ 384562 h 723900"/>
                    <a:gd name="connsiteX15" fmla="*/ 430570 w 860425"/>
                    <a:gd name="connsiteY15" fmla="*/ 511176 h 723900"/>
                    <a:gd name="connsiteX16" fmla="*/ 0 w 860425"/>
                    <a:gd name="connsiteY16" fmla="*/ 385993 h 723900"/>
                    <a:gd name="connsiteX17" fmla="*/ 0 w 860425"/>
                    <a:gd name="connsiteY17" fmla="*/ 215744 h 723900"/>
                    <a:gd name="connsiteX18" fmla="*/ 430570 w 860425"/>
                    <a:gd name="connsiteY18" fmla="*/ 340212 h 723900"/>
                    <a:gd name="connsiteX19" fmla="*/ 860425 w 860425"/>
                    <a:gd name="connsiteY19" fmla="*/ 214313 h 723900"/>
                    <a:gd name="connsiteX20" fmla="*/ 860425 w 860425"/>
                    <a:gd name="connsiteY20" fmla="*/ 0 h 723900"/>
                    <a:gd name="connsiteX21" fmla="*/ 860425 w 860425"/>
                    <a:gd name="connsiteY21" fmla="*/ 165508 h 723900"/>
                    <a:gd name="connsiteX22" fmla="*/ 430570 w 860425"/>
                    <a:gd name="connsiteY22" fmla="*/ 288925 h 723900"/>
                    <a:gd name="connsiteX23" fmla="*/ 0 w 860425"/>
                    <a:gd name="connsiteY23" fmla="*/ 166935 h 723900"/>
                    <a:gd name="connsiteX24" fmla="*/ 0 w 860425"/>
                    <a:gd name="connsiteY24" fmla="*/ 1427 h 723900"/>
                    <a:gd name="connsiteX25" fmla="*/ 430570 w 860425"/>
                    <a:gd name="connsiteY25" fmla="*/ 122704 h 723900"/>
                    <a:gd name="connsiteX26" fmla="*/ 860425 w 860425"/>
                    <a:gd name="connsiteY26" fmla="*/ 0 h 7239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</a:cxnLst>
                  <a:rect l="l" t="t" r="r" b="b"/>
                  <a:pathLst>
                    <a:path w="860425" h="723900">
                      <a:moveTo>
                        <a:pt x="860425" y="434975"/>
                      </a:moveTo>
                      <a:cubicBezTo>
                        <a:pt x="860425" y="434975"/>
                        <a:pt x="860425" y="434975"/>
                        <a:pt x="860425" y="581935"/>
                      </a:cubicBezTo>
                      <a:cubicBezTo>
                        <a:pt x="860425" y="614037"/>
                        <a:pt x="815403" y="651847"/>
                        <a:pt x="743224" y="679670"/>
                      </a:cubicBezTo>
                      <a:cubicBezTo>
                        <a:pt x="731076" y="684663"/>
                        <a:pt x="717497" y="688944"/>
                        <a:pt x="703919" y="693224"/>
                      </a:cubicBezTo>
                      <a:cubicBezTo>
                        <a:pt x="629597" y="713199"/>
                        <a:pt x="533835" y="723900"/>
                        <a:pt x="430927" y="723900"/>
                      </a:cubicBezTo>
                      <a:cubicBezTo>
                        <a:pt x="326590" y="723900"/>
                        <a:pt x="230829" y="713199"/>
                        <a:pt x="155791" y="693224"/>
                      </a:cubicBezTo>
                      <a:cubicBezTo>
                        <a:pt x="142213" y="688944"/>
                        <a:pt x="129350" y="684663"/>
                        <a:pt x="117201" y="679670"/>
                      </a:cubicBezTo>
                      <a:cubicBezTo>
                        <a:pt x="45022" y="651847"/>
                        <a:pt x="0" y="614037"/>
                        <a:pt x="0" y="581935"/>
                      </a:cubicBezTo>
                      <a:cubicBezTo>
                        <a:pt x="0" y="581221"/>
                        <a:pt x="0" y="580508"/>
                        <a:pt x="0" y="579794"/>
                      </a:cubicBezTo>
                      <a:cubicBezTo>
                        <a:pt x="0" y="579794"/>
                        <a:pt x="0" y="579794"/>
                        <a:pt x="715" y="577654"/>
                      </a:cubicBezTo>
                      <a:cubicBezTo>
                        <a:pt x="715" y="577654"/>
                        <a:pt x="715" y="577654"/>
                        <a:pt x="715" y="436402"/>
                      </a:cubicBezTo>
                      <a:cubicBezTo>
                        <a:pt x="33588" y="509168"/>
                        <a:pt x="213677" y="557679"/>
                        <a:pt x="430927" y="557679"/>
                      </a:cubicBezTo>
                      <a:cubicBezTo>
                        <a:pt x="648178" y="557679"/>
                        <a:pt x="828981" y="508455"/>
                        <a:pt x="860425" y="434975"/>
                      </a:cubicBezTo>
                      <a:close/>
                      <a:moveTo>
                        <a:pt x="860425" y="214313"/>
                      </a:moveTo>
                      <a:cubicBezTo>
                        <a:pt x="860425" y="214313"/>
                        <a:pt x="860425" y="214313"/>
                        <a:pt x="860425" y="384562"/>
                      </a:cubicBezTo>
                      <a:cubicBezTo>
                        <a:pt x="828955" y="461103"/>
                        <a:pt x="648001" y="511176"/>
                        <a:pt x="430570" y="511176"/>
                      </a:cubicBezTo>
                      <a:cubicBezTo>
                        <a:pt x="213140" y="511176"/>
                        <a:pt x="32901" y="461818"/>
                        <a:pt x="0" y="385993"/>
                      </a:cubicBezTo>
                      <a:cubicBezTo>
                        <a:pt x="0" y="385993"/>
                        <a:pt x="0" y="385993"/>
                        <a:pt x="0" y="215744"/>
                      </a:cubicBezTo>
                      <a:cubicBezTo>
                        <a:pt x="32901" y="290854"/>
                        <a:pt x="213140" y="340212"/>
                        <a:pt x="430570" y="340212"/>
                      </a:cubicBezTo>
                      <a:cubicBezTo>
                        <a:pt x="648001" y="340212"/>
                        <a:pt x="828955" y="290138"/>
                        <a:pt x="860425" y="214313"/>
                      </a:cubicBezTo>
                      <a:close/>
                      <a:moveTo>
                        <a:pt x="860425" y="0"/>
                      </a:moveTo>
                      <a:cubicBezTo>
                        <a:pt x="860425" y="0"/>
                        <a:pt x="860425" y="0"/>
                        <a:pt x="860425" y="165508"/>
                      </a:cubicBezTo>
                      <a:cubicBezTo>
                        <a:pt x="828955" y="239701"/>
                        <a:pt x="648001" y="288925"/>
                        <a:pt x="430570" y="288925"/>
                      </a:cubicBezTo>
                      <a:cubicBezTo>
                        <a:pt x="213140" y="288925"/>
                        <a:pt x="32901" y="240414"/>
                        <a:pt x="0" y="166935"/>
                      </a:cubicBezTo>
                      <a:cubicBezTo>
                        <a:pt x="0" y="166935"/>
                        <a:pt x="0" y="166935"/>
                        <a:pt x="0" y="1427"/>
                      </a:cubicBezTo>
                      <a:cubicBezTo>
                        <a:pt x="32901" y="74193"/>
                        <a:pt x="213140" y="122704"/>
                        <a:pt x="430570" y="122704"/>
                      </a:cubicBezTo>
                      <a:cubicBezTo>
                        <a:pt x="648001" y="122704"/>
                        <a:pt x="828955" y="73480"/>
                        <a:pt x="860425" y="0"/>
                      </a:cubicBezTo>
                      <a:close/>
                    </a:path>
                  </a:pathLst>
                </a:custGeom>
                <a:solidFill>
                  <a:schemeClr val="tx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en-US"/>
                </a:p>
              </p:txBody>
            </p:sp>
          </p:grpSp>
        </p:grpSp>
      </p:grpSp>
      <p:pic>
        <p:nvPicPr>
          <p:cNvPr id="62" name="Grafik 2" descr="countdown.gif">
            <a:extLst>
              <a:ext uri="{FF2B5EF4-FFF2-40B4-BE49-F238E27FC236}">
                <a16:creationId xmlns:a16="http://schemas.microsoft.com/office/drawing/2014/main" id="{A18676B2-4A87-4812-8FCE-D98F7387278E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85113" y="4575685"/>
            <a:ext cx="1258887" cy="571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6" name="Flowchart: Magnetic Disk 55">
            <a:extLst>
              <a:ext uri="{FF2B5EF4-FFF2-40B4-BE49-F238E27FC236}">
                <a16:creationId xmlns:a16="http://schemas.microsoft.com/office/drawing/2014/main" id="{44C84866-8CA7-D7E4-67EF-3E38B75D3325}"/>
              </a:ext>
            </a:extLst>
          </p:cNvPr>
          <p:cNvSpPr/>
          <p:nvPr/>
        </p:nvSpPr>
        <p:spPr>
          <a:xfrm>
            <a:off x="6898520" y="2323952"/>
            <a:ext cx="1973186" cy="1004648"/>
          </a:xfrm>
          <a:prstGeom prst="flowChartMagneticDisk">
            <a:avLst/>
          </a:prstGeom>
          <a:ln/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4000"/>
              </a:lnSpc>
            </a:pPr>
            <a:r>
              <a:rPr lang="en-US"/>
              <a:t>ML Metadata Store</a:t>
            </a:r>
          </a:p>
        </p:txBody>
      </p:sp>
      <p:sp>
        <p:nvSpPr>
          <p:cNvPr id="2" name="Right Brace 1">
            <a:extLst>
              <a:ext uri="{FF2B5EF4-FFF2-40B4-BE49-F238E27FC236}">
                <a16:creationId xmlns:a16="http://schemas.microsoft.com/office/drawing/2014/main" id="{3E7224E9-1C61-B9C1-1B58-8D7DB71453B3}"/>
              </a:ext>
            </a:extLst>
          </p:cNvPr>
          <p:cNvSpPr/>
          <p:nvPr/>
        </p:nvSpPr>
        <p:spPr>
          <a:xfrm>
            <a:off x="6329363" y="1089537"/>
            <a:ext cx="322574" cy="3353566"/>
          </a:xfrm>
          <a:custGeom>
            <a:avLst/>
            <a:gdLst>
              <a:gd name="connsiteX0" fmla="*/ 0 w 322574"/>
              <a:gd name="connsiteY0" fmla="*/ 0 h 3353566"/>
              <a:gd name="connsiteX1" fmla="*/ 161287 w 322574"/>
              <a:gd name="connsiteY1" fmla="*/ 26880 h 3353566"/>
              <a:gd name="connsiteX2" fmla="*/ 161287 w 322574"/>
              <a:gd name="connsiteY2" fmla="*/ 1649903 h 3353566"/>
              <a:gd name="connsiteX3" fmla="*/ 322574 w 322574"/>
              <a:gd name="connsiteY3" fmla="*/ 1676783 h 3353566"/>
              <a:gd name="connsiteX4" fmla="*/ 161287 w 322574"/>
              <a:gd name="connsiteY4" fmla="*/ 1703663 h 3353566"/>
              <a:gd name="connsiteX5" fmla="*/ 161287 w 322574"/>
              <a:gd name="connsiteY5" fmla="*/ 3326686 h 3353566"/>
              <a:gd name="connsiteX6" fmla="*/ 0 w 322574"/>
              <a:gd name="connsiteY6" fmla="*/ 3353566 h 3353566"/>
              <a:gd name="connsiteX7" fmla="*/ 0 w 322574"/>
              <a:gd name="connsiteY7" fmla="*/ 0 h 3353566"/>
              <a:gd name="connsiteX0" fmla="*/ 0 w 322574"/>
              <a:gd name="connsiteY0" fmla="*/ 0 h 3353566"/>
              <a:gd name="connsiteX1" fmla="*/ 161287 w 322574"/>
              <a:gd name="connsiteY1" fmla="*/ 26880 h 3353566"/>
              <a:gd name="connsiteX2" fmla="*/ 161287 w 322574"/>
              <a:gd name="connsiteY2" fmla="*/ 1649903 h 3353566"/>
              <a:gd name="connsiteX3" fmla="*/ 322574 w 322574"/>
              <a:gd name="connsiteY3" fmla="*/ 1676783 h 3353566"/>
              <a:gd name="connsiteX4" fmla="*/ 161287 w 322574"/>
              <a:gd name="connsiteY4" fmla="*/ 1703663 h 3353566"/>
              <a:gd name="connsiteX5" fmla="*/ 161287 w 322574"/>
              <a:gd name="connsiteY5" fmla="*/ 3326686 h 3353566"/>
              <a:gd name="connsiteX6" fmla="*/ 0 w 322574"/>
              <a:gd name="connsiteY6" fmla="*/ 3353566 h 33535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22574" h="3353566" stroke="0" extrusionOk="0">
                <a:moveTo>
                  <a:pt x="0" y="0"/>
                </a:moveTo>
                <a:cubicBezTo>
                  <a:pt x="87131" y="-1200"/>
                  <a:pt x="158803" y="12967"/>
                  <a:pt x="161287" y="26880"/>
                </a:cubicBezTo>
                <a:cubicBezTo>
                  <a:pt x="306531" y="756398"/>
                  <a:pt x="200071" y="1095649"/>
                  <a:pt x="161287" y="1649903"/>
                </a:cubicBezTo>
                <a:cubicBezTo>
                  <a:pt x="151900" y="1673915"/>
                  <a:pt x="232017" y="1684969"/>
                  <a:pt x="322574" y="1676783"/>
                </a:cubicBezTo>
                <a:cubicBezTo>
                  <a:pt x="231023" y="1675429"/>
                  <a:pt x="163089" y="1689679"/>
                  <a:pt x="161287" y="1703663"/>
                </a:cubicBezTo>
                <a:cubicBezTo>
                  <a:pt x="103849" y="2006922"/>
                  <a:pt x="36451" y="3032453"/>
                  <a:pt x="161287" y="3326686"/>
                </a:cubicBezTo>
                <a:cubicBezTo>
                  <a:pt x="146819" y="3339315"/>
                  <a:pt x="82206" y="3360034"/>
                  <a:pt x="0" y="3353566"/>
                </a:cubicBezTo>
                <a:cubicBezTo>
                  <a:pt x="48231" y="1737309"/>
                  <a:pt x="-84455" y="340120"/>
                  <a:pt x="0" y="0"/>
                </a:cubicBezTo>
                <a:close/>
              </a:path>
              <a:path w="322574" h="3353566" fill="none" extrusionOk="0">
                <a:moveTo>
                  <a:pt x="0" y="0"/>
                </a:moveTo>
                <a:cubicBezTo>
                  <a:pt x="91355" y="1276"/>
                  <a:pt x="161866" y="12174"/>
                  <a:pt x="161287" y="26880"/>
                </a:cubicBezTo>
                <a:cubicBezTo>
                  <a:pt x="178691" y="349067"/>
                  <a:pt x="25371" y="1344771"/>
                  <a:pt x="161287" y="1649903"/>
                </a:cubicBezTo>
                <a:cubicBezTo>
                  <a:pt x="163948" y="1668709"/>
                  <a:pt x="234719" y="1689432"/>
                  <a:pt x="322574" y="1676783"/>
                </a:cubicBezTo>
                <a:cubicBezTo>
                  <a:pt x="234463" y="1678270"/>
                  <a:pt x="161901" y="1689571"/>
                  <a:pt x="161287" y="1703663"/>
                </a:cubicBezTo>
                <a:cubicBezTo>
                  <a:pt x="287822" y="2395394"/>
                  <a:pt x="137212" y="2579048"/>
                  <a:pt x="161287" y="3326686"/>
                </a:cubicBezTo>
                <a:cubicBezTo>
                  <a:pt x="150725" y="3343265"/>
                  <a:pt x="79382" y="3346877"/>
                  <a:pt x="0" y="3353566"/>
                </a:cubicBezTo>
              </a:path>
            </a:pathLst>
          </a:custGeom>
          <a:noFill/>
          <a:ln w="31750" cap="flat" cmpd="sng">
            <a:prstDash val="solid"/>
            <a:extLst>
              <a:ext uri="{C807C97D-BFC1-408E-A445-0C87EB9F89A2}">
                <ask:lineSketchStyleProps xmlns:ask="http://schemas.microsoft.com/office/drawing/2018/sketchyshapes" sd="1219033472">
                  <a:prstGeom prst="rightBrace">
                    <a:avLst/>
                  </a:prstGeom>
                  <ask:type>
                    <ask:lineSketchCurved/>
                  </ask:type>
                </ask:lineSketchStyleProps>
              </a:ext>
            </a:extLst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1" name="Fußzeilenplatzhalter 4">
            <a:extLst>
              <a:ext uri="{FF2B5EF4-FFF2-40B4-BE49-F238E27FC236}">
                <a16:creationId xmlns:a16="http://schemas.microsoft.com/office/drawing/2014/main" id="{F0AB6D3E-2D77-375A-7573-D50DCCD61DFC}"/>
              </a:ext>
            </a:extLst>
          </p:cNvPr>
          <p:cNvSpPr txBox="1">
            <a:spLocks/>
          </p:cNvSpPr>
          <p:nvPr/>
        </p:nvSpPr>
        <p:spPr>
          <a:xfrm>
            <a:off x="311162" y="4854985"/>
            <a:ext cx="7829538" cy="28851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1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r>
              <a:rPr lang="en-US" dirty="0">
                <a:latin typeface="Arial"/>
                <a:cs typeface="Arial"/>
              </a:rPr>
              <a:t>◻︎ Outline | ◻︎ Organizational</a:t>
            </a:r>
            <a:r>
              <a:rPr lang="en-US" b="1" dirty="0">
                <a:latin typeface="Arial"/>
                <a:cs typeface="Arial"/>
              </a:rPr>
              <a:t> </a:t>
            </a:r>
            <a:r>
              <a:rPr lang="en-US" dirty="0">
                <a:latin typeface="Arial"/>
                <a:cs typeface="Arial"/>
              </a:rPr>
              <a:t>structure</a:t>
            </a:r>
            <a:r>
              <a:rPr lang="en-US" b="1" dirty="0">
                <a:latin typeface="Arial"/>
                <a:cs typeface="Arial"/>
              </a:rPr>
              <a:t> </a:t>
            </a:r>
            <a:r>
              <a:rPr lang="en-US" dirty="0">
                <a:latin typeface="Arial"/>
                <a:cs typeface="Arial"/>
              </a:rPr>
              <a:t>| ◻︎ Research Topics | ◼︎ </a:t>
            </a:r>
            <a:r>
              <a:rPr lang="en-US" b="1" dirty="0">
                <a:latin typeface="Arial"/>
                <a:cs typeface="Arial"/>
              </a:rPr>
              <a:t>ML Pipeline</a:t>
            </a:r>
            <a:r>
              <a:rPr lang="en-US" dirty="0">
                <a:latin typeface="Arial"/>
                <a:cs typeface="Arial"/>
              </a:rPr>
              <a:t>  | ◻︎ Next steps</a:t>
            </a:r>
          </a:p>
        </p:txBody>
      </p:sp>
    </p:spTree>
    <p:extLst>
      <p:ext uri="{BB962C8B-B14F-4D97-AF65-F5344CB8AC3E}">
        <p14:creationId xmlns:p14="http://schemas.microsoft.com/office/powerpoint/2010/main" val="30200614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 advTm="20000"/>
    </mc:Choice>
    <mc:Fallback xmlns="">
      <p:transition spd="slow" advClick="0" advTm="20000"/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16">
            <a:extLst>
              <a:ext uri="{FF2B5EF4-FFF2-40B4-BE49-F238E27FC236}">
                <a16:creationId xmlns:a16="http://schemas.microsoft.com/office/drawing/2014/main" id="{25D38326-351A-9099-FBF6-026C1C8E1EC9}"/>
              </a:ext>
            </a:extLst>
          </p:cNvPr>
          <p:cNvSpPr/>
          <p:nvPr/>
        </p:nvSpPr>
        <p:spPr>
          <a:xfrm>
            <a:off x="2112558" y="1358956"/>
            <a:ext cx="2743198" cy="1924623"/>
          </a:xfrm>
          <a:prstGeom prst="rect">
            <a:avLst/>
          </a:prstGeom>
          <a:solidFill>
            <a:schemeClr val="accent6"/>
          </a:solidFill>
          <a:ln>
            <a:solidFill>
              <a:schemeClr val="accent6"/>
            </a:solidFill>
          </a:ln>
          <a:effectLst>
            <a:softEdge rad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4000"/>
              </a:lnSpc>
            </a:pPr>
            <a:endParaRPr lang="en-US"/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E4C018B3-642F-08F3-5C39-472AEF3051D7}"/>
              </a:ext>
            </a:extLst>
          </p:cNvPr>
          <p:cNvSpPr/>
          <p:nvPr/>
        </p:nvSpPr>
        <p:spPr>
          <a:xfrm>
            <a:off x="2436407" y="2770735"/>
            <a:ext cx="2095500" cy="380810"/>
          </a:xfrm>
          <a:prstGeom prst="rect">
            <a:avLst/>
          </a:prstGeom>
          <a:solidFill>
            <a:schemeClr val="accent2"/>
          </a:solidFill>
          <a:ln>
            <a:noFill/>
          </a:ln>
          <a:effectLst>
            <a:softEdge rad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4000"/>
              </a:lnSpc>
            </a:pPr>
            <a:r>
              <a:rPr lang="de-DE"/>
              <a:t>   Publisher</a:t>
            </a:r>
            <a:endParaRPr lang="en-US"/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630DC2DC-C3F2-E619-2FE9-7E57BFBC4D06}"/>
              </a:ext>
            </a:extLst>
          </p:cNvPr>
          <p:cNvSpPr/>
          <p:nvPr/>
        </p:nvSpPr>
        <p:spPr>
          <a:xfrm>
            <a:off x="2436407" y="2000610"/>
            <a:ext cx="2095500" cy="646136"/>
          </a:xfrm>
          <a:prstGeom prst="rect">
            <a:avLst/>
          </a:prstGeom>
          <a:solidFill>
            <a:schemeClr val="bg2"/>
          </a:solidFill>
          <a:ln>
            <a:noFill/>
          </a:ln>
          <a:effectLst>
            <a:softEdge rad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4000"/>
              </a:lnSpc>
            </a:pPr>
            <a:endParaRPr lang="en-US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6311DAC5-1B5A-3BE6-52C1-3DBC11317095}"/>
              </a:ext>
            </a:extLst>
          </p:cNvPr>
          <p:cNvSpPr/>
          <p:nvPr/>
        </p:nvSpPr>
        <p:spPr>
          <a:xfrm>
            <a:off x="2436407" y="1513941"/>
            <a:ext cx="2095500" cy="380810"/>
          </a:xfrm>
          <a:prstGeom prst="rect">
            <a:avLst/>
          </a:prstGeom>
          <a:solidFill>
            <a:schemeClr val="accent2"/>
          </a:solidFill>
          <a:ln>
            <a:noFill/>
          </a:ln>
          <a:effectLst>
            <a:softEdge rad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4000"/>
              </a:lnSpc>
            </a:pPr>
            <a:r>
              <a:rPr lang="de-DE"/>
              <a:t>Driver</a:t>
            </a:r>
            <a:endParaRPr lang="en-US"/>
          </a:p>
        </p:txBody>
      </p:sp>
      <p:sp>
        <p:nvSpPr>
          <p:cNvPr id="5" name="Flowchart: Magnetic Disk 4">
            <a:extLst>
              <a:ext uri="{FF2B5EF4-FFF2-40B4-BE49-F238E27FC236}">
                <a16:creationId xmlns:a16="http://schemas.microsoft.com/office/drawing/2014/main" id="{6FB799E5-64AB-10C2-FBA3-F426B7A7F5F5}"/>
              </a:ext>
            </a:extLst>
          </p:cNvPr>
          <p:cNvSpPr/>
          <p:nvPr/>
        </p:nvSpPr>
        <p:spPr>
          <a:xfrm>
            <a:off x="1991856" y="3707033"/>
            <a:ext cx="2984602" cy="822479"/>
          </a:xfrm>
          <a:prstGeom prst="flowChartMagneticDisk">
            <a:avLst/>
          </a:prstGeom>
          <a:ln/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4000"/>
              </a:lnSpc>
            </a:pPr>
            <a:r>
              <a:rPr lang="en-US"/>
              <a:t>ML Metadata Store</a:t>
            </a:r>
          </a:p>
        </p:txBody>
      </p:sp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5A5BC5C3-089F-44A4-BBDC-41841B5FCC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389580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5A5BC5C3-089F-44A4-BBDC-41841B5FCC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F7A34E9F-E7A0-D4B9-C743-B254239B740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16</a:t>
            </a:fld>
            <a:endParaRPr lang="de-DE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6E6D489D-5870-D572-79B9-9747B998DE9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9090" y="300364"/>
            <a:ext cx="8508999" cy="380810"/>
          </a:xfrm>
        </p:spPr>
        <p:txBody>
          <a:bodyPr vert="horz"/>
          <a:lstStyle/>
          <a:p>
            <a:r>
              <a:rPr lang="en-US">
                <a:cs typeface="Arial"/>
              </a:rPr>
              <a:t>TFX encapsulates fuctionalities inside components</a:t>
            </a:r>
            <a:endParaRPr lang="en-US"/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4B2E02A8-A9F0-5361-EA62-6086BC9E0A68}"/>
              </a:ext>
            </a:extLst>
          </p:cNvPr>
          <p:cNvSpPr txBox="1"/>
          <p:nvPr/>
        </p:nvSpPr>
        <p:spPr>
          <a:xfrm>
            <a:off x="5497656" y="1554462"/>
            <a:ext cx="2743199" cy="22506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>
              <a:lnSpc>
                <a:spcPct val="113999"/>
              </a:lnSpc>
            </a:pPr>
            <a:r>
              <a:rPr lang="en-US" sz="1400">
                <a:latin typeface="Arial"/>
                <a:cs typeface="Arial"/>
              </a:rPr>
              <a:t>Coordinates job execution</a:t>
            </a:r>
            <a:endParaRPr lang="en-US" sz="1400"/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5EE596C0-DFCB-B7F9-85FB-82F22B770AE0}"/>
              </a:ext>
            </a:extLst>
          </p:cNvPr>
          <p:cNvSpPr txBox="1"/>
          <p:nvPr/>
        </p:nvSpPr>
        <p:spPr>
          <a:xfrm>
            <a:off x="5497655" y="2190699"/>
            <a:ext cx="2743199" cy="22506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>
              <a:lnSpc>
                <a:spcPct val="113999"/>
              </a:lnSpc>
            </a:pPr>
            <a:r>
              <a:rPr lang="en-US" sz="1400">
                <a:latin typeface="Arial"/>
                <a:cs typeface="Arial"/>
              </a:rPr>
              <a:t>Performs the work</a:t>
            </a:r>
            <a:endParaRPr lang="en-US" sz="1400"/>
          </a:p>
        </p:txBody>
      </p:sp>
      <p:sp>
        <p:nvSpPr>
          <p:cNvPr id="13" name="Textfeld 12">
            <a:extLst>
              <a:ext uri="{FF2B5EF4-FFF2-40B4-BE49-F238E27FC236}">
                <a16:creationId xmlns:a16="http://schemas.microsoft.com/office/drawing/2014/main" id="{4635A1FF-2BCA-C3FB-8DAD-47BAE75C1140}"/>
              </a:ext>
            </a:extLst>
          </p:cNvPr>
          <p:cNvSpPr txBox="1"/>
          <p:nvPr/>
        </p:nvSpPr>
        <p:spPr>
          <a:xfrm>
            <a:off x="5497655" y="2826937"/>
            <a:ext cx="2743199" cy="22506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>
              <a:lnSpc>
                <a:spcPct val="113999"/>
              </a:lnSpc>
            </a:pPr>
            <a:r>
              <a:rPr lang="en-US" sz="1400">
                <a:latin typeface="Arial"/>
                <a:cs typeface="Arial"/>
              </a:rPr>
              <a:t>Updates ML metadata</a:t>
            </a:r>
            <a:endParaRPr lang="en-US" sz="1400"/>
          </a:p>
        </p:txBody>
      </p:sp>
      <p:grpSp>
        <p:nvGrpSpPr>
          <p:cNvPr id="26" name="Group 25">
            <a:extLst>
              <a:ext uri="{FF2B5EF4-FFF2-40B4-BE49-F238E27FC236}">
                <a16:creationId xmlns:a16="http://schemas.microsoft.com/office/drawing/2014/main" id="{80264066-1874-43F0-84B2-AD25443754EF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2436407" y="1164457"/>
            <a:ext cx="4554456" cy="3029366"/>
            <a:chOff x="2652" y="972"/>
            <a:chExt cx="26477" cy="17611"/>
          </a:xfrm>
        </p:grpSpPr>
        <p:sp>
          <p:nvSpPr>
            <p:cNvPr id="27" name="AutoShape 4">
              <a:extLst>
                <a:ext uri="{FF2B5EF4-FFF2-40B4-BE49-F238E27FC236}">
                  <a16:creationId xmlns:a16="http://schemas.microsoft.com/office/drawing/2014/main" id="{E63792D9-A1DF-4966-BCC1-D20011A9FA56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2652" y="972"/>
              <a:ext cx="2376" cy="23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" name="Freeform 7">
              <a:extLst>
                <a:ext uri="{FF2B5EF4-FFF2-40B4-BE49-F238E27FC236}">
                  <a16:creationId xmlns:a16="http://schemas.microsoft.com/office/drawing/2014/main" id="{BB95AB7C-337B-4026-B854-132C5E7A6FB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374" y="16761"/>
              <a:ext cx="1755" cy="1822"/>
            </a:xfrm>
            <a:custGeom>
              <a:avLst/>
              <a:gdLst>
                <a:gd name="T0" fmla="*/ 613 w 738"/>
                <a:gd name="T1" fmla="*/ 443 h 766"/>
                <a:gd name="T2" fmla="*/ 610 w 738"/>
                <a:gd name="T3" fmla="*/ 315 h 766"/>
                <a:gd name="T4" fmla="*/ 732 w 738"/>
                <a:gd name="T5" fmla="*/ 264 h 766"/>
                <a:gd name="T6" fmla="*/ 612 w 738"/>
                <a:gd name="T7" fmla="*/ 277 h 766"/>
                <a:gd name="T8" fmla="*/ 526 w 738"/>
                <a:gd name="T9" fmla="*/ 186 h 766"/>
                <a:gd name="T10" fmla="*/ 593 w 738"/>
                <a:gd name="T11" fmla="*/ 72 h 766"/>
                <a:gd name="T12" fmla="*/ 504 w 738"/>
                <a:gd name="T13" fmla="*/ 155 h 766"/>
                <a:gd name="T14" fmla="*/ 386 w 738"/>
                <a:gd name="T15" fmla="*/ 119 h 766"/>
                <a:gd name="T16" fmla="*/ 361 w 738"/>
                <a:gd name="T17" fmla="*/ 0 h 766"/>
                <a:gd name="T18" fmla="*/ 348 w 738"/>
                <a:gd name="T19" fmla="*/ 130 h 766"/>
                <a:gd name="T20" fmla="*/ 168 w 738"/>
                <a:gd name="T21" fmla="*/ 77 h 766"/>
                <a:gd name="T22" fmla="*/ 133 w 738"/>
                <a:gd name="T23" fmla="*/ 102 h 766"/>
                <a:gd name="T24" fmla="*/ 131 w 738"/>
                <a:gd name="T25" fmla="*/ 290 h 766"/>
                <a:gd name="T26" fmla="*/ 5 w 738"/>
                <a:gd name="T27" fmla="*/ 266 h 766"/>
                <a:gd name="T28" fmla="*/ 110 w 738"/>
                <a:gd name="T29" fmla="*/ 326 h 766"/>
                <a:gd name="T30" fmla="*/ 122 w 738"/>
                <a:gd name="T31" fmla="*/ 448 h 766"/>
                <a:gd name="T32" fmla="*/ 6 w 738"/>
                <a:gd name="T33" fmla="*/ 503 h 766"/>
                <a:gd name="T34" fmla="*/ 126 w 738"/>
                <a:gd name="T35" fmla="*/ 489 h 766"/>
                <a:gd name="T36" fmla="*/ 200 w 738"/>
                <a:gd name="T37" fmla="*/ 587 h 766"/>
                <a:gd name="T38" fmla="*/ 150 w 738"/>
                <a:gd name="T39" fmla="*/ 697 h 766"/>
                <a:gd name="T40" fmla="*/ 237 w 738"/>
                <a:gd name="T41" fmla="*/ 601 h 766"/>
                <a:gd name="T42" fmla="*/ 352 w 738"/>
                <a:gd name="T43" fmla="*/ 749 h 766"/>
                <a:gd name="T44" fmla="*/ 394 w 738"/>
                <a:gd name="T45" fmla="*/ 749 h 766"/>
                <a:gd name="T46" fmla="*/ 508 w 738"/>
                <a:gd name="T47" fmla="*/ 593 h 766"/>
                <a:gd name="T48" fmla="*/ 594 w 738"/>
                <a:gd name="T49" fmla="*/ 692 h 766"/>
                <a:gd name="T50" fmla="*/ 544 w 738"/>
                <a:gd name="T51" fmla="*/ 582 h 766"/>
                <a:gd name="T52" fmla="*/ 614 w 738"/>
                <a:gd name="T53" fmla="*/ 481 h 766"/>
                <a:gd name="T54" fmla="*/ 735 w 738"/>
                <a:gd name="T55" fmla="*/ 494 h 766"/>
                <a:gd name="T56" fmla="*/ 474 w 738"/>
                <a:gd name="T57" fmla="*/ 330 h 766"/>
                <a:gd name="T58" fmla="*/ 536 w 738"/>
                <a:gd name="T59" fmla="*/ 313 h 766"/>
                <a:gd name="T60" fmla="*/ 378 w 738"/>
                <a:gd name="T61" fmla="*/ 264 h 766"/>
                <a:gd name="T62" fmla="*/ 354 w 738"/>
                <a:gd name="T63" fmla="*/ 200 h 766"/>
                <a:gd name="T64" fmla="*/ 267 w 738"/>
                <a:gd name="T65" fmla="*/ 230 h 766"/>
                <a:gd name="T66" fmla="*/ 248 w 738"/>
                <a:gd name="T67" fmla="*/ 242 h 766"/>
                <a:gd name="T68" fmla="*/ 256 w 738"/>
                <a:gd name="T69" fmla="*/ 336 h 766"/>
                <a:gd name="T70" fmla="*/ 248 w 738"/>
                <a:gd name="T71" fmla="*/ 242 h 766"/>
                <a:gd name="T72" fmla="*/ 188 w 738"/>
                <a:gd name="T73" fmla="*/ 340 h 766"/>
                <a:gd name="T74" fmla="*/ 246 w 738"/>
                <a:gd name="T75" fmla="*/ 383 h 766"/>
                <a:gd name="T76" fmla="*/ 190 w 738"/>
                <a:gd name="T77" fmla="*/ 434 h 766"/>
                <a:gd name="T78" fmla="*/ 198 w 738"/>
                <a:gd name="T79" fmla="*/ 454 h 766"/>
                <a:gd name="T80" fmla="*/ 255 w 738"/>
                <a:gd name="T81" fmla="*/ 528 h 766"/>
                <a:gd name="T82" fmla="*/ 313 w 738"/>
                <a:gd name="T83" fmla="*/ 491 h 766"/>
                <a:gd name="T84" fmla="*/ 273 w 738"/>
                <a:gd name="T85" fmla="*/ 541 h 766"/>
                <a:gd name="T86" fmla="*/ 364 w 738"/>
                <a:gd name="T87" fmla="*/ 331 h 766"/>
                <a:gd name="T88" fmla="*/ 384 w 738"/>
                <a:gd name="T89" fmla="*/ 566 h 766"/>
                <a:gd name="T90" fmla="*/ 470 w 738"/>
                <a:gd name="T91" fmla="*/ 535 h 766"/>
                <a:gd name="T92" fmla="*/ 452 w 738"/>
                <a:gd name="T93" fmla="*/ 467 h 766"/>
                <a:gd name="T94" fmla="*/ 488 w 738"/>
                <a:gd name="T95" fmla="*/ 521 h 766"/>
                <a:gd name="T96" fmla="*/ 487 w 738"/>
                <a:gd name="T97" fmla="*/ 383 h 766"/>
                <a:gd name="T98" fmla="*/ 549 w 738"/>
                <a:gd name="T99" fmla="*/ 383 h 7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738" h="766">
                  <a:moveTo>
                    <a:pt x="724" y="472"/>
                  </a:moveTo>
                  <a:cubicBezTo>
                    <a:pt x="724" y="472"/>
                    <a:pt x="724" y="472"/>
                    <a:pt x="627" y="441"/>
                  </a:cubicBezTo>
                  <a:cubicBezTo>
                    <a:pt x="622" y="439"/>
                    <a:pt x="617" y="440"/>
                    <a:pt x="613" y="443"/>
                  </a:cubicBezTo>
                  <a:cubicBezTo>
                    <a:pt x="613" y="443"/>
                    <a:pt x="613" y="443"/>
                    <a:pt x="612" y="443"/>
                  </a:cubicBezTo>
                  <a:cubicBezTo>
                    <a:pt x="617" y="424"/>
                    <a:pt x="619" y="404"/>
                    <a:pt x="619" y="383"/>
                  </a:cubicBezTo>
                  <a:cubicBezTo>
                    <a:pt x="619" y="359"/>
                    <a:pt x="616" y="337"/>
                    <a:pt x="610" y="315"/>
                  </a:cubicBezTo>
                  <a:cubicBezTo>
                    <a:pt x="614" y="318"/>
                    <a:pt x="619" y="319"/>
                    <a:pt x="625" y="318"/>
                  </a:cubicBezTo>
                  <a:cubicBezTo>
                    <a:pt x="625" y="318"/>
                    <a:pt x="625" y="318"/>
                    <a:pt x="722" y="286"/>
                  </a:cubicBezTo>
                  <a:cubicBezTo>
                    <a:pt x="731" y="283"/>
                    <a:pt x="735" y="273"/>
                    <a:pt x="732" y="264"/>
                  </a:cubicBezTo>
                  <a:cubicBezTo>
                    <a:pt x="732" y="264"/>
                    <a:pt x="732" y="264"/>
                    <a:pt x="730" y="258"/>
                  </a:cubicBezTo>
                  <a:cubicBezTo>
                    <a:pt x="727" y="248"/>
                    <a:pt x="717" y="243"/>
                    <a:pt x="709" y="246"/>
                  </a:cubicBezTo>
                  <a:cubicBezTo>
                    <a:pt x="709" y="246"/>
                    <a:pt x="709" y="246"/>
                    <a:pt x="612" y="277"/>
                  </a:cubicBezTo>
                  <a:cubicBezTo>
                    <a:pt x="606" y="279"/>
                    <a:pt x="603" y="283"/>
                    <a:pt x="601" y="288"/>
                  </a:cubicBezTo>
                  <a:cubicBezTo>
                    <a:pt x="601" y="288"/>
                    <a:pt x="601" y="288"/>
                    <a:pt x="601" y="288"/>
                  </a:cubicBezTo>
                  <a:cubicBezTo>
                    <a:pt x="585" y="248"/>
                    <a:pt x="558" y="213"/>
                    <a:pt x="526" y="186"/>
                  </a:cubicBezTo>
                  <a:cubicBezTo>
                    <a:pt x="530" y="186"/>
                    <a:pt x="535" y="183"/>
                    <a:pt x="538" y="179"/>
                  </a:cubicBezTo>
                  <a:cubicBezTo>
                    <a:pt x="538" y="179"/>
                    <a:pt x="538" y="179"/>
                    <a:pt x="598" y="97"/>
                  </a:cubicBezTo>
                  <a:cubicBezTo>
                    <a:pt x="603" y="89"/>
                    <a:pt x="601" y="78"/>
                    <a:pt x="593" y="72"/>
                  </a:cubicBezTo>
                  <a:cubicBezTo>
                    <a:pt x="593" y="72"/>
                    <a:pt x="593" y="72"/>
                    <a:pt x="587" y="69"/>
                  </a:cubicBezTo>
                  <a:cubicBezTo>
                    <a:pt x="580" y="63"/>
                    <a:pt x="569" y="64"/>
                    <a:pt x="563" y="72"/>
                  </a:cubicBezTo>
                  <a:cubicBezTo>
                    <a:pt x="563" y="72"/>
                    <a:pt x="563" y="72"/>
                    <a:pt x="504" y="155"/>
                  </a:cubicBezTo>
                  <a:cubicBezTo>
                    <a:pt x="501" y="159"/>
                    <a:pt x="500" y="164"/>
                    <a:pt x="501" y="168"/>
                  </a:cubicBezTo>
                  <a:cubicBezTo>
                    <a:pt x="466" y="146"/>
                    <a:pt x="425" y="133"/>
                    <a:pt x="381" y="130"/>
                  </a:cubicBezTo>
                  <a:cubicBezTo>
                    <a:pt x="384" y="127"/>
                    <a:pt x="386" y="123"/>
                    <a:pt x="386" y="119"/>
                  </a:cubicBezTo>
                  <a:cubicBezTo>
                    <a:pt x="386" y="119"/>
                    <a:pt x="386" y="119"/>
                    <a:pt x="386" y="17"/>
                  </a:cubicBezTo>
                  <a:cubicBezTo>
                    <a:pt x="386" y="7"/>
                    <a:pt x="378" y="0"/>
                    <a:pt x="368" y="0"/>
                  </a:cubicBezTo>
                  <a:cubicBezTo>
                    <a:pt x="368" y="0"/>
                    <a:pt x="368" y="0"/>
                    <a:pt x="361" y="0"/>
                  </a:cubicBezTo>
                  <a:cubicBezTo>
                    <a:pt x="351" y="0"/>
                    <a:pt x="344" y="7"/>
                    <a:pt x="344" y="17"/>
                  </a:cubicBezTo>
                  <a:cubicBezTo>
                    <a:pt x="344" y="17"/>
                    <a:pt x="344" y="17"/>
                    <a:pt x="344" y="119"/>
                  </a:cubicBezTo>
                  <a:cubicBezTo>
                    <a:pt x="344" y="123"/>
                    <a:pt x="345" y="127"/>
                    <a:pt x="348" y="130"/>
                  </a:cubicBezTo>
                  <a:cubicBezTo>
                    <a:pt x="305" y="133"/>
                    <a:pt x="265" y="147"/>
                    <a:pt x="230" y="169"/>
                  </a:cubicBezTo>
                  <a:cubicBezTo>
                    <a:pt x="230" y="166"/>
                    <a:pt x="230" y="162"/>
                    <a:pt x="228" y="160"/>
                  </a:cubicBezTo>
                  <a:cubicBezTo>
                    <a:pt x="228" y="160"/>
                    <a:pt x="228" y="160"/>
                    <a:pt x="168" y="77"/>
                  </a:cubicBezTo>
                  <a:cubicBezTo>
                    <a:pt x="162" y="69"/>
                    <a:pt x="151" y="68"/>
                    <a:pt x="143" y="74"/>
                  </a:cubicBezTo>
                  <a:cubicBezTo>
                    <a:pt x="143" y="74"/>
                    <a:pt x="143" y="74"/>
                    <a:pt x="138" y="78"/>
                  </a:cubicBezTo>
                  <a:cubicBezTo>
                    <a:pt x="130" y="83"/>
                    <a:pt x="128" y="94"/>
                    <a:pt x="133" y="102"/>
                  </a:cubicBezTo>
                  <a:cubicBezTo>
                    <a:pt x="133" y="102"/>
                    <a:pt x="133" y="102"/>
                    <a:pt x="193" y="184"/>
                  </a:cubicBezTo>
                  <a:cubicBezTo>
                    <a:pt x="196" y="187"/>
                    <a:pt x="198" y="189"/>
                    <a:pt x="202" y="190"/>
                  </a:cubicBezTo>
                  <a:cubicBezTo>
                    <a:pt x="170" y="217"/>
                    <a:pt x="146" y="251"/>
                    <a:pt x="131" y="290"/>
                  </a:cubicBezTo>
                  <a:cubicBezTo>
                    <a:pt x="129" y="288"/>
                    <a:pt x="126" y="286"/>
                    <a:pt x="123" y="286"/>
                  </a:cubicBezTo>
                  <a:cubicBezTo>
                    <a:pt x="123" y="286"/>
                    <a:pt x="123" y="286"/>
                    <a:pt x="26" y="254"/>
                  </a:cubicBezTo>
                  <a:cubicBezTo>
                    <a:pt x="18" y="251"/>
                    <a:pt x="8" y="256"/>
                    <a:pt x="5" y="266"/>
                  </a:cubicBezTo>
                  <a:cubicBezTo>
                    <a:pt x="5" y="266"/>
                    <a:pt x="5" y="266"/>
                    <a:pt x="3" y="272"/>
                  </a:cubicBezTo>
                  <a:cubicBezTo>
                    <a:pt x="0" y="281"/>
                    <a:pt x="5" y="291"/>
                    <a:pt x="14" y="294"/>
                  </a:cubicBezTo>
                  <a:cubicBezTo>
                    <a:pt x="14" y="294"/>
                    <a:pt x="14" y="294"/>
                    <a:pt x="110" y="326"/>
                  </a:cubicBezTo>
                  <a:cubicBezTo>
                    <a:pt x="113" y="327"/>
                    <a:pt x="117" y="327"/>
                    <a:pt x="119" y="326"/>
                  </a:cubicBezTo>
                  <a:cubicBezTo>
                    <a:pt x="116" y="344"/>
                    <a:pt x="113" y="363"/>
                    <a:pt x="113" y="383"/>
                  </a:cubicBezTo>
                  <a:cubicBezTo>
                    <a:pt x="113" y="406"/>
                    <a:pt x="116" y="427"/>
                    <a:pt x="122" y="448"/>
                  </a:cubicBezTo>
                  <a:cubicBezTo>
                    <a:pt x="119" y="448"/>
                    <a:pt x="116" y="448"/>
                    <a:pt x="113" y="449"/>
                  </a:cubicBezTo>
                  <a:cubicBezTo>
                    <a:pt x="113" y="449"/>
                    <a:pt x="113" y="449"/>
                    <a:pt x="16" y="480"/>
                  </a:cubicBezTo>
                  <a:cubicBezTo>
                    <a:pt x="7" y="483"/>
                    <a:pt x="3" y="493"/>
                    <a:pt x="6" y="503"/>
                  </a:cubicBezTo>
                  <a:cubicBezTo>
                    <a:pt x="6" y="503"/>
                    <a:pt x="6" y="503"/>
                    <a:pt x="8" y="509"/>
                  </a:cubicBezTo>
                  <a:cubicBezTo>
                    <a:pt x="11" y="518"/>
                    <a:pt x="20" y="524"/>
                    <a:pt x="29" y="521"/>
                  </a:cubicBezTo>
                  <a:cubicBezTo>
                    <a:pt x="29" y="521"/>
                    <a:pt x="29" y="521"/>
                    <a:pt x="126" y="489"/>
                  </a:cubicBezTo>
                  <a:cubicBezTo>
                    <a:pt x="129" y="488"/>
                    <a:pt x="132" y="486"/>
                    <a:pt x="134" y="483"/>
                  </a:cubicBezTo>
                  <a:cubicBezTo>
                    <a:pt x="150" y="522"/>
                    <a:pt x="176" y="555"/>
                    <a:pt x="208" y="581"/>
                  </a:cubicBezTo>
                  <a:cubicBezTo>
                    <a:pt x="205" y="582"/>
                    <a:pt x="202" y="584"/>
                    <a:pt x="200" y="587"/>
                  </a:cubicBezTo>
                  <a:cubicBezTo>
                    <a:pt x="200" y="587"/>
                    <a:pt x="200" y="587"/>
                    <a:pt x="140" y="670"/>
                  </a:cubicBezTo>
                  <a:cubicBezTo>
                    <a:pt x="135" y="677"/>
                    <a:pt x="137" y="688"/>
                    <a:pt x="145" y="694"/>
                  </a:cubicBezTo>
                  <a:cubicBezTo>
                    <a:pt x="145" y="694"/>
                    <a:pt x="145" y="694"/>
                    <a:pt x="150" y="697"/>
                  </a:cubicBezTo>
                  <a:cubicBezTo>
                    <a:pt x="158" y="703"/>
                    <a:pt x="169" y="702"/>
                    <a:pt x="174" y="694"/>
                  </a:cubicBezTo>
                  <a:cubicBezTo>
                    <a:pt x="174" y="694"/>
                    <a:pt x="174" y="694"/>
                    <a:pt x="234" y="612"/>
                  </a:cubicBezTo>
                  <a:cubicBezTo>
                    <a:pt x="237" y="609"/>
                    <a:pt x="238" y="605"/>
                    <a:pt x="237" y="601"/>
                  </a:cubicBezTo>
                  <a:cubicBezTo>
                    <a:pt x="272" y="622"/>
                    <a:pt x="313" y="635"/>
                    <a:pt x="356" y="637"/>
                  </a:cubicBezTo>
                  <a:cubicBezTo>
                    <a:pt x="354" y="640"/>
                    <a:pt x="352" y="643"/>
                    <a:pt x="352" y="647"/>
                  </a:cubicBezTo>
                  <a:cubicBezTo>
                    <a:pt x="352" y="647"/>
                    <a:pt x="352" y="647"/>
                    <a:pt x="352" y="749"/>
                  </a:cubicBezTo>
                  <a:cubicBezTo>
                    <a:pt x="352" y="759"/>
                    <a:pt x="360" y="766"/>
                    <a:pt x="370" y="766"/>
                  </a:cubicBezTo>
                  <a:cubicBezTo>
                    <a:pt x="370" y="766"/>
                    <a:pt x="370" y="766"/>
                    <a:pt x="376" y="766"/>
                  </a:cubicBezTo>
                  <a:cubicBezTo>
                    <a:pt x="386" y="766"/>
                    <a:pt x="394" y="759"/>
                    <a:pt x="394" y="749"/>
                  </a:cubicBezTo>
                  <a:cubicBezTo>
                    <a:pt x="394" y="749"/>
                    <a:pt x="394" y="749"/>
                    <a:pt x="394" y="647"/>
                  </a:cubicBezTo>
                  <a:cubicBezTo>
                    <a:pt x="394" y="643"/>
                    <a:pt x="392" y="639"/>
                    <a:pt x="389" y="636"/>
                  </a:cubicBezTo>
                  <a:cubicBezTo>
                    <a:pt x="433" y="632"/>
                    <a:pt x="473" y="617"/>
                    <a:pt x="508" y="593"/>
                  </a:cubicBezTo>
                  <a:cubicBezTo>
                    <a:pt x="507" y="598"/>
                    <a:pt x="508" y="603"/>
                    <a:pt x="511" y="607"/>
                  </a:cubicBezTo>
                  <a:cubicBezTo>
                    <a:pt x="511" y="607"/>
                    <a:pt x="511" y="607"/>
                    <a:pt x="570" y="689"/>
                  </a:cubicBezTo>
                  <a:cubicBezTo>
                    <a:pt x="576" y="697"/>
                    <a:pt x="586" y="698"/>
                    <a:pt x="594" y="692"/>
                  </a:cubicBezTo>
                  <a:cubicBezTo>
                    <a:pt x="594" y="692"/>
                    <a:pt x="594" y="692"/>
                    <a:pt x="600" y="688"/>
                  </a:cubicBezTo>
                  <a:cubicBezTo>
                    <a:pt x="608" y="683"/>
                    <a:pt x="610" y="672"/>
                    <a:pt x="604" y="665"/>
                  </a:cubicBezTo>
                  <a:cubicBezTo>
                    <a:pt x="604" y="665"/>
                    <a:pt x="604" y="665"/>
                    <a:pt x="544" y="582"/>
                  </a:cubicBezTo>
                  <a:cubicBezTo>
                    <a:pt x="541" y="578"/>
                    <a:pt x="536" y="575"/>
                    <a:pt x="531" y="575"/>
                  </a:cubicBezTo>
                  <a:cubicBezTo>
                    <a:pt x="564" y="547"/>
                    <a:pt x="589" y="511"/>
                    <a:pt x="604" y="470"/>
                  </a:cubicBezTo>
                  <a:cubicBezTo>
                    <a:pt x="605" y="475"/>
                    <a:pt x="609" y="479"/>
                    <a:pt x="614" y="481"/>
                  </a:cubicBezTo>
                  <a:cubicBezTo>
                    <a:pt x="614" y="481"/>
                    <a:pt x="614" y="481"/>
                    <a:pt x="711" y="512"/>
                  </a:cubicBezTo>
                  <a:cubicBezTo>
                    <a:pt x="720" y="515"/>
                    <a:pt x="730" y="510"/>
                    <a:pt x="733" y="501"/>
                  </a:cubicBezTo>
                  <a:cubicBezTo>
                    <a:pt x="733" y="501"/>
                    <a:pt x="733" y="501"/>
                    <a:pt x="735" y="494"/>
                  </a:cubicBezTo>
                  <a:cubicBezTo>
                    <a:pt x="738" y="485"/>
                    <a:pt x="733" y="475"/>
                    <a:pt x="724" y="472"/>
                  </a:cubicBezTo>
                  <a:close/>
                  <a:moveTo>
                    <a:pt x="536" y="313"/>
                  </a:moveTo>
                  <a:cubicBezTo>
                    <a:pt x="536" y="313"/>
                    <a:pt x="536" y="313"/>
                    <a:pt x="474" y="330"/>
                  </a:cubicBezTo>
                  <a:cubicBezTo>
                    <a:pt x="467" y="316"/>
                    <a:pt x="457" y="304"/>
                    <a:pt x="446" y="294"/>
                  </a:cubicBezTo>
                  <a:cubicBezTo>
                    <a:pt x="446" y="294"/>
                    <a:pt x="446" y="294"/>
                    <a:pt x="482" y="240"/>
                  </a:cubicBezTo>
                  <a:cubicBezTo>
                    <a:pt x="505" y="259"/>
                    <a:pt x="524" y="284"/>
                    <a:pt x="536" y="313"/>
                  </a:cubicBezTo>
                  <a:close/>
                  <a:moveTo>
                    <a:pt x="463" y="227"/>
                  </a:moveTo>
                  <a:cubicBezTo>
                    <a:pt x="463" y="227"/>
                    <a:pt x="463" y="227"/>
                    <a:pt x="423" y="277"/>
                  </a:cubicBezTo>
                  <a:cubicBezTo>
                    <a:pt x="410" y="270"/>
                    <a:pt x="395" y="265"/>
                    <a:pt x="378" y="264"/>
                  </a:cubicBezTo>
                  <a:cubicBezTo>
                    <a:pt x="378" y="264"/>
                    <a:pt x="378" y="264"/>
                    <a:pt x="376" y="200"/>
                  </a:cubicBezTo>
                  <a:cubicBezTo>
                    <a:pt x="408" y="201"/>
                    <a:pt x="438" y="211"/>
                    <a:pt x="463" y="227"/>
                  </a:cubicBezTo>
                  <a:close/>
                  <a:moveTo>
                    <a:pt x="354" y="200"/>
                  </a:moveTo>
                  <a:cubicBezTo>
                    <a:pt x="354" y="200"/>
                    <a:pt x="354" y="200"/>
                    <a:pt x="351" y="264"/>
                  </a:cubicBezTo>
                  <a:cubicBezTo>
                    <a:pt x="334" y="266"/>
                    <a:pt x="319" y="272"/>
                    <a:pt x="306" y="279"/>
                  </a:cubicBezTo>
                  <a:cubicBezTo>
                    <a:pt x="306" y="279"/>
                    <a:pt x="306" y="279"/>
                    <a:pt x="267" y="230"/>
                  </a:cubicBezTo>
                  <a:cubicBezTo>
                    <a:pt x="267" y="230"/>
                    <a:pt x="267" y="230"/>
                    <a:pt x="266" y="229"/>
                  </a:cubicBezTo>
                  <a:cubicBezTo>
                    <a:pt x="292" y="213"/>
                    <a:pt x="322" y="202"/>
                    <a:pt x="354" y="200"/>
                  </a:cubicBezTo>
                  <a:close/>
                  <a:moveTo>
                    <a:pt x="248" y="242"/>
                  </a:moveTo>
                  <a:cubicBezTo>
                    <a:pt x="248" y="242"/>
                    <a:pt x="248" y="242"/>
                    <a:pt x="249" y="243"/>
                  </a:cubicBezTo>
                  <a:cubicBezTo>
                    <a:pt x="249" y="243"/>
                    <a:pt x="249" y="243"/>
                    <a:pt x="283" y="296"/>
                  </a:cubicBezTo>
                  <a:cubicBezTo>
                    <a:pt x="272" y="308"/>
                    <a:pt x="262" y="321"/>
                    <a:pt x="256" y="336"/>
                  </a:cubicBezTo>
                  <a:cubicBezTo>
                    <a:pt x="256" y="336"/>
                    <a:pt x="256" y="336"/>
                    <a:pt x="196" y="320"/>
                  </a:cubicBezTo>
                  <a:cubicBezTo>
                    <a:pt x="196" y="320"/>
                    <a:pt x="196" y="320"/>
                    <a:pt x="195" y="319"/>
                  </a:cubicBezTo>
                  <a:cubicBezTo>
                    <a:pt x="206" y="289"/>
                    <a:pt x="224" y="263"/>
                    <a:pt x="248" y="242"/>
                  </a:cubicBezTo>
                  <a:close/>
                  <a:moveTo>
                    <a:pt x="190" y="434"/>
                  </a:moveTo>
                  <a:cubicBezTo>
                    <a:pt x="186" y="418"/>
                    <a:pt x="183" y="401"/>
                    <a:pt x="183" y="383"/>
                  </a:cubicBezTo>
                  <a:cubicBezTo>
                    <a:pt x="183" y="368"/>
                    <a:pt x="184" y="354"/>
                    <a:pt x="188" y="340"/>
                  </a:cubicBezTo>
                  <a:cubicBezTo>
                    <a:pt x="188" y="340"/>
                    <a:pt x="188" y="340"/>
                    <a:pt x="189" y="340"/>
                  </a:cubicBezTo>
                  <a:cubicBezTo>
                    <a:pt x="189" y="340"/>
                    <a:pt x="189" y="340"/>
                    <a:pt x="248" y="363"/>
                  </a:cubicBezTo>
                  <a:cubicBezTo>
                    <a:pt x="247" y="369"/>
                    <a:pt x="246" y="376"/>
                    <a:pt x="246" y="383"/>
                  </a:cubicBezTo>
                  <a:cubicBezTo>
                    <a:pt x="246" y="393"/>
                    <a:pt x="248" y="403"/>
                    <a:pt x="250" y="412"/>
                  </a:cubicBezTo>
                  <a:cubicBezTo>
                    <a:pt x="250" y="412"/>
                    <a:pt x="250" y="412"/>
                    <a:pt x="192" y="433"/>
                  </a:cubicBezTo>
                  <a:cubicBezTo>
                    <a:pt x="192" y="433"/>
                    <a:pt x="192" y="433"/>
                    <a:pt x="190" y="434"/>
                  </a:cubicBezTo>
                  <a:close/>
                  <a:moveTo>
                    <a:pt x="255" y="529"/>
                  </a:moveTo>
                  <a:cubicBezTo>
                    <a:pt x="230" y="510"/>
                    <a:pt x="210" y="484"/>
                    <a:pt x="197" y="455"/>
                  </a:cubicBezTo>
                  <a:cubicBezTo>
                    <a:pt x="197" y="455"/>
                    <a:pt x="197" y="455"/>
                    <a:pt x="198" y="454"/>
                  </a:cubicBezTo>
                  <a:cubicBezTo>
                    <a:pt x="198" y="454"/>
                    <a:pt x="198" y="454"/>
                    <a:pt x="260" y="438"/>
                  </a:cubicBezTo>
                  <a:cubicBezTo>
                    <a:pt x="267" y="452"/>
                    <a:pt x="277" y="465"/>
                    <a:pt x="290" y="476"/>
                  </a:cubicBezTo>
                  <a:cubicBezTo>
                    <a:pt x="290" y="476"/>
                    <a:pt x="290" y="476"/>
                    <a:pt x="255" y="528"/>
                  </a:cubicBezTo>
                  <a:lnTo>
                    <a:pt x="255" y="529"/>
                  </a:lnTo>
                  <a:close/>
                  <a:moveTo>
                    <a:pt x="273" y="541"/>
                  </a:moveTo>
                  <a:cubicBezTo>
                    <a:pt x="273" y="541"/>
                    <a:pt x="273" y="541"/>
                    <a:pt x="313" y="491"/>
                  </a:cubicBezTo>
                  <a:cubicBezTo>
                    <a:pt x="327" y="498"/>
                    <a:pt x="343" y="502"/>
                    <a:pt x="359" y="503"/>
                  </a:cubicBezTo>
                  <a:cubicBezTo>
                    <a:pt x="359" y="503"/>
                    <a:pt x="359" y="503"/>
                    <a:pt x="362" y="567"/>
                  </a:cubicBezTo>
                  <a:cubicBezTo>
                    <a:pt x="329" y="566"/>
                    <a:pt x="299" y="557"/>
                    <a:pt x="273" y="541"/>
                  </a:cubicBezTo>
                  <a:close/>
                  <a:moveTo>
                    <a:pt x="364" y="437"/>
                  </a:moveTo>
                  <a:cubicBezTo>
                    <a:pt x="335" y="437"/>
                    <a:pt x="311" y="413"/>
                    <a:pt x="311" y="384"/>
                  </a:cubicBezTo>
                  <a:cubicBezTo>
                    <a:pt x="311" y="355"/>
                    <a:pt x="335" y="331"/>
                    <a:pt x="364" y="331"/>
                  </a:cubicBezTo>
                  <a:cubicBezTo>
                    <a:pt x="393" y="331"/>
                    <a:pt x="417" y="355"/>
                    <a:pt x="417" y="384"/>
                  </a:cubicBezTo>
                  <a:cubicBezTo>
                    <a:pt x="417" y="413"/>
                    <a:pt x="393" y="437"/>
                    <a:pt x="364" y="437"/>
                  </a:cubicBezTo>
                  <a:close/>
                  <a:moveTo>
                    <a:pt x="384" y="566"/>
                  </a:moveTo>
                  <a:cubicBezTo>
                    <a:pt x="384" y="566"/>
                    <a:pt x="384" y="566"/>
                    <a:pt x="387" y="501"/>
                  </a:cubicBezTo>
                  <a:cubicBezTo>
                    <a:pt x="403" y="499"/>
                    <a:pt x="417" y="493"/>
                    <a:pt x="430" y="485"/>
                  </a:cubicBezTo>
                  <a:cubicBezTo>
                    <a:pt x="430" y="485"/>
                    <a:pt x="430" y="485"/>
                    <a:pt x="470" y="535"/>
                  </a:cubicBezTo>
                  <a:cubicBezTo>
                    <a:pt x="445" y="552"/>
                    <a:pt x="415" y="563"/>
                    <a:pt x="384" y="566"/>
                  </a:cubicBezTo>
                  <a:close/>
                  <a:moveTo>
                    <a:pt x="488" y="521"/>
                  </a:moveTo>
                  <a:cubicBezTo>
                    <a:pt x="488" y="521"/>
                    <a:pt x="488" y="521"/>
                    <a:pt x="452" y="467"/>
                  </a:cubicBezTo>
                  <a:cubicBezTo>
                    <a:pt x="463" y="456"/>
                    <a:pt x="471" y="443"/>
                    <a:pt x="478" y="429"/>
                  </a:cubicBezTo>
                  <a:cubicBezTo>
                    <a:pt x="478" y="429"/>
                    <a:pt x="478" y="429"/>
                    <a:pt x="539" y="446"/>
                  </a:cubicBezTo>
                  <a:cubicBezTo>
                    <a:pt x="528" y="475"/>
                    <a:pt x="511" y="501"/>
                    <a:pt x="488" y="521"/>
                  </a:cubicBezTo>
                  <a:close/>
                  <a:moveTo>
                    <a:pt x="545" y="425"/>
                  </a:moveTo>
                  <a:cubicBezTo>
                    <a:pt x="545" y="425"/>
                    <a:pt x="545" y="425"/>
                    <a:pt x="485" y="402"/>
                  </a:cubicBezTo>
                  <a:cubicBezTo>
                    <a:pt x="486" y="395"/>
                    <a:pt x="487" y="389"/>
                    <a:pt x="487" y="383"/>
                  </a:cubicBezTo>
                  <a:cubicBezTo>
                    <a:pt x="487" y="374"/>
                    <a:pt x="485" y="365"/>
                    <a:pt x="483" y="357"/>
                  </a:cubicBezTo>
                  <a:cubicBezTo>
                    <a:pt x="483" y="357"/>
                    <a:pt x="483" y="357"/>
                    <a:pt x="543" y="334"/>
                  </a:cubicBezTo>
                  <a:cubicBezTo>
                    <a:pt x="547" y="350"/>
                    <a:pt x="549" y="366"/>
                    <a:pt x="549" y="383"/>
                  </a:cubicBezTo>
                  <a:cubicBezTo>
                    <a:pt x="549" y="397"/>
                    <a:pt x="548" y="411"/>
                    <a:pt x="545" y="42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9" name="Group 65">
            <a:extLst>
              <a:ext uri="{FF2B5EF4-FFF2-40B4-BE49-F238E27FC236}">
                <a16:creationId xmlns:a16="http://schemas.microsoft.com/office/drawing/2014/main" id="{600B347A-1DA0-4080-B014-49CB8CEC5E12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2538890" y="2728088"/>
            <a:ext cx="456178" cy="457200"/>
            <a:chOff x="4374" y="1589"/>
            <a:chExt cx="446" cy="447"/>
          </a:xfrm>
        </p:grpSpPr>
        <p:sp>
          <p:nvSpPr>
            <p:cNvPr id="30" name="AutoShape 64">
              <a:extLst>
                <a:ext uri="{FF2B5EF4-FFF2-40B4-BE49-F238E27FC236}">
                  <a16:creationId xmlns:a16="http://schemas.microsoft.com/office/drawing/2014/main" id="{46AFF5BF-5A16-498E-9D84-CD057945826D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4374" y="1589"/>
              <a:ext cx="446" cy="44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" name="Freeform 66">
              <a:extLst>
                <a:ext uri="{FF2B5EF4-FFF2-40B4-BE49-F238E27FC236}">
                  <a16:creationId xmlns:a16="http://schemas.microsoft.com/office/drawing/2014/main" id="{689C140E-1138-4D1C-97A8-BDE62F72831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414" y="1697"/>
              <a:ext cx="366" cy="233"/>
            </a:xfrm>
            <a:custGeom>
              <a:avLst/>
              <a:gdLst>
                <a:gd name="T0" fmla="*/ 383 w 834"/>
                <a:gd name="T1" fmla="*/ 416 h 530"/>
                <a:gd name="T2" fmla="*/ 344 w 834"/>
                <a:gd name="T3" fmla="*/ 400 h 530"/>
                <a:gd name="T4" fmla="*/ 278 w 834"/>
                <a:gd name="T5" fmla="*/ 310 h 530"/>
                <a:gd name="T6" fmla="*/ 344 w 834"/>
                <a:gd name="T7" fmla="*/ 221 h 530"/>
                <a:gd name="T8" fmla="*/ 424 w 834"/>
                <a:gd name="T9" fmla="*/ 222 h 530"/>
                <a:gd name="T10" fmla="*/ 440 w 834"/>
                <a:gd name="T11" fmla="*/ 254 h 530"/>
                <a:gd name="T12" fmla="*/ 332 w 834"/>
                <a:gd name="T13" fmla="*/ 0 h 530"/>
                <a:gd name="T14" fmla="*/ 143 w 834"/>
                <a:gd name="T15" fmla="*/ 205 h 530"/>
                <a:gd name="T16" fmla="*/ 0 w 834"/>
                <a:gd name="T17" fmla="*/ 370 h 530"/>
                <a:gd name="T18" fmla="*/ 1 w 834"/>
                <a:gd name="T19" fmla="*/ 382 h 530"/>
                <a:gd name="T20" fmla="*/ 1 w 834"/>
                <a:gd name="T21" fmla="*/ 389 h 530"/>
                <a:gd name="T22" fmla="*/ 1 w 834"/>
                <a:gd name="T23" fmla="*/ 390 h 530"/>
                <a:gd name="T24" fmla="*/ 2 w 834"/>
                <a:gd name="T25" fmla="*/ 394 h 530"/>
                <a:gd name="T26" fmla="*/ 6 w 834"/>
                <a:gd name="T27" fmla="*/ 414 h 530"/>
                <a:gd name="T28" fmla="*/ 6 w 834"/>
                <a:gd name="T29" fmla="*/ 414 h 530"/>
                <a:gd name="T30" fmla="*/ 440 w 834"/>
                <a:gd name="T31" fmla="*/ 530 h 530"/>
                <a:gd name="T32" fmla="*/ 439 w 834"/>
                <a:gd name="T33" fmla="*/ 366 h 530"/>
                <a:gd name="T34" fmla="*/ 419 w 834"/>
                <a:gd name="T35" fmla="*/ 298 h 530"/>
                <a:gd name="T36" fmla="*/ 392 w 834"/>
                <a:gd name="T37" fmla="*/ 269 h 530"/>
                <a:gd name="T38" fmla="*/ 392 w 834"/>
                <a:gd name="T39" fmla="*/ 252 h 530"/>
                <a:gd name="T40" fmla="*/ 325 w 834"/>
                <a:gd name="T41" fmla="*/ 302 h 530"/>
                <a:gd name="T42" fmla="*/ 322 w 834"/>
                <a:gd name="T43" fmla="*/ 310 h 530"/>
                <a:gd name="T44" fmla="*/ 375 w 834"/>
                <a:gd name="T45" fmla="*/ 369 h 530"/>
                <a:gd name="T46" fmla="*/ 392 w 834"/>
                <a:gd name="T47" fmla="*/ 352 h 530"/>
                <a:gd name="T48" fmla="*/ 419 w 834"/>
                <a:gd name="T49" fmla="*/ 322 h 530"/>
                <a:gd name="T50" fmla="*/ 593 w 834"/>
                <a:gd name="T51" fmla="*/ 322 h 530"/>
                <a:gd name="T52" fmla="*/ 564 w 834"/>
                <a:gd name="T53" fmla="*/ 369 h 530"/>
                <a:gd name="T54" fmla="*/ 628 w 834"/>
                <a:gd name="T55" fmla="*/ 320 h 530"/>
                <a:gd name="T56" fmla="*/ 633 w 834"/>
                <a:gd name="T57" fmla="*/ 310 h 530"/>
                <a:gd name="T58" fmla="*/ 579 w 834"/>
                <a:gd name="T59" fmla="*/ 252 h 530"/>
                <a:gd name="T60" fmla="*/ 560 w 834"/>
                <a:gd name="T61" fmla="*/ 261 h 530"/>
                <a:gd name="T62" fmla="*/ 593 w 834"/>
                <a:gd name="T63" fmla="*/ 298 h 530"/>
                <a:gd name="T64" fmla="*/ 419 w 834"/>
                <a:gd name="T65" fmla="*/ 298 h 530"/>
                <a:gd name="T66" fmla="*/ 638 w 834"/>
                <a:gd name="T67" fmla="*/ 248 h 530"/>
                <a:gd name="T68" fmla="*/ 674 w 834"/>
                <a:gd name="T69" fmla="*/ 293 h 530"/>
                <a:gd name="T70" fmla="*/ 763 w 834"/>
                <a:gd name="T71" fmla="*/ 305 h 530"/>
                <a:gd name="T72" fmla="*/ 677 w 834"/>
                <a:gd name="T73" fmla="*/ 317 h 530"/>
                <a:gd name="T74" fmla="*/ 644 w 834"/>
                <a:gd name="T75" fmla="*/ 366 h 530"/>
                <a:gd name="T76" fmla="*/ 834 w 834"/>
                <a:gd name="T77" fmla="*/ 361 h 530"/>
                <a:gd name="T78" fmla="*/ 828 w 834"/>
                <a:gd name="T79" fmla="*/ 248 h 530"/>
                <a:gd name="T80" fmla="*/ 595 w 834"/>
                <a:gd name="T81" fmla="*/ 411 h 530"/>
                <a:gd name="T82" fmla="*/ 548 w 834"/>
                <a:gd name="T83" fmla="*/ 411 h 530"/>
                <a:gd name="T84" fmla="*/ 484 w 834"/>
                <a:gd name="T85" fmla="*/ 416 h 530"/>
                <a:gd name="T86" fmla="*/ 490 w 834"/>
                <a:gd name="T87" fmla="*/ 530 h 530"/>
                <a:gd name="T88" fmla="*/ 834 w 834"/>
                <a:gd name="T89" fmla="*/ 524 h 530"/>
                <a:gd name="T90" fmla="*/ 828 w 834"/>
                <a:gd name="T91" fmla="*/ 411 h 530"/>
                <a:gd name="T92" fmla="*/ 523 w 834"/>
                <a:gd name="T93" fmla="*/ 468 h 530"/>
                <a:gd name="T94" fmla="*/ 574 w 834"/>
                <a:gd name="T95" fmla="*/ 468 h 530"/>
                <a:gd name="T96" fmla="*/ 751 w 834"/>
                <a:gd name="T97" fmla="*/ 481 h 530"/>
                <a:gd name="T98" fmla="*/ 593 w 834"/>
                <a:gd name="T99" fmla="*/ 468 h 530"/>
                <a:gd name="T100" fmla="*/ 751 w 834"/>
                <a:gd name="T101" fmla="*/ 456 h 530"/>
                <a:gd name="T102" fmla="*/ 751 w 834"/>
                <a:gd name="T103" fmla="*/ 481 h 530"/>
                <a:gd name="T104" fmla="*/ 490 w 834"/>
                <a:gd name="T105" fmla="*/ 84 h 530"/>
                <a:gd name="T106" fmla="*/ 484 w 834"/>
                <a:gd name="T107" fmla="*/ 197 h 530"/>
                <a:gd name="T108" fmla="*/ 828 w 834"/>
                <a:gd name="T109" fmla="*/ 203 h 530"/>
                <a:gd name="T110" fmla="*/ 834 w 834"/>
                <a:gd name="T111" fmla="*/ 89 h 530"/>
                <a:gd name="T112" fmla="*/ 549 w 834"/>
                <a:gd name="T113" fmla="*/ 166 h 530"/>
                <a:gd name="T114" fmla="*/ 549 w 834"/>
                <a:gd name="T115" fmla="*/ 116 h 530"/>
                <a:gd name="T116" fmla="*/ 549 w 834"/>
                <a:gd name="T117" fmla="*/ 166 h 530"/>
                <a:gd name="T118" fmla="*/ 605 w 834"/>
                <a:gd name="T119" fmla="*/ 153 h 530"/>
                <a:gd name="T120" fmla="*/ 605 w 834"/>
                <a:gd name="T121" fmla="*/ 129 h 530"/>
                <a:gd name="T122" fmla="*/ 763 w 834"/>
                <a:gd name="T123" fmla="*/ 141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834" h="530">
                  <a:moveTo>
                    <a:pt x="422" y="400"/>
                  </a:moveTo>
                  <a:cubicBezTo>
                    <a:pt x="411" y="410"/>
                    <a:pt x="398" y="416"/>
                    <a:pt x="383" y="416"/>
                  </a:cubicBezTo>
                  <a:cubicBezTo>
                    <a:pt x="369" y="416"/>
                    <a:pt x="355" y="411"/>
                    <a:pt x="345" y="401"/>
                  </a:cubicBezTo>
                  <a:cubicBezTo>
                    <a:pt x="344" y="400"/>
                    <a:pt x="344" y="400"/>
                    <a:pt x="344" y="400"/>
                  </a:cubicBezTo>
                  <a:cubicBezTo>
                    <a:pt x="298" y="353"/>
                    <a:pt x="298" y="353"/>
                    <a:pt x="298" y="353"/>
                  </a:cubicBezTo>
                  <a:cubicBezTo>
                    <a:pt x="285" y="342"/>
                    <a:pt x="278" y="327"/>
                    <a:pt x="278" y="310"/>
                  </a:cubicBezTo>
                  <a:cubicBezTo>
                    <a:pt x="278" y="295"/>
                    <a:pt x="284" y="281"/>
                    <a:pt x="294" y="270"/>
                  </a:cubicBezTo>
                  <a:cubicBezTo>
                    <a:pt x="344" y="221"/>
                    <a:pt x="344" y="221"/>
                    <a:pt x="344" y="221"/>
                  </a:cubicBezTo>
                  <a:cubicBezTo>
                    <a:pt x="355" y="211"/>
                    <a:pt x="369" y="205"/>
                    <a:pt x="384" y="205"/>
                  </a:cubicBezTo>
                  <a:cubicBezTo>
                    <a:pt x="399" y="205"/>
                    <a:pt x="414" y="211"/>
                    <a:pt x="424" y="222"/>
                  </a:cubicBezTo>
                  <a:cubicBezTo>
                    <a:pt x="433" y="231"/>
                    <a:pt x="438" y="242"/>
                    <a:pt x="439" y="254"/>
                  </a:cubicBezTo>
                  <a:cubicBezTo>
                    <a:pt x="440" y="254"/>
                    <a:pt x="440" y="254"/>
                    <a:pt x="440" y="254"/>
                  </a:cubicBezTo>
                  <a:cubicBezTo>
                    <a:pt x="440" y="33"/>
                    <a:pt x="440" y="33"/>
                    <a:pt x="440" y="33"/>
                  </a:cubicBezTo>
                  <a:cubicBezTo>
                    <a:pt x="410" y="12"/>
                    <a:pt x="372" y="0"/>
                    <a:pt x="332" y="0"/>
                  </a:cubicBezTo>
                  <a:cubicBezTo>
                    <a:pt x="228" y="0"/>
                    <a:pt x="142" y="84"/>
                    <a:pt x="142" y="188"/>
                  </a:cubicBezTo>
                  <a:cubicBezTo>
                    <a:pt x="142" y="194"/>
                    <a:pt x="143" y="199"/>
                    <a:pt x="143" y="205"/>
                  </a:cubicBezTo>
                  <a:cubicBezTo>
                    <a:pt x="143" y="206"/>
                    <a:pt x="143" y="207"/>
                    <a:pt x="143" y="207"/>
                  </a:cubicBezTo>
                  <a:cubicBezTo>
                    <a:pt x="62" y="219"/>
                    <a:pt x="0" y="287"/>
                    <a:pt x="0" y="370"/>
                  </a:cubicBezTo>
                  <a:cubicBezTo>
                    <a:pt x="0" y="374"/>
                    <a:pt x="0" y="377"/>
                    <a:pt x="0" y="380"/>
                  </a:cubicBezTo>
                  <a:cubicBezTo>
                    <a:pt x="0" y="381"/>
                    <a:pt x="1" y="381"/>
                    <a:pt x="1" y="382"/>
                  </a:cubicBezTo>
                  <a:cubicBezTo>
                    <a:pt x="1" y="384"/>
                    <a:pt x="1" y="384"/>
                    <a:pt x="1" y="384"/>
                  </a:cubicBezTo>
                  <a:cubicBezTo>
                    <a:pt x="1" y="386"/>
                    <a:pt x="1" y="388"/>
                    <a:pt x="1" y="389"/>
                  </a:cubicBezTo>
                  <a:cubicBezTo>
                    <a:pt x="1" y="390"/>
                    <a:pt x="1" y="390"/>
                    <a:pt x="1" y="390"/>
                  </a:cubicBezTo>
                  <a:cubicBezTo>
                    <a:pt x="1" y="390"/>
                    <a:pt x="1" y="390"/>
                    <a:pt x="1" y="390"/>
                  </a:cubicBezTo>
                  <a:cubicBezTo>
                    <a:pt x="1" y="392"/>
                    <a:pt x="1" y="393"/>
                    <a:pt x="2" y="394"/>
                  </a:cubicBezTo>
                  <a:cubicBezTo>
                    <a:pt x="2" y="394"/>
                    <a:pt x="2" y="394"/>
                    <a:pt x="2" y="394"/>
                  </a:cubicBezTo>
                  <a:cubicBezTo>
                    <a:pt x="2" y="395"/>
                    <a:pt x="2" y="395"/>
                    <a:pt x="2" y="395"/>
                  </a:cubicBezTo>
                  <a:cubicBezTo>
                    <a:pt x="3" y="402"/>
                    <a:pt x="4" y="408"/>
                    <a:pt x="6" y="414"/>
                  </a:cubicBezTo>
                  <a:cubicBezTo>
                    <a:pt x="6" y="414"/>
                    <a:pt x="6" y="414"/>
                    <a:pt x="6" y="414"/>
                  </a:cubicBezTo>
                  <a:cubicBezTo>
                    <a:pt x="6" y="414"/>
                    <a:pt x="6" y="414"/>
                    <a:pt x="6" y="414"/>
                  </a:cubicBezTo>
                  <a:cubicBezTo>
                    <a:pt x="21" y="470"/>
                    <a:pt x="66" y="514"/>
                    <a:pt x="122" y="530"/>
                  </a:cubicBezTo>
                  <a:cubicBezTo>
                    <a:pt x="440" y="530"/>
                    <a:pt x="440" y="530"/>
                    <a:pt x="440" y="530"/>
                  </a:cubicBezTo>
                  <a:cubicBezTo>
                    <a:pt x="440" y="366"/>
                    <a:pt x="440" y="366"/>
                    <a:pt x="440" y="366"/>
                  </a:cubicBezTo>
                  <a:cubicBezTo>
                    <a:pt x="439" y="366"/>
                    <a:pt x="439" y="366"/>
                    <a:pt x="439" y="366"/>
                  </a:cubicBezTo>
                  <a:cubicBezTo>
                    <a:pt x="437" y="379"/>
                    <a:pt x="431" y="391"/>
                    <a:pt x="422" y="400"/>
                  </a:cubicBezTo>
                  <a:close/>
                  <a:moveTo>
                    <a:pt x="419" y="298"/>
                  </a:moveTo>
                  <a:cubicBezTo>
                    <a:pt x="362" y="298"/>
                    <a:pt x="362" y="298"/>
                    <a:pt x="362" y="298"/>
                  </a:cubicBezTo>
                  <a:cubicBezTo>
                    <a:pt x="392" y="269"/>
                    <a:pt x="392" y="269"/>
                    <a:pt x="392" y="269"/>
                  </a:cubicBezTo>
                  <a:cubicBezTo>
                    <a:pt x="394" y="267"/>
                    <a:pt x="396" y="264"/>
                    <a:pt x="396" y="261"/>
                  </a:cubicBezTo>
                  <a:cubicBezTo>
                    <a:pt x="396" y="258"/>
                    <a:pt x="394" y="254"/>
                    <a:pt x="392" y="252"/>
                  </a:cubicBezTo>
                  <a:cubicBezTo>
                    <a:pt x="388" y="248"/>
                    <a:pt x="380" y="248"/>
                    <a:pt x="376" y="252"/>
                  </a:cubicBezTo>
                  <a:cubicBezTo>
                    <a:pt x="325" y="302"/>
                    <a:pt x="325" y="302"/>
                    <a:pt x="325" y="302"/>
                  </a:cubicBezTo>
                  <a:cubicBezTo>
                    <a:pt x="323" y="304"/>
                    <a:pt x="322" y="307"/>
                    <a:pt x="322" y="310"/>
                  </a:cubicBezTo>
                  <a:cubicBezTo>
                    <a:pt x="322" y="310"/>
                    <a:pt x="322" y="310"/>
                    <a:pt x="322" y="310"/>
                  </a:cubicBezTo>
                  <a:cubicBezTo>
                    <a:pt x="322" y="314"/>
                    <a:pt x="324" y="318"/>
                    <a:pt x="327" y="320"/>
                  </a:cubicBezTo>
                  <a:cubicBezTo>
                    <a:pt x="375" y="369"/>
                    <a:pt x="375" y="369"/>
                    <a:pt x="375" y="369"/>
                  </a:cubicBezTo>
                  <a:cubicBezTo>
                    <a:pt x="380" y="373"/>
                    <a:pt x="387" y="373"/>
                    <a:pt x="391" y="369"/>
                  </a:cubicBezTo>
                  <a:cubicBezTo>
                    <a:pt x="396" y="364"/>
                    <a:pt x="396" y="356"/>
                    <a:pt x="392" y="352"/>
                  </a:cubicBezTo>
                  <a:cubicBezTo>
                    <a:pt x="362" y="322"/>
                    <a:pt x="362" y="322"/>
                    <a:pt x="362" y="322"/>
                  </a:cubicBezTo>
                  <a:cubicBezTo>
                    <a:pt x="419" y="322"/>
                    <a:pt x="419" y="322"/>
                    <a:pt x="419" y="322"/>
                  </a:cubicBezTo>
                  <a:cubicBezTo>
                    <a:pt x="419" y="322"/>
                    <a:pt x="419" y="322"/>
                    <a:pt x="536" y="322"/>
                  </a:cubicBezTo>
                  <a:cubicBezTo>
                    <a:pt x="593" y="322"/>
                    <a:pt x="593" y="322"/>
                    <a:pt x="593" y="322"/>
                  </a:cubicBezTo>
                  <a:cubicBezTo>
                    <a:pt x="593" y="322"/>
                    <a:pt x="593" y="322"/>
                    <a:pt x="563" y="352"/>
                  </a:cubicBezTo>
                  <a:cubicBezTo>
                    <a:pt x="559" y="356"/>
                    <a:pt x="559" y="364"/>
                    <a:pt x="564" y="369"/>
                  </a:cubicBezTo>
                  <a:cubicBezTo>
                    <a:pt x="568" y="373"/>
                    <a:pt x="575" y="373"/>
                    <a:pt x="580" y="369"/>
                  </a:cubicBezTo>
                  <a:cubicBezTo>
                    <a:pt x="580" y="369"/>
                    <a:pt x="580" y="369"/>
                    <a:pt x="628" y="320"/>
                  </a:cubicBezTo>
                  <a:cubicBezTo>
                    <a:pt x="631" y="318"/>
                    <a:pt x="633" y="314"/>
                    <a:pt x="633" y="310"/>
                  </a:cubicBezTo>
                  <a:cubicBezTo>
                    <a:pt x="633" y="310"/>
                    <a:pt x="633" y="310"/>
                    <a:pt x="633" y="310"/>
                  </a:cubicBezTo>
                  <a:cubicBezTo>
                    <a:pt x="633" y="307"/>
                    <a:pt x="632" y="304"/>
                    <a:pt x="630" y="302"/>
                  </a:cubicBezTo>
                  <a:cubicBezTo>
                    <a:pt x="630" y="302"/>
                    <a:pt x="630" y="302"/>
                    <a:pt x="579" y="252"/>
                  </a:cubicBezTo>
                  <a:cubicBezTo>
                    <a:pt x="575" y="248"/>
                    <a:pt x="567" y="248"/>
                    <a:pt x="563" y="252"/>
                  </a:cubicBezTo>
                  <a:cubicBezTo>
                    <a:pt x="561" y="254"/>
                    <a:pt x="560" y="258"/>
                    <a:pt x="560" y="261"/>
                  </a:cubicBezTo>
                  <a:cubicBezTo>
                    <a:pt x="560" y="264"/>
                    <a:pt x="561" y="267"/>
                    <a:pt x="563" y="269"/>
                  </a:cubicBezTo>
                  <a:cubicBezTo>
                    <a:pt x="563" y="269"/>
                    <a:pt x="563" y="269"/>
                    <a:pt x="593" y="298"/>
                  </a:cubicBezTo>
                  <a:cubicBezTo>
                    <a:pt x="593" y="298"/>
                    <a:pt x="593" y="298"/>
                    <a:pt x="536" y="298"/>
                  </a:cubicBezTo>
                  <a:lnTo>
                    <a:pt x="419" y="298"/>
                  </a:lnTo>
                  <a:close/>
                  <a:moveTo>
                    <a:pt x="828" y="248"/>
                  </a:moveTo>
                  <a:cubicBezTo>
                    <a:pt x="828" y="248"/>
                    <a:pt x="828" y="248"/>
                    <a:pt x="638" y="248"/>
                  </a:cubicBezTo>
                  <a:cubicBezTo>
                    <a:pt x="661" y="270"/>
                    <a:pt x="661" y="270"/>
                    <a:pt x="661" y="270"/>
                  </a:cubicBezTo>
                  <a:cubicBezTo>
                    <a:pt x="667" y="277"/>
                    <a:pt x="672" y="284"/>
                    <a:pt x="674" y="293"/>
                  </a:cubicBezTo>
                  <a:cubicBezTo>
                    <a:pt x="751" y="293"/>
                    <a:pt x="751" y="293"/>
                    <a:pt x="751" y="293"/>
                  </a:cubicBezTo>
                  <a:cubicBezTo>
                    <a:pt x="758" y="293"/>
                    <a:pt x="763" y="298"/>
                    <a:pt x="763" y="305"/>
                  </a:cubicBezTo>
                  <a:cubicBezTo>
                    <a:pt x="763" y="312"/>
                    <a:pt x="758" y="317"/>
                    <a:pt x="751" y="317"/>
                  </a:cubicBezTo>
                  <a:cubicBezTo>
                    <a:pt x="751" y="317"/>
                    <a:pt x="751" y="317"/>
                    <a:pt x="677" y="317"/>
                  </a:cubicBezTo>
                  <a:cubicBezTo>
                    <a:pt x="675" y="331"/>
                    <a:pt x="668" y="344"/>
                    <a:pt x="657" y="353"/>
                  </a:cubicBezTo>
                  <a:cubicBezTo>
                    <a:pt x="644" y="366"/>
                    <a:pt x="644" y="366"/>
                    <a:pt x="644" y="366"/>
                  </a:cubicBezTo>
                  <a:cubicBezTo>
                    <a:pt x="828" y="366"/>
                    <a:pt x="828" y="366"/>
                    <a:pt x="828" y="366"/>
                  </a:cubicBezTo>
                  <a:cubicBezTo>
                    <a:pt x="831" y="366"/>
                    <a:pt x="834" y="364"/>
                    <a:pt x="834" y="361"/>
                  </a:cubicBezTo>
                  <a:cubicBezTo>
                    <a:pt x="834" y="361"/>
                    <a:pt x="834" y="361"/>
                    <a:pt x="834" y="253"/>
                  </a:cubicBezTo>
                  <a:cubicBezTo>
                    <a:pt x="834" y="250"/>
                    <a:pt x="831" y="248"/>
                    <a:pt x="828" y="248"/>
                  </a:cubicBezTo>
                  <a:close/>
                  <a:moveTo>
                    <a:pt x="828" y="411"/>
                  </a:moveTo>
                  <a:cubicBezTo>
                    <a:pt x="828" y="411"/>
                    <a:pt x="828" y="411"/>
                    <a:pt x="595" y="411"/>
                  </a:cubicBezTo>
                  <a:cubicBezTo>
                    <a:pt x="588" y="414"/>
                    <a:pt x="580" y="416"/>
                    <a:pt x="572" y="416"/>
                  </a:cubicBezTo>
                  <a:cubicBezTo>
                    <a:pt x="564" y="416"/>
                    <a:pt x="556" y="414"/>
                    <a:pt x="548" y="411"/>
                  </a:cubicBezTo>
                  <a:cubicBezTo>
                    <a:pt x="490" y="411"/>
                    <a:pt x="490" y="411"/>
                    <a:pt x="490" y="411"/>
                  </a:cubicBezTo>
                  <a:cubicBezTo>
                    <a:pt x="487" y="411"/>
                    <a:pt x="484" y="414"/>
                    <a:pt x="484" y="416"/>
                  </a:cubicBezTo>
                  <a:cubicBezTo>
                    <a:pt x="484" y="416"/>
                    <a:pt x="484" y="416"/>
                    <a:pt x="484" y="524"/>
                  </a:cubicBezTo>
                  <a:cubicBezTo>
                    <a:pt x="484" y="527"/>
                    <a:pt x="487" y="530"/>
                    <a:pt x="490" y="530"/>
                  </a:cubicBezTo>
                  <a:cubicBezTo>
                    <a:pt x="490" y="530"/>
                    <a:pt x="490" y="530"/>
                    <a:pt x="828" y="530"/>
                  </a:cubicBezTo>
                  <a:cubicBezTo>
                    <a:pt x="831" y="530"/>
                    <a:pt x="834" y="527"/>
                    <a:pt x="834" y="524"/>
                  </a:cubicBezTo>
                  <a:cubicBezTo>
                    <a:pt x="834" y="524"/>
                    <a:pt x="834" y="524"/>
                    <a:pt x="834" y="416"/>
                  </a:cubicBezTo>
                  <a:cubicBezTo>
                    <a:pt x="834" y="414"/>
                    <a:pt x="831" y="411"/>
                    <a:pt x="828" y="411"/>
                  </a:cubicBezTo>
                  <a:close/>
                  <a:moveTo>
                    <a:pt x="549" y="493"/>
                  </a:moveTo>
                  <a:cubicBezTo>
                    <a:pt x="535" y="493"/>
                    <a:pt x="523" y="482"/>
                    <a:pt x="523" y="468"/>
                  </a:cubicBezTo>
                  <a:cubicBezTo>
                    <a:pt x="523" y="455"/>
                    <a:pt x="535" y="443"/>
                    <a:pt x="549" y="443"/>
                  </a:cubicBezTo>
                  <a:cubicBezTo>
                    <a:pt x="563" y="443"/>
                    <a:pt x="574" y="455"/>
                    <a:pt x="574" y="468"/>
                  </a:cubicBezTo>
                  <a:cubicBezTo>
                    <a:pt x="574" y="482"/>
                    <a:pt x="563" y="493"/>
                    <a:pt x="549" y="493"/>
                  </a:cubicBezTo>
                  <a:close/>
                  <a:moveTo>
                    <a:pt x="751" y="481"/>
                  </a:moveTo>
                  <a:cubicBezTo>
                    <a:pt x="751" y="481"/>
                    <a:pt x="751" y="481"/>
                    <a:pt x="605" y="481"/>
                  </a:cubicBezTo>
                  <a:cubicBezTo>
                    <a:pt x="598" y="481"/>
                    <a:pt x="593" y="475"/>
                    <a:pt x="593" y="468"/>
                  </a:cubicBezTo>
                  <a:cubicBezTo>
                    <a:pt x="593" y="461"/>
                    <a:pt x="598" y="456"/>
                    <a:pt x="605" y="456"/>
                  </a:cubicBezTo>
                  <a:cubicBezTo>
                    <a:pt x="605" y="456"/>
                    <a:pt x="605" y="456"/>
                    <a:pt x="751" y="456"/>
                  </a:cubicBezTo>
                  <a:cubicBezTo>
                    <a:pt x="758" y="456"/>
                    <a:pt x="763" y="461"/>
                    <a:pt x="763" y="468"/>
                  </a:cubicBezTo>
                  <a:cubicBezTo>
                    <a:pt x="763" y="475"/>
                    <a:pt x="758" y="481"/>
                    <a:pt x="751" y="481"/>
                  </a:cubicBezTo>
                  <a:close/>
                  <a:moveTo>
                    <a:pt x="828" y="84"/>
                  </a:moveTo>
                  <a:cubicBezTo>
                    <a:pt x="828" y="84"/>
                    <a:pt x="828" y="84"/>
                    <a:pt x="490" y="84"/>
                  </a:cubicBezTo>
                  <a:cubicBezTo>
                    <a:pt x="487" y="84"/>
                    <a:pt x="484" y="87"/>
                    <a:pt x="484" y="89"/>
                  </a:cubicBezTo>
                  <a:cubicBezTo>
                    <a:pt x="484" y="89"/>
                    <a:pt x="484" y="89"/>
                    <a:pt x="484" y="197"/>
                  </a:cubicBezTo>
                  <a:cubicBezTo>
                    <a:pt x="484" y="200"/>
                    <a:pt x="487" y="203"/>
                    <a:pt x="490" y="203"/>
                  </a:cubicBezTo>
                  <a:cubicBezTo>
                    <a:pt x="490" y="203"/>
                    <a:pt x="490" y="203"/>
                    <a:pt x="828" y="203"/>
                  </a:cubicBezTo>
                  <a:cubicBezTo>
                    <a:pt x="831" y="203"/>
                    <a:pt x="834" y="200"/>
                    <a:pt x="834" y="197"/>
                  </a:cubicBezTo>
                  <a:cubicBezTo>
                    <a:pt x="834" y="197"/>
                    <a:pt x="834" y="197"/>
                    <a:pt x="834" y="89"/>
                  </a:cubicBezTo>
                  <a:cubicBezTo>
                    <a:pt x="834" y="87"/>
                    <a:pt x="831" y="84"/>
                    <a:pt x="828" y="84"/>
                  </a:cubicBezTo>
                  <a:close/>
                  <a:moveTo>
                    <a:pt x="549" y="166"/>
                  </a:moveTo>
                  <a:cubicBezTo>
                    <a:pt x="535" y="166"/>
                    <a:pt x="523" y="155"/>
                    <a:pt x="523" y="141"/>
                  </a:cubicBezTo>
                  <a:cubicBezTo>
                    <a:pt x="523" y="127"/>
                    <a:pt x="535" y="116"/>
                    <a:pt x="549" y="116"/>
                  </a:cubicBezTo>
                  <a:cubicBezTo>
                    <a:pt x="563" y="116"/>
                    <a:pt x="574" y="127"/>
                    <a:pt x="574" y="141"/>
                  </a:cubicBezTo>
                  <a:cubicBezTo>
                    <a:pt x="574" y="155"/>
                    <a:pt x="563" y="166"/>
                    <a:pt x="549" y="166"/>
                  </a:cubicBezTo>
                  <a:close/>
                  <a:moveTo>
                    <a:pt x="751" y="153"/>
                  </a:moveTo>
                  <a:cubicBezTo>
                    <a:pt x="751" y="153"/>
                    <a:pt x="751" y="153"/>
                    <a:pt x="605" y="153"/>
                  </a:cubicBezTo>
                  <a:cubicBezTo>
                    <a:pt x="598" y="153"/>
                    <a:pt x="593" y="148"/>
                    <a:pt x="593" y="141"/>
                  </a:cubicBezTo>
                  <a:cubicBezTo>
                    <a:pt x="593" y="134"/>
                    <a:pt x="598" y="129"/>
                    <a:pt x="605" y="129"/>
                  </a:cubicBezTo>
                  <a:cubicBezTo>
                    <a:pt x="605" y="129"/>
                    <a:pt x="605" y="129"/>
                    <a:pt x="751" y="129"/>
                  </a:cubicBezTo>
                  <a:cubicBezTo>
                    <a:pt x="758" y="129"/>
                    <a:pt x="763" y="134"/>
                    <a:pt x="763" y="141"/>
                  </a:cubicBezTo>
                  <a:cubicBezTo>
                    <a:pt x="763" y="148"/>
                    <a:pt x="758" y="153"/>
                    <a:pt x="751" y="15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32" name="bcgBugs_Gears">
            <a:extLst>
              <a:ext uri="{FF2B5EF4-FFF2-40B4-BE49-F238E27FC236}">
                <a16:creationId xmlns:a16="http://schemas.microsoft.com/office/drawing/2014/main" id="{8394A088-4813-4FE5-9297-C6CA2512679A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2579191" y="2114550"/>
            <a:ext cx="456753" cy="457200"/>
            <a:chOff x="2818" y="1137"/>
            <a:chExt cx="2044" cy="2046"/>
          </a:xfrm>
        </p:grpSpPr>
        <p:sp>
          <p:nvSpPr>
            <p:cNvPr id="33" name="AutoShape 19">
              <a:extLst>
                <a:ext uri="{FF2B5EF4-FFF2-40B4-BE49-F238E27FC236}">
                  <a16:creationId xmlns:a16="http://schemas.microsoft.com/office/drawing/2014/main" id="{40295DFC-E2F2-4799-AE15-021C4081119C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2818" y="1137"/>
              <a:ext cx="2044" cy="204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" name="Freeform 21">
              <a:extLst>
                <a:ext uri="{FF2B5EF4-FFF2-40B4-BE49-F238E27FC236}">
                  <a16:creationId xmlns:a16="http://schemas.microsoft.com/office/drawing/2014/main" id="{93946DB4-A5E2-4013-82D6-9A3C3ED939F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39" y="1297"/>
              <a:ext cx="1804" cy="1724"/>
            </a:xfrm>
            <a:custGeom>
              <a:avLst/>
              <a:gdLst>
                <a:gd name="T0" fmla="*/ 868 w 882"/>
                <a:gd name="T1" fmla="*/ 325 h 842"/>
                <a:gd name="T2" fmla="*/ 801 w 882"/>
                <a:gd name="T3" fmla="*/ 295 h 842"/>
                <a:gd name="T4" fmla="*/ 770 w 882"/>
                <a:gd name="T5" fmla="*/ 228 h 842"/>
                <a:gd name="T6" fmla="*/ 724 w 882"/>
                <a:gd name="T7" fmla="*/ 164 h 842"/>
                <a:gd name="T8" fmla="*/ 729 w 882"/>
                <a:gd name="T9" fmla="*/ 91 h 842"/>
                <a:gd name="T10" fmla="*/ 569 w 882"/>
                <a:gd name="T11" fmla="*/ 0 h 842"/>
                <a:gd name="T12" fmla="*/ 509 w 882"/>
                <a:gd name="T13" fmla="*/ 44 h 842"/>
                <a:gd name="T14" fmla="*/ 367 w 882"/>
                <a:gd name="T15" fmla="*/ 44 h 842"/>
                <a:gd name="T16" fmla="*/ 307 w 882"/>
                <a:gd name="T17" fmla="*/ 1 h 842"/>
                <a:gd name="T18" fmla="*/ 221 w 882"/>
                <a:gd name="T19" fmla="*/ 39 h 842"/>
                <a:gd name="T20" fmla="*/ 145 w 882"/>
                <a:gd name="T21" fmla="*/ 95 h 842"/>
                <a:gd name="T22" fmla="*/ 154 w 882"/>
                <a:gd name="T23" fmla="*/ 170 h 842"/>
                <a:gd name="T24" fmla="*/ 81 w 882"/>
                <a:gd name="T25" fmla="*/ 294 h 842"/>
                <a:gd name="T26" fmla="*/ 15 w 882"/>
                <a:gd name="T27" fmla="*/ 324 h 842"/>
                <a:gd name="T28" fmla="*/ 13 w 882"/>
                <a:gd name="T29" fmla="*/ 514 h 842"/>
                <a:gd name="T30" fmla="*/ 79 w 882"/>
                <a:gd name="T31" fmla="*/ 542 h 842"/>
                <a:gd name="T32" fmla="*/ 113 w 882"/>
                <a:gd name="T33" fmla="*/ 614 h 842"/>
                <a:gd name="T34" fmla="*/ 155 w 882"/>
                <a:gd name="T35" fmla="*/ 675 h 842"/>
                <a:gd name="T36" fmla="*/ 146 w 882"/>
                <a:gd name="T37" fmla="*/ 748 h 842"/>
                <a:gd name="T38" fmla="*/ 304 w 882"/>
                <a:gd name="T39" fmla="*/ 842 h 842"/>
                <a:gd name="T40" fmla="*/ 362 w 882"/>
                <a:gd name="T41" fmla="*/ 798 h 842"/>
                <a:gd name="T42" fmla="*/ 520 w 882"/>
                <a:gd name="T43" fmla="*/ 799 h 842"/>
                <a:gd name="T44" fmla="*/ 580 w 882"/>
                <a:gd name="T45" fmla="*/ 842 h 842"/>
                <a:gd name="T46" fmla="*/ 662 w 882"/>
                <a:gd name="T47" fmla="*/ 806 h 842"/>
                <a:gd name="T48" fmla="*/ 735 w 882"/>
                <a:gd name="T49" fmla="*/ 751 h 842"/>
                <a:gd name="T50" fmla="*/ 726 w 882"/>
                <a:gd name="T51" fmla="*/ 678 h 842"/>
                <a:gd name="T52" fmla="*/ 805 w 882"/>
                <a:gd name="T53" fmla="*/ 538 h 842"/>
                <a:gd name="T54" fmla="*/ 870 w 882"/>
                <a:gd name="T55" fmla="*/ 509 h 842"/>
                <a:gd name="T56" fmla="*/ 868 w 882"/>
                <a:gd name="T57" fmla="*/ 325 h 842"/>
                <a:gd name="T58" fmla="*/ 512 w 882"/>
                <a:gd name="T59" fmla="*/ 587 h 842"/>
                <a:gd name="T60" fmla="*/ 278 w 882"/>
                <a:gd name="T61" fmla="*/ 493 h 842"/>
                <a:gd name="T62" fmla="*/ 370 w 882"/>
                <a:gd name="T63" fmla="*/ 257 h 842"/>
                <a:gd name="T64" fmla="*/ 604 w 882"/>
                <a:gd name="T65" fmla="*/ 351 h 842"/>
                <a:gd name="T66" fmla="*/ 512 w 882"/>
                <a:gd name="T67" fmla="*/ 587 h 8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882" h="842">
                  <a:moveTo>
                    <a:pt x="868" y="325"/>
                  </a:moveTo>
                  <a:cubicBezTo>
                    <a:pt x="801" y="295"/>
                    <a:pt x="801" y="295"/>
                    <a:pt x="801" y="295"/>
                  </a:cubicBezTo>
                  <a:cubicBezTo>
                    <a:pt x="793" y="273"/>
                    <a:pt x="783" y="250"/>
                    <a:pt x="770" y="228"/>
                  </a:cubicBezTo>
                  <a:cubicBezTo>
                    <a:pt x="757" y="205"/>
                    <a:pt x="741" y="184"/>
                    <a:pt x="724" y="164"/>
                  </a:cubicBezTo>
                  <a:cubicBezTo>
                    <a:pt x="729" y="91"/>
                    <a:pt x="729" y="91"/>
                    <a:pt x="729" y="91"/>
                  </a:cubicBezTo>
                  <a:cubicBezTo>
                    <a:pt x="684" y="50"/>
                    <a:pt x="627" y="18"/>
                    <a:pt x="569" y="0"/>
                  </a:cubicBezTo>
                  <a:cubicBezTo>
                    <a:pt x="509" y="44"/>
                    <a:pt x="509" y="44"/>
                    <a:pt x="509" y="44"/>
                  </a:cubicBezTo>
                  <a:cubicBezTo>
                    <a:pt x="462" y="34"/>
                    <a:pt x="414" y="35"/>
                    <a:pt x="367" y="44"/>
                  </a:cubicBezTo>
                  <a:cubicBezTo>
                    <a:pt x="307" y="1"/>
                    <a:pt x="307" y="1"/>
                    <a:pt x="307" y="1"/>
                  </a:cubicBezTo>
                  <a:cubicBezTo>
                    <a:pt x="278" y="11"/>
                    <a:pt x="249" y="23"/>
                    <a:pt x="221" y="39"/>
                  </a:cubicBezTo>
                  <a:cubicBezTo>
                    <a:pt x="193" y="56"/>
                    <a:pt x="167" y="75"/>
                    <a:pt x="145" y="95"/>
                  </a:cubicBezTo>
                  <a:cubicBezTo>
                    <a:pt x="154" y="170"/>
                    <a:pt x="154" y="170"/>
                    <a:pt x="154" y="170"/>
                  </a:cubicBezTo>
                  <a:cubicBezTo>
                    <a:pt x="122" y="208"/>
                    <a:pt x="96" y="249"/>
                    <a:pt x="81" y="294"/>
                  </a:cubicBezTo>
                  <a:cubicBezTo>
                    <a:pt x="15" y="324"/>
                    <a:pt x="15" y="324"/>
                    <a:pt x="15" y="324"/>
                  </a:cubicBezTo>
                  <a:cubicBezTo>
                    <a:pt x="0" y="385"/>
                    <a:pt x="0" y="449"/>
                    <a:pt x="13" y="514"/>
                  </a:cubicBezTo>
                  <a:cubicBezTo>
                    <a:pt x="79" y="542"/>
                    <a:pt x="79" y="542"/>
                    <a:pt x="79" y="542"/>
                  </a:cubicBezTo>
                  <a:cubicBezTo>
                    <a:pt x="87" y="566"/>
                    <a:pt x="98" y="592"/>
                    <a:pt x="113" y="614"/>
                  </a:cubicBezTo>
                  <a:cubicBezTo>
                    <a:pt x="125" y="636"/>
                    <a:pt x="139" y="657"/>
                    <a:pt x="155" y="675"/>
                  </a:cubicBezTo>
                  <a:cubicBezTo>
                    <a:pt x="146" y="748"/>
                    <a:pt x="146" y="748"/>
                    <a:pt x="146" y="748"/>
                  </a:cubicBezTo>
                  <a:cubicBezTo>
                    <a:pt x="193" y="791"/>
                    <a:pt x="247" y="822"/>
                    <a:pt x="304" y="842"/>
                  </a:cubicBezTo>
                  <a:cubicBezTo>
                    <a:pt x="362" y="798"/>
                    <a:pt x="362" y="798"/>
                    <a:pt x="362" y="798"/>
                  </a:cubicBezTo>
                  <a:cubicBezTo>
                    <a:pt x="414" y="810"/>
                    <a:pt x="466" y="810"/>
                    <a:pt x="520" y="799"/>
                  </a:cubicBezTo>
                  <a:cubicBezTo>
                    <a:pt x="580" y="842"/>
                    <a:pt x="580" y="842"/>
                    <a:pt x="580" y="842"/>
                  </a:cubicBezTo>
                  <a:cubicBezTo>
                    <a:pt x="607" y="832"/>
                    <a:pt x="635" y="820"/>
                    <a:pt x="662" y="806"/>
                  </a:cubicBezTo>
                  <a:cubicBezTo>
                    <a:pt x="687" y="789"/>
                    <a:pt x="712" y="771"/>
                    <a:pt x="735" y="751"/>
                  </a:cubicBezTo>
                  <a:cubicBezTo>
                    <a:pt x="726" y="678"/>
                    <a:pt x="726" y="678"/>
                    <a:pt x="726" y="678"/>
                  </a:cubicBezTo>
                  <a:cubicBezTo>
                    <a:pt x="762" y="637"/>
                    <a:pt x="788" y="589"/>
                    <a:pt x="805" y="538"/>
                  </a:cubicBezTo>
                  <a:cubicBezTo>
                    <a:pt x="870" y="509"/>
                    <a:pt x="870" y="509"/>
                    <a:pt x="870" y="509"/>
                  </a:cubicBezTo>
                  <a:cubicBezTo>
                    <a:pt x="882" y="450"/>
                    <a:pt x="881" y="386"/>
                    <a:pt x="868" y="325"/>
                  </a:cubicBezTo>
                  <a:close/>
                  <a:moveTo>
                    <a:pt x="512" y="587"/>
                  </a:moveTo>
                  <a:cubicBezTo>
                    <a:pt x="422" y="628"/>
                    <a:pt x="317" y="584"/>
                    <a:pt x="278" y="493"/>
                  </a:cubicBezTo>
                  <a:cubicBezTo>
                    <a:pt x="238" y="401"/>
                    <a:pt x="280" y="296"/>
                    <a:pt x="370" y="257"/>
                  </a:cubicBezTo>
                  <a:cubicBezTo>
                    <a:pt x="460" y="217"/>
                    <a:pt x="566" y="260"/>
                    <a:pt x="604" y="351"/>
                  </a:cubicBezTo>
                  <a:cubicBezTo>
                    <a:pt x="644" y="442"/>
                    <a:pt x="603" y="549"/>
                    <a:pt x="512" y="587"/>
                  </a:cubicBez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pic>
        <p:nvPicPr>
          <p:cNvPr id="35" name="Grafik 2" descr="countdown.gif">
            <a:extLst>
              <a:ext uri="{FF2B5EF4-FFF2-40B4-BE49-F238E27FC236}">
                <a16:creationId xmlns:a16="http://schemas.microsoft.com/office/drawing/2014/main" id="{27AD2588-5417-4384-B377-400C6CF860A6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85113" y="4575685"/>
            <a:ext cx="1258887" cy="571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39" name="Straight Arrow Connector 38">
            <a:extLst>
              <a:ext uri="{FF2B5EF4-FFF2-40B4-BE49-F238E27FC236}">
                <a16:creationId xmlns:a16="http://schemas.microsoft.com/office/drawing/2014/main" id="{87237A7A-6E62-3745-F4B2-070EB2B2C12F}"/>
              </a:ext>
            </a:extLst>
          </p:cNvPr>
          <p:cNvCxnSpPr>
            <a:cxnSpLocks/>
          </p:cNvCxnSpPr>
          <p:nvPr/>
        </p:nvCxnSpPr>
        <p:spPr>
          <a:xfrm>
            <a:off x="4531907" y="1671458"/>
            <a:ext cx="837369" cy="0"/>
          </a:xfrm>
          <a:prstGeom prst="straightConnector1">
            <a:avLst/>
          </a:prstGeom>
          <a:ln cap="rnd">
            <a:solidFill>
              <a:srgbClr val="445064"/>
            </a:solidFill>
            <a:prstDash val="sysDot"/>
            <a:tailEnd type="non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43" name="Straight Arrow Connector 42">
            <a:extLst>
              <a:ext uri="{FF2B5EF4-FFF2-40B4-BE49-F238E27FC236}">
                <a16:creationId xmlns:a16="http://schemas.microsoft.com/office/drawing/2014/main" id="{D1FA2E05-B056-3906-E56D-CED93013FD34}"/>
              </a:ext>
            </a:extLst>
          </p:cNvPr>
          <p:cNvCxnSpPr>
            <a:cxnSpLocks/>
          </p:cNvCxnSpPr>
          <p:nvPr/>
        </p:nvCxnSpPr>
        <p:spPr>
          <a:xfrm>
            <a:off x="4531906" y="2288379"/>
            <a:ext cx="837369" cy="0"/>
          </a:xfrm>
          <a:prstGeom prst="straightConnector1">
            <a:avLst/>
          </a:prstGeom>
          <a:ln cap="rnd">
            <a:solidFill>
              <a:srgbClr val="445064"/>
            </a:solidFill>
            <a:prstDash val="sysDot"/>
            <a:tailEnd type="non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44" name="Straight Arrow Connector 43">
            <a:extLst>
              <a:ext uri="{FF2B5EF4-FFF2-40B4-BE49-F238E27FC236}">
                <a16:creationId xmlns:a16="http://schemas.microsoft.com/office/drawing/2014/main" id="{BEACFE35-765B-55C2-8BFF-FFA8AC99DA00}"/>
              </a:ext>
            </a:extLst>
          </p:cNvPr>
          <p:cNvCxnSpPr>
            <a:cxnSpLocks/>
          </p:cNvCxnSpPr>
          <p:nvPr/>
        </p:nvCxnSpPr>
        <p:spPr>
          <a:xfrm>
            <a:off x="4531906" y="2928252"/>
            <a:ext cx="837369" cy="0"/>
          </a:xfrm>
          <a:prstGeom prst="straightConnector1">
            <a:avLst/>
          </a:prstGeom>
          <a:ln cap="rnd">
            <a:solidFill>
              <a:srgbClr val="445064"/>
            </a:solidFill>
            <a:prstDash val="sysDot"/>
            <a:tailEnd type="non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grpSp>
        <p:nvGrpSpPr>
          <p:cNvPr id="45" name="Group 44">
            <a:extLst>
              <a:ext uri="{FF2B5EF4-FFF2-40B4-BE49-F238E27FC236}">
                <a16:creationId xmlns:a16="http://schemas.microsoft.com/office/drawing/2014/main" id="{E6C844D5-4CD3-A4E3-C4C5-57C3C268DC77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2586352" y="1499991"/>
            <a:ext cx="408709" cy="408709"/>
            <a:chOff x="2652" y="972"/>
            <a:chExt cx="2376" cy="2376"/>
          </a:xfrm>
        </p:grpSpPr>
        <p:sp>
          <p:nvSpPr>
            <p:cNvPr id="46" name="AutoShape 4">
              <a:extLst>
                <a:ext uri="{FF2B5EF4-FFF2-40B4-BE49-F238E27FC236}">
                  <a16:creationId xmlns:a16="http://schemas.microsoft.com/office/drawing/2014/main" id="{00ACF431-F43B-F1E8-E85C-A3B53D4AA510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2652" y="972"/>
              <a:ext cx="2376" cy="23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" name="Freeform 7">
              <a:extLst>
                <a:ext uri="{FF2B5EF4-FFF2-40B4-BE49-F238E27FC236}">
                  <a16:creationId xmlns:a16="http://schemas.microsoft.com/office/drawing/2014/main" id="{DEF6665F-22DF-0E30-FBC1-E7BD27236F9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64" y="1250"/>
              <a:ext cx="1755" cy="1822"/>
            </a:xfrm>
            <a:custGeom>
              <a:avLst/>
              <a:gdLst>
                <a:gd name="T0" fmla="*/ 613 w 738"/>
                <a:gd name="T1" fmla="*/ 443 h 766"/>
                <a:gd name="T2" fmla="*/ 610 w 738"/>
                <a:gd name="T3" fmla="*/ 315 h 766"/>
                <a:gd name="T4" fmla="*/ 732 w 738"/>
                <a:gd name="T5" fmla="*/ 264 h 766"/>
                <a:gd name="T6" fmla="*/ 612 w 738"/>
                <a:gd name="T7" fmla="*/ 277 h 766"/>
                <a:gd name="T8" fmla="*/ 526 w 738"/>
                <a:gd name="T9" fmla="*/ 186 h 766"/>
                <a:gd name="T10" fmla="*/ 593 w 738"/>
                <a:gd name="T11" fmla="*/ 72 h 766"/>
                <a:gd name="T12" fmla="*/ 504 w 738"/>
                <a:gd name="T13" fmla="*/ 155 h 766"/>
                <a:gd name="T14" fmla="*/ 386 w 738"/>
                <a:gd name="T15" fmla="*/ 119 h 766"/>
                <a:gd name="T16" fmla="*/ 361 w 738"/>
                <a:gd name="T17" fmla="*/ 0 h 766"/>
                <a:gd name="T18" fmla="*/ 348 w 738"/>
                <a:gd name="T19" fmla="*/ 130 h 766"/>
                <a:gd name="T20" fmla="*/ 168 w 738"/>
                <a:gd name="T21" fmla="*/ 77 h 766"/>
                <a:gd name="T22" fmla="*/ 133 w 738"/>
                <a:gd name="T23" fmla="*/ 102 h 766"/>
                <a:gd name="T24" fmla="*/ 131 w 738"/>
                <a:gd name="T25" fmla="*/ 290 h 766"/>
                <a:gd name="T26" fmla="*/ 5 w 738"/>
                <a:gd name="T27" fmla="*/ 266 h 766"/>
                <a:gd name="T28" fmla="*/ 110 w 738"/>
                <a:gd name="T29" fmla="*/ 326 h 766"/>
                <a:gd name="T30" fmla="*/ 122 w 738"/>
                <a:gd name="T31" fmla="*/ 448 h 766"/>
                <a:gd name="T32" fmla="*/ 6 w 738"/>
                <a:gd name="T33" fmla="*/ 503 h 766"/>
                <a:gd name="T34" fmla="*/ 126 w 738"/>
                <a:gd name="T35" fmla="*/ 489 h 766"/>
                <a:gd name="T36" fmla="*/ 200 w 738"/>
                <a:gd name="T37" fmla="*/ 587 h 766"/>
                <a:gd name="T38" fmla="*/ 150 w 738"/>
                <a:gd name="T39" fmla="*/ 697 h 766"/>
                <a:gd name="T40" fmla="*/ 237 w 738"/>
                <a:gd name="T41" fmla="*/ 601 h 766"/>
                <a:gd name="T42" fmla="*/ 352 w 738"/>
                <a:gd name="T43" fmla="*/ 749 h 766"/>
                <a:gd name="T44" fmla="*/ 394 w 738"/>
                <a:gd name="T45" fmla="*/ 749 h 766"/>
                <a:gd name="T46" fmla="*/ 508 w 738"/>
                <a:gd name="T47" fmla="*/ 593 h 766"/>
                <a:gd name="T48" fmla="*/ 594 w 738"/>
                <a:gd name="T49" fmla="*/ 692 h 766"/>
                <a:gd name="T50" fmla="*/ 544 w 738"/>
                <a:gd name="T51" fmla="*/ 582 h 766"/>
                <a:gd name="T52" fmla="*/ 614 w 738"/>
                <a:gd name="T53" fmla="*/ 481 h 766"/>
                <a:gd name="T54" fmla="*/ 735 w 738"/>
                <a:gd name="T55" fmla="*/ 494 h 766"/>
                <a:gd name="T56" fmla="*/ 474 w 738"/>
                <a:gd name="T57" fmla="*/ 330 h 766"/>
                <a:gd name="T58" fmla="*/ 536 w 738"/>
                <a:gd name="T59" fmla="*/ 313 h 766"/>
                <a:gd name="T60" fmla="*/ 378 w 738"/>
                <a:gd name="T61" fmla="*/ 264 h 766"/>
                <a:gd name="T62" fmla="*/ 354 w 738"/>
                <a:gd name="T63" fmla="*/ 200 h 766"/>
                <a:gd name="T64" fmla="*/ 267 w 738"/>
                <a:gd name="T65" fmla="*/ 230 h 766"/>
                <a:gd name="T66" fmla="*/ 248 w 738"/>
                <a:gd name="T67" fmla="*/ 242 h 766"/>
                <a:gd name="T68" fmla="*/ 256 w 738"/>
                <a:gd name="T69" fmla="*/ 336 h 766"/>
                <a:gd name="T70" fmla="*/ 248 w 738"/>
                <a:gd name="T71" fmla="*/ 242 h 766"/>
                <a:gd name="T72" fmla="*/ 188 w 738"/>
                <a:gd name="T73" fmla="*/ 340 h 766"/>
                <a:gd name="T74" fmla="*/ 246 w 738"/>
                <a:gd name="T75" fmla="*/ 383 h 766"/>
                <a:gd name="T76" fmla="*/ 190 w 738"/>
                <a:gd name="T77" fmla="*/ 434 h 766"/>
                <a:gd name="T78" fmla="*/ 198 w 738"/>
                <a:gd name="T79" fmla="*/ 454 h 766"/>
                <a:gd name="T80" fmla="*/ 255 w 738"/>
                <a:gd name="T81" fmla="*/ 528 h 766"/>
                <a:gd name="T82" fmla="*/ 313 w 738"/>
                <a:gd name="T83" fmla="*/ 491 h 766"/>
                <a:gd name="T84" fmla="*/ 273 w 738"/>
                <a:gd name="T85" fmla="*/ 541 h 766"/>
                <a:gd name="T86" fmla="*/ 364 w 738"/>
                <a:gd name="T87" fmla="*/ 331 h 766"/>
                <a:gd name="T88" fmla="*/ 384 w 738"/>
                <a:gd name="T89" fmla="*/ 566 h 766"/>
                <a:gd name="T90" fmla="*/ 470 w 738"/>
                <a:gd name="T91" fmla="*/ 535 h 766"/>
                <a:gd name="T92" fmla="*/ 452 w 738"/>
                <a:gd name="T93" fmla="*/ 467 h 766"/>
                <a:gd name="T94" fmla="*/ 488 w 738"/>
                <a:gd name="T95" fmla="*/ 521 h 766"/>
                <a:gd name="T96" fmla="*/ 487 w 738"/>
                <a:gd name="T97" fmla="*/ 383 h 766"/>
                <a:gd name="T98" fmla="*/ 549 w 738"/>
                <a:gd name="T99" fmla="*/ 383 h 7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738" h="766">
                  <a:moveTo>
                    <a:pt x="724" y="472"/>
                  </a:moveTo>
                  <a:cubicBezTo>
                    <a:pt x="724" y="472"/>
                    <a:pt x="724" y="472"/>
                    <a:pt x="627" y="441"/>
                  </a:cubicBezTo>
                  <a:cubicBezTo>
                    <a:pt x="622" y="439"/>
                    <a:pt x="617" y="440"/>
                    <a:pt x="613" y="443"/>
                  </a:cubicBezTo>
                  <a:cubicBezTo>
                    <a:pt x="613" y="443"/>
                    <a:pt x="613" y="443"/>
                    <a:pt x="612" y="443"/>
                  </a:cubicBezTo>
                  <a:cubicBezTo>
                    <a:pt x="617" y="424"/>
                    <a:pt x="619" y="404"/>
                    <a:pt x="619" y="383"/>
                  </a:cubicBezTo>
                  <a:cubicBezTo>
                    <a:pt x="619" y="359"/>
                    <a:pt x="616" y="337"/>
                    <a:pt x="610" y="315"/>
                  </a:cubicBezTo>
                  <a:cubicBezTo>
                    <a:pt x="614" y="318"/>
                    <a:pt x="619" y="319"/>
                    <a:pt x="625" y="318"/>
                  </a:cubicBezTo>
                  <a:cubicBezTo>
                    <a:pt x="625" y="318"/>
                    <a:pt x="625" y="318"/>
                    <a:pt x="722" y="286"/>
                  </a:cubicBezTo>
                  <a:cubicBezTo>
                    <a:pt x="731" y="283"/>
                    <a:pt x="735" y="273"/>
                    <a:pt x="732" y="264"/>
                  </a:cubicBezTo>
                  <a:cubicBezTo>
                    <a:pt x="732" y="264"/>
                    <a:pt x="732" y="264"/>
                    <a:pt x="730" y="258"/>
                  </a:cubicBezTo>
                  <a:cubicBezTo>
                    <a:pt x="727" y="248"/>
                    <a:pt x="717" y="243"/>
                    <a:pt x="709" y="246"/>
                  </a:cubicBezTo>
                  <a:cubicBezTo>
                    <a:pt x="709" y="246"/>
                    <a:pt x="709" y="246"/>
                    <a:pt x="612" y="277"/>
                  </a:cubicBezTo>
                  <a:cubicBezTo>
                    <a:pt x="606" y="279"/>
                    <a:pt x="603" y="283"/>
                    <a:pt x="601" y="288"/>
                  </a:cubicBezTo>
                  <a:cubicBezTo>
                    <a:pt x="601" y="288"/>
                    <a:pt x="601" y="288"/>
                    <a:pt x="601" y="288"/>
                  </a:cubicBezTo>
                  <a:cubicBezTo>
                    <a:pt x="585" y="248"/>
                    <a:pt x="558" y="213"/>
                    <a:pt x="526" y="186"/>
                  </a:cubicBezTo>
                  <a:cubicBezTo>
                    <a:pt x="530" y="186"/>
                    <a:pt x="535" y="183"/>
                    <a:pt x="538" y="179"/>
                  </a:cubicBezTo>
                  <a:cubicBezTo>
                    <a:pt x="538" y="179"/>
                    <a:pt x="538" y="179"/>
                    <a:pt x="598" y="97"/>
                  </a:cubicBezTo>
                  <a:cubicBezTo>
                    <a:pt x="603" y="89"/>
                    <a:pt x="601" y="78"/>
                    <a:pt x="593" y="72"/>
                  </a:cubicBezTo>
                  <a:cubicBezTo>
                    <a:pt x="593" y="72"/>
                    <a:pt x="593" y="72"/>
                    <a:pt x="587" y="69"/>
                  </a:cubicBezTo>
                  <a:cubicBezTo>
                    <a:pt x="580" y="63"/>
                    <a:pt x="569" y="64"/>
                    <a:pt x="563" y="72"/>
                  </a:cubicBezTo>
                  <a:cubicBezTo>
                    <a:pt x="563" y="72"/>
                    <a:pt x="563" y="72"/>
                    <a:pt x="504" y="155"/>
                  </a:cubicBezTo>
                  <a:cubicBezTo>
                    <a:pt x="501" y="159"/>
                    <a:pt x="500" y="164"/>
                    <a:pt x="501" y="168"/>
                  </a:cubicBezTo>
                  <a:cubicBezTo>
                    <a:pt x="466" y="146"/>
                    <a:pt x="425" y="133"/>
                    <a:pt x="381" y="130"/>
                  </a:cubicBezTo>
                  <a:cubicBezTo>
                    <a:pt x="384" y="127"/>
                    <a:pt x="386" y="123"/>
                    <a:pt x="386" y="119"/>
                  </a:cubicBezTo>
                  <a:cubicBezTo>
                    <a:pt x="386" y="119"/>
                    <a:pt x="386" y="119"/>
                    <a:pt x="386" y="17"/>
                  </a:cubicBezTo>
                  <a:cubicBezTo>
                    <a:pt x="386" y="7"/>
                    <a:pt x="378" y="0"/>
                    <a:pt x="368" y="0"/>
                  </a:cubicBezTo>
                  <a:cubicBezTo>
                    <a:pt x="368" y="0"/>
                    <a:pt x="368" y="0"/>
                    <a:pt x="361" y="0"/>
                  </a:cubicBezTo>
                  <a:cubicBezTo>
                    <a:pt x="351" y="0"/>
                    <a:pt x="344" y="7"/>
                    <a:pt x="344" y="17"/>
                  </a:cubicBezTo>
                  <a:cubicBezTo>
                    <a:pt x="344" y="17"/>
                    <a:pt x="344" y="17"/>
                    <a:pt x="344" y="119"/>
                  </a:cubicBezTo>
                  <a:cubicBezTo>
                    <a:pt x="344" y="123"/>
                    <a:pt x="345" y="127"/>
                    <a:pt x="348" y="130"/>
                  </a:cubicBezTo>
                  <a:cubicBezTo>
                    <a:pt x="305" y="133"/>
                    <a:pt x="265" y="147"/>
                    <a:pt x="230" y="169"/>
                  </a:cubicBezTo>
                  <a:cubicBezTo>
                    <a:pt x="230" y="166"/>
                    <a:pt x="230" y="162"/>
                    <a:pt x="228" y="160"/>
                  </a:cubicBezTo>
                  <a:cubicBezTo>
                    <a:pt x="228" y="160"/>
                    <a:pt x="228" y="160"/>
                    <a:pt x="168" y="77"/>
                  </a:cubicBezTo>
                  <a:cubicBezTo>
                    <a:pt x="162" y="69"/>
                    <a:pt x="151" y="68"/>
                    <a:pt x="143" y="74"/>
                  </a:cubicBezTo>
                  <a:cubicBezTo>
                    <a:pt x="143" y="74"/>
                    <a:pt x="143" y="74"/>
                    <a:pt x="138" y="78"/>
                  </a:cubicBezTo>
                  <a:cubicBezTo>
                    <a:pt x="130" y="83"/>
                    <a:pt x="128" y="94"/>
                    <a:pt x="133" y="102"/>
                  </a:cubicBezTo>
                  <a:cubicBezTo>
                    <a:pt x="133" y="102"/>
                    <a:pt x="133" y="102"/>
                    <a:pt x="193" y="184"/>
                  </a:cubicBezTo>
                  <a:cubicBezTo>
                    <a:pt x="196" y="187"/>
                    <a:pt x="198" y="189"/>
                    <a:pt x="202" y="190"/>
                  </a:cubicBezTo>
                  <a:cubicBezTo>
                    <a:pt x="170" y="217"/>
                    <a:pt x="146" y="251"/>
                    <a:pt x="131" y="290"/>
                  </a:cubicBezTo>
                  <a:cubicBezTo>
                    <a:pt x="129" y="288"/>
                    <a:pt x="126" y="286"/>
                    <a:pt x="123" y="286"/>
                  </a:cubicBezTo>
                  <a:cubicBezTo>
                    <a:pt x="123" y="286"/>
                    <a:pt x="123" y="286"/>
                    <a:pt x="26" y="254"/>
                  </a:cubicBezTo>
                  <a:cubicBezTo>
                    <a:pt x="18" y="251"/>
                    <a:pt x="8" y="256"/>
                    <a:pt x="5" y="266"/>
                  </a:cubicBezTo>
                  <a:cubicBezTo>
                    <a:pt x="5" y="266"/>
                    <a:pt x="5" y="266"/>
                    <a:pt x="3" y="272"/>
                  </a:cubicBezTo>
                  <a:cubicBezTo>
                    <a:pt x="0" y="281"/>
                    <a:pt x="5" y="291"/>
                    <a:pt x="14" y="294"/>
                  </a:cubicBezTo>
                  <a:cubicBezTo>
                    <a:pt x="14" y="294"/>
                    <a:pt x="14" y="294"/>
                    <a:pt x="110" y="326"/>
                  </a:cubicBezTo>
                  <a:cubicBezTo>
                    <a:pt x="113" y="327"/>
                    <a:pt x="117" y="327"/>
                    <a:pt x="119" y="326"/>
                  </a:cubicBezTo>
                  <a:cubicBezTo>
                    <a:pt x="116" y="344"/>
                    <a:pt x="113" y="363"/>
                    <a:pt x="113" y="383"/>
                  </a:cubicBezTo>
                  <a:cubicBezTo>
                    <a:pt x="113" y="406"/>
                    <a:pt x="116" y="427"/>
                    <a:pt x="122" y="448"/>
                  </a:cubicBezTo>
                  <a:cubicBezTo>
                    <a:pt x="119" y="448"/>
                    <a:pt x="116" y="448"/>
                    <a:pt x="113" y="449"/>
                  </a:cubicBezTo>
                  <a:cubicBezTo>
                    <a:pt x="113" y="449"/>
                    <a:pt x="113" y="449"/>
                    <a:pt x="16" y="480"/>
                  </a:cubicBezTo>
                  <a:cubicBezTo>
                    <a:pt x="7" y="483"/>
                    <a:pt x="3" y="493"/>
                    <a:pt x="6" y="503"/>
                  </a:cubicBezTo>
                  <a:cubicBezTo>
                    <a:pt x="6" y="503"/>
                    <a:pt x="6" y="503"/>
                    <a:pt x="8" y="509"/>
                  </a:cubicBezTo>
                  <a:cubicBezTo>
                    <a:pt x="11" y="518"/>
                    <a:pt x="20" y="524"/>
                    <a:pt x="29" y="521"/>
                  </a:cubicBezTo>
                  <a:cubicBezTo>
                    <a:pt x="29" y="521"/>
                    <a:pt x="29" y="521"/>
                    <a:pt x="126" y="489"/>
                  </a:cubicBezTo>
                  <a:cubicBezTo>
                    <a:pt x="129" y="488"/>
                    <a:pt x="132" y="486"/>
                    <a:pt x="134" y="483"/>
                  </a:cubicBezTo>
                  <a:cubicBezTo>
                    <a:pt x="150" y="522"/>
                    <a:pt x="176" y="555"/>
                    <a:pt x="208" y="581"/>
                  </a:cubicBezTo>
                  <a:cubicBezTo>
                    <a:pt x="205" y="582"/>
                    <a:pt x="202" y="584"/>
                    <a:pt x="200" y="587"/>
                  </a:cubicBezTo>
                  <a:cubicBezTo>
                    <a:pt x="200" y="587"/>
                    <a:pt x="200" y="587"/>
                    <a:pt x="140" y="670"/>
                  </a:cubicBezTo>
                  <a:cubicBezTo>
                    <a:pt x="135" y="677"/>
                    <a:pt x="137" y="688"/>
                    <a:pt x="145" y="694"/>
                  </a:cubicBezTo>
                  <a:cubicBezTo>
                    <a:pt x="145" y="694"/>
                    <a:pt x="145" y="694"/>
                    <a:pt x="150" y="697"/>
                  </a:cubicBezTo>
                  <a:cubicBezTo>
                    <a:pt x="158" y="703"/>
                    <a:pt x="169" y="702"/>
                    <a:pt x="174" y="694"/>
                  </a:cubicBezTo>
                  <a:cubicBezTo>
                    <a:pt x="174" y="694"/>
                    <a:pt x="174" y="694"/>
                    <a:pt x="234" y="612"/>
                  </a:cubicBezTo>
                  <a:cubicBezTo>
                    <a:pt x="237" y="609"/>
                    <a:pt x="238" y="605"/>
                    <a:pt x="237" y="601"/>
                  </a:cubicBezTo>
                  <a:cubicBezTo>
                    <a:pt x="272" y="622"/>
                    <a:pt x="313" y="635"/>
                    <a:pt x="356" y="637"/>
                  </a:cubicBezTo>
                  <a:cubicBezTo>
                    <a:pt x="354" y="640"/>
                    <a:pt x="352" y="643"/>
                    <a:pt x="352" y="647"/>
                  </a:cubicBezTo>
                  <a:cubicBezTo>
                    <a:pt x="352" y="647"/>
                    <a:pt x="352" y="647"/>
                    <a:pt x="352" y="749"/>
                  </a:cubicBezTo>
                  <a:cubicBezTo>
                    <a:pt x="352" y="759"/>
                    <a:pt x="360" y="766"/>
                    <a:pt x="370" y="766"/>
                  </a:cubicBezTo>
                  <a:cubicBezTo>
                    <a:pt x="370" y="766"/>
                    <a:pt x="370" y="766"/>
                    <a:pt x="376" y="766"/>
                  </a:cubicBezTo>
                  <a:cubicBezTo>
                    <a:pt x="386" y="766"/>
                    <a:pt x="394" y="759"/>
                    <a:pt x="394" y="749"/>
                  </a:cubicBezTo>
                  <a:cubicBezTo>
                    <a:pt x="394" y="749"/>
                    <a:pt x="394" y="749"/>
                    <a:pt x="394" y="647"/>
                  </a:cubicBezTo>
                  <a:cubicBezTo>
                    <a:pt x="394" y="643"/>
                    <a:pt x="392" y="639"/>
                    <a:pt x="389" y="636"/>
                  </a:cubicBezTo>
                  <a:cubicBezTo>
                    <a:pt x="433" y="632"/>
                    <a:pt x="473" y="617"/>
                    <a:pt x="508" y="593"/>
                  </a:cubicBezTo>
                  <a:cubicBezTo>
                    <a:pt x="507" y="598"/>
                    <a:pt x="508" y="603"/>
                    <a:pt x="511" y="607"/>
                  </a:cubicBezTo>
                  <a:cubicBezTo>
                    <a:pt x="511" y="607"/>
                    <a:pt x="511" y="607"/>
                    <a:pt x="570" y="689"/>
                  </a:cubicBezTo>
                  <a:cubicBezTo>
                    <a:pt x="576" y="697"/>
                    <a:pt x="586" y="698"/>
                    <a:pt x="594" y="692"/>
                  </a:cubicBezTo>
                  <a:cubicBezTo>
                    <a:pt x="594" y="692"/>
                    <a:pt x="594" y="692"/>
                    <a:pt x="600" y="688"/>
                  </a:cubicBezTo>
                  <a:cubicBezTo>
                    <a:pt x="608" y="683"/>
                    <a:pt x="610" y="672"/>
                    <a:pt x="604" y="665"/>
                  </a:cubicBezTo>
                  <a:cubicBezTo>
                    <a:pt x="604" y="665"/>
                    <a:pt x="604" y="665"/>
                    <a:pt x="544" y="582"/>
                  </a:cubicBezTo>
                  <a:cubicBezTo>
                    <a:pt x="541" y="578"/>
                    <a:pt x="536" y="575"/>
                    <a:pt x="531" y="575"/>
                  </a:cubicBezTo>
                  <a:cubicBezTo>
                    <a:pt x="564" y="547"/>
                    <a:pt x="589" y="511"/>
                    <a:pt x="604" y="470"/>
                  </a:cubicBezTo>
                  <a:cubicBezTo>
                    <a:pt x="605" y="475"/>
                    <a:pt x="609" y="479"/>
                    <a:pt x="614" y="481"/>
                  </a:cubicBezTo>
                  <a:cubicBezTo>
                    <a:pt x="614" y="481"/>
                    <a:pt x="614" y="481"/>
                    <a:pt x="711" y="512"/>
                  </a:cubicBezTo>
                  <a:cubicBezTo>
                    <a:pt x="720" y="515"/>
                    <a:pt x="730" y="510"/>
                    <a:pt x="733" y="501"/>
                  </a:cubicBezTo>
                  <a:cubicBezTo>
                    <a:pt x="733" y="501"/>
                    <a:pt x="733" y="501"/>
                    <a:pt x="735" y="494"/>
                  </a:cubicBezTo>
                  <a:cubicBezTo>
                    <a:pt x="738" y="485"/>
                    <a:pt x="733" y="475"/>
                    <a:pt x="724" y="472"/>
                  </a:cubicBezTo>
                  <a:close/>
                  <a:moveTo>
                    <a:pt x="536" y="313"/>
                  </a:moveTo>
                  <a:cubicBezTo>
                    <a:pt x="536" y="313"/>
                    <a:pt x="536" y="313"/>
                    <a:pt x="474" y="330"/>
                  </a:cubicBezTo>
                  <a:cubicBezTo>
                    <a:pt x="467" y="316"/>
                    <a:pt x="457" y="304"/>
                    <a:pt x="446" y="294"/>
                  </a:cubicBezTo>
                  <a:cubicBezTo>
                    <a:pt x="446" y="294"/>
                    <a:pt x="446" y="294"/>
                    <a:pt x="482" y="240"/>
                  </a:cubicBezTo>
                  <a:cubicBezTo>
                    <a:pt x="505" y="259"/>
                    <a:pt x="524" y="284"/>
                    <a:pt x="536" y="313"/>
                  </a:cubicBezTo>
                  <a:close/>
                  <a:moveTo>
                    <a:pt x="463" y="227"/>
                  </a:moveTo>
                  <a:cubicBezTo>
                    <a:pt x="463" y="227"/>
                    <a:pt x="463" y="227"/>
                    <a:pt x="423" y="277"/>
                  </a:cubicBezTo>
                  <a:cubicBezTo>
                    <a:pt x="410" y="270"/>
                    <a:pt x="395" y="265"/>
                    <a:pt x="378" y="264"/>
                  </a:cubicBezTo>
                  <a:cubicBezTo>
                    <a:pt x="378" y="264"/>
                    <a:pt x="378" y="264"/>
                    <a:pt x="376" y="200"/>
                  </a:cubicBezTo>
                  <a:cubicBezTo>
                    <a:pt x="408" y="201"/>
                    <a:pt x="438" y="211"/>
                    <a:pt x="463" y="227"/>
                  </a:cubicBezTo>
                  <a:close/>
                  <a:moveTo>
                    <a:pt x="354" y="200"/>
                  </a:moveTo>
                  <a:cubicBezTo>
                    <a:pt x="354" y="200"/>
                    <a:pt x="354" y="200"/>
                    <a:pt x="351" y="264"/>
                  </a:cubicBezTo>
                  <a:cubicBezTo>
                    <a:pt x="334" y="266"/>
                    <a:pt x="319" y="272"/>
                    <a:pt x="306" y="279"/>
                  </a:cubicBezTo>
                  <a:cubicBezTo>
                    <a:pt x="306" y="279"/>
                    <a:pt x="306" y="279"/>
                    <a:pt x="267" y="230"/>
                  </a:cubicBezTo>
                  <a:cubicBezTo>
                    <a:pt x="267" y="230"/>
                    <a:pt x="267" y="230"/>
                    <a:pt x="266" y="229"/>
                  </a:cubicBezTo>
                  <a:cubicBezTo>
                    <a:pt x="292" y="213"/>
                    <a:pt x="322" y="202"/>
                    <a:pt x="354" y="200"/>
                  </a:cubicBezTo>
                  <a:close/>
                  <a:moveTo>
                    <a:pt x="248" y="242"/>
                  </a:moveTo>
                  <a:cubicBezTo>
                    <a:pt x="248" y="242"/>
                    <a:pt x="248" y="242"/>
                    <a:pt x="249" y="243"/>
                  </a:cubicBezTo>
                  <a:cubicBezTo>
                    <a:pt x="249" y="243"/>
                    <a:pt x="249" y="243"/>
                    <a:pt x="283" y="296"/>
                  </a:cubicBezTo>
                  <a:cubicBezTo>
                    <a:pt x="272" y="308"/>
                    <a:pt x="262" y="321"/>
                    <a:pt x="256" y="336"/>
                  </a:cubicBezTo>
                  <a:cubicBezTo>
                    <a:pt x="256" y="336"/>
                    <a:pt x="256" y="336"/>
                    <a:pt x="196" y="320"/>
                  </a:cubicBezTo>
                  <a:cubicBezTo>
                    <a:pt x="196" y="320"/>
                    <a:pt x="196" y="320"/>
                    <a:pt x="195" y="319"/>
                  </a:cubicBezTo>
                  <a:cubicBezTo>
                    <a:pt x="206" y="289"/>
                    <a:pt x="224" y="263"/>
                    <a:pt x="248" y="242"/>
                  </a:cubicBezTo>
                  <a:close/>
                  <a:moveTo>
                    <a:pt x="190" y="434"/>
                  </a:moveTo>
                  <a:cubicBezTo>
                    <a:pt x="186" y="418"/>
                    <a:pt x="183" y="401"/>
                    <a:pt x="183" y="383"/>
                  </a:cubicBezTo>
                  <a:cubicBezTo>
                    <a:pt x="183" y="368"/>
                    <a:pt x="184" y="354"/>
                    <a:pt x="188" y="340"/>
                  </a:cubicBezTo>
                  <a:cubicBezTo>
                    <a:pt x="188" y="340"/>
                    <a:pt x="188" y="340"/>
                    <a:pt x="189" y="340"/>
                  </a:cubicBezTo>
                  <a:cubicBezTo>
                    <a:pt x="189" y="340"/>
                    <a:pt x="189" y="340"/>
                    <a:pt x="248" y="363"/>
                  </a:cubicBezTo>
                  <a:cubicBezTo>
                    <a:pt x="247" y="369"/>
                    <a:pt x="246" y="376"/>
                    <a:pt x="246" y="383"/>
                  </a:cubicBezTo>
                  <a:cubicBezTo>
                    <a:pt x="246" y="393"/>
                    <a:pt x="248" y="403"/>
                    <a:pt x="250" y="412"/>
                  </a:cubicBezTo>
                  <a:cubicBezTo>
                    <a:pt x="250" y="412"/>
                    <a:pt x="250" y="412"/>
                    <a:pt x="192" y="433"/>
                  </a:cubicBezTo>
                  <a:cubicBezTo>
                    <a:pt x="192" y="433"/>
                    <a:pt x="192" y="433"/>
                    <a:pt x="190" y="434"/>
                  </a:cubicBezTo>
                  <a:close/>
                  <a:moveTo>
                    <a:pt x="255" y="529"/>
                  </a:moveTo>
                  <a:cubicBezTo>
                    <a:pt x="230" y="510"/>
                    <a:pt x="210" y="484"/>
                    <a:pt x="197" y="455"/>
                  </a:cubicBezTo>
                  <a:cubicBezTo>
                    <a:pt x="197" y="455"/>
                    <a:pt x="197" y="455"/>
                    <a:pt x="198" y="454"/>
                  </a:cubicBezTo>
                  <a:cubicBezTo>
                    <a:pt x="198" y="454"/>
                    <a:pt x="198" y="454"/>
                    <a:pt x="260" y="438"/>
                  </a:cubicBezTo>
                  <a:cubicBezTo>
                    <a:pt x="267" y="452"/>
                    <a:pt x="277" y="465"/>
                    <a:pt x="290" y="476"/>
                  </a:cubicBezTo>
                  <a:cubicBezTo>
                    <a:pt x="290" y="476"/>
                    <a:pt x="290" y="476"/>
                    <a:pt x="255" y="528"/>
                  </a:cubicBezTo>
                  <a:lnTo>
                    <a:pt x="255" y="529"/>
                  </a:lnTo>
                  <a:close/>
                  <a:moveTo>
                    <a:pt x="273" y="541"/>
                  </a:moveTo>
                  <a:cubicBezTo>
                    <a:pt x="273" y="541"/>
                    <a:pt x="273" y="541"/>
                    <a:pt x="313" y="491"/>
                  </a:cubicBezTo>
                  <a:cubicBezTo>
                    <a:pt x="327" y="498"/>
                    <a:pt x="343" y="502"/>
                    <a:pt x="359" y="503"/>
                  </a:cubicBezTo>
                  <a:cubicBezTo>
                    <a:pt x="359" y="503"/>
                    <a:pt x="359" y="503"/>
                    <a:pt x="362" y="567"/>
                  </a:cubicBezTo>
                  <a:cubicBezTo>
                    <a:pt x="329" y="566"/>
                    <a:pt x="299" y="557"/>
                    <a:pt x="273" y="541"/>
                  </a:cubicBezTo>
                  <a:close/>
                  <a:moveTo>
                    <a:pt x="364" y="437"/>
                  </a:moveTo>
                  <a:cubicBezTo>
                    <a:pt x="335" y="437"/>
                    <a:pt x="311" y="413"/>
                    <a:pt x="311" y="384"/>
                  </a:cubicBezTo>
                  <a:cubicBezTo>
                    <a:pt x="311" y="355"/>
                    <a:pt x="335" y="331"/>
                    <a:pt x="364" y="331"/>
                  </a:cubicBezTo>
                  <a:cubicBezTo>
                    <a:pt x="393" y="331"/>
                    <a:pt x="417" y="355"/>
                    <a:pt x="417" y="384"/>
                  </a:cubicBezTo>
                  <a:cubicBezTo>
                    <a:pt x="417" y="413"/>
                    <a:pt x="393" y="437"/>
                    <a:pt x="364" y="437"/>
                  </a:cubicBezTo>
                  <a:close/>
                  <a:moveTo>
                    <a:pt x="384" y="566"/>
                  </a:moveTo>
                  <a:cubicBezTo>
                    <a:pt x="384" y="566"/>
                    <a:pt x="384" y="566"/>
                    <a:pt x="387" y="501"/>
                  </a:cubicBezTo>
                  <a:cubicBezTo>
                    <a:pt x="403" y="499"/>
                    <a:pt x="417" y="493"/>
                    <a:pt x="430" y="485"/>
                  </a:cubicBezTo>
                  <a:cubicBezTo>
                    <a:pt x="430" y="485"/>
                    <a:pt x="430" y="485"/>
                    <a:pt x="470" y="535"/>
                  </a:cubicBezTo>
                  <a:cubicBezTo>
                    <a:pt x="445" y="552"/>
                    <a:pt x="415" y="563"/>
                    <a:pt x="384" y="566"/>
                  </a:cubicBezTo>
                  <a:close/>
                  <a:moveTo>
                    <a:pt x="488" y="521"/>
                  </a:moveTo>
                  <a:cubicBezTo>
                    <a:pt x="488" y="521"/>
                    <a:pt x="488" y="521"/>
                    <a:pt x="452" y="467"/>
                  </a:cubicBezTo>
                  <a:cubicBezTo>
                    <a:pt x="463" y="456"/>
                    <a:pt x="471" y="443"/>
                    <a:pt x="478" y="429"/>
                  </a:cubicBezTo>
                  <a:cubicBezTo>
                    <a:pt x="478" y="429"/>
                    <a:pt x="478" y="429"/>
                    <a:pt x="539" y="446"/>
                  </a:cubicBezTo>
                  <a:cubicBezTo>
                    <a:pt x="528" y="475"/>
                    <a:pt x="511" y="501"/>
                    <a:pt x="488" y="521"/>
                  </a:cubicBezTo>
                  <a:close/>
                  <a:moveTo>
                    <a:pt x="545" y="425"/>
                  </a:moveTo>
                  <a:cubicBezTo>
                    <a:pt x="545" y="425"/>
                    <a:pt x="545" y="425"/>
                    <a:pt x="485" y="402"/>
                  </a:cubicBezTo>
                  <a:cubicBezTo>
                    <a:pt x="486" y="395"/>
                    <a:pt x="487" y="389"/>
                    <a:pt x="487" y="383"/>
                  </a:cubicBezTo>
                  <a:cubicBezTo>
                    <a:pt x="487" y="374"/>
                    <a:pt x="485" y="365"/>
                    <a:pt x="483" y="357"/>
                  </a:cubicBezTo>
                  <a:cubicBezTo>
                    <a:pt x="483" y="357"/>
                    <a:pt x="483" y="357"/>
                    <a:pt x="543" y="334"/>
                  </a:cubicBezTo>
                  <a:cubicBezTo>
                    <a:pt x="547" y="350"/>
                    <a:pt x="549" y="366"/>
                    <a:pt x="549" y="383"/>
                  </a:cubicBezTo>
                  <a:cubicBezTo>
                    <a:pt x="549" y="397"/>
                    <a:pt x="548" y="411"/>
                    <a:pt x="545" y="42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cxnSp>
        <p:nvCxnSpPr>
          <p:cNvPr id="49" name="Straight Arrow Connector 48">
            <a:extLst>
              <a:ext uri="{FF2B5EF4-FFF2-40B4-BE49-F238E27FC236}">
                <a16:creationId xmlns:a16="http://schemas.microsoft.com/office/drawing/2014/main" id="{E30EA498-39FC-D12F-1C7B-87BCA3348EAF}"/>
              </a:ext>
            </a:extLst>
          </p:cNvPr>
          <p:cNvCxnSpPr>
            <a:cxnSpLocks/>
          </p:cNvCxnSpPr>
          <p:nvPr/>
        </p:nvCxnSpPr>
        <p:spPr>
          <a:xfrm rot="5400000">
            <a:off x="4045302" y="3410664"/>
            <a:ext cx="717329" cy="0"/>
          </a:xfrm>
          <a:prstGeom prst="straightConnector1">
            <a:avLst/>
          </a:prstGeom>
          <a:ln cap="rnd">
            <a:solidFill>
              <a:srgbClr val="445064"/>
            </a:solidFill>
            <a:prstDash val="sysDot"/>
            <a:tailEnd type="oval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53" name="Straight Arrow Connector 52">
            <a:extLst>
              <a:ext uri="{FF2B5EF4-FFF2-40B4-BE49-F238E27FC236}">
                <a16:creationId xmlns:a16="http://schemas.microsoft.com/office/drawing/2014/main" id="{786B8C00-132A-AE90-DC55-0F8CE1AD9A38}"/>
              </a:ext>
            </a:extLst>
          </p:cNvPr>
          <p:cNvCxnSpPr>
            <a:cxnSpLocks/>
          </p:cNvCxnSpPr>
          <p:nvPr/>
        </p:nvCxnSpPr>
        <p:spPr>
          <a:xfrm>
            <a:off x="2257611" y="1779524"/>
            <a:ext cx="0" cy="2100887"/>
          </a:xfrm>
          <a:prstGeom prst="straightConnector1">
            <a:avLst/>
          </a:prstGeom>
          <a:ln cap="rnd">
            <a:solidFill>
              <a:srgbClr val="445064"/>
            </a:solidFill>
            <a:prstDash val="sysDot"/>
            <a:tailEnd type="non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56" name="Straight Arrow Connector 55">
            <a:extLst>
              <a:ext uri="{FF2B5EF4-FFF2-40B4-BE49-F238E27FC236}">
                <a16:creationId xmlns:a16="http://schemas.microsoft.com/office/drawing/2014/main" id="{1F435CFB-D9D4-9B0F-9A72-897C4D299068}"/>
              </a:ext>
            </a:extLst>
          </p:cNvPr>
          <p:cNvCxnSpPr>
            <a:cxnSpLocks/>
          </p:cNvCxnSpPr>
          <p:nvPr/>
        </p:nvCxnSpPr>
        <p:spPr>
          <a:xfrm flipV="1">
            <a:off x="2259277" y="1685116"/>
            <a:ext cx="231831" cy="3"/>
          </a:xfrm>
          <a:prstGeom prst="straightConnector1">
            <a:avLst/>
          </a:prstGeom>
          <a:ln cap="rnd">
            <a:solidFill>
              <a:srgbClr val="445064"/>
            </a:solidFill>
            <a:prstDash val="sysDot"/>
            <a:tailEnd type="oval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58" name="Textfeld 11">
            <a:extLst>
              <a:ext uri="{FF2B5EF4-FFF2-40B4-BE49-F238E27FC236}">
                <a16:creationId xmlns:a16="http://schemas.microsoft.com/office/drawing/2014/main" id="{43AB066D-9B22-656B-45A4-22CD0D9362A4}"/>
              </a:ext>
            </a:extLst>
          </p:cNvPr>
          <p:cNvSpPr txBox="1"/>
          <p:nvPr/>
        </p:nvSpPr>
        <p:spPr>
          <a:xfrm>
            <a:off x="3118466" y="2190699"/>
            <a:ext cx="1217792" cy="289438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>
              <a:lnSpc>
                <a:spcPct val="113999"/>
              </a:lnSpc>
            </a:pPr>
            <a:r>
              <a:rPr lang="de-DE">
                <a:solidFill>
                  <a:schemeClr val="tx1">
                    <a:lumMod val="65000"/>
                    <a:lumOff val="35000"/>
                  </a:schemeClr>
                </a:solidFill>
                <a:latin typeface="Arial"/>
                <a:cs typeface="Arial"/>
              </a:rPr>
              <a:t>Executer</a:t>
            </a:r>
            <a:endParaRPr lang="de-DE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grpSp>
        <p:nvGrpSpPr>
          <p:cNvPr id="36" name="Group 35">
            <a:extLst>
              <a:ext uri="{FF2B5EF4-FFF2-40B4-BE49-F238E27FC236}">
                <a16:creationId xmlns:a16="http://schemas.microsoft.com/office/drawing/2014/main" id="{6B9B0860-026C-CD06-18D1-A86C29CEBBAF}"/>
              </a:ext>
            </a:extLst>
          </p:cNvPr>
          <p:cNvGrpSpPr/>
          <p:nvPr/>
        </p:nvGrpSpPr>
        <p:grpSpPr>
          <a:xfrm>
            <a:off x="2322736" y="4007135"/>
            <a:ext cx="456753" cy="704312"/>
            <a:chOff x="169188" y="2339725"/>
            <a:chExt cx="456753" cy="704312"/>
          </a:xfrm>
        </p:grpSpPr>
        <p:sp>
          <p:nvSpPr>
            <p:cNvPr id="42" name="AutoShape 3">
              <a:extLst>
                <a:ext uri="{FF2B5EF4-FFF2-40B4-BE49-F238E27FC236}">
                  <a16:creationId xmlns:a16="http://schemas.microsoft.com/office/drawing/2014/main" id="{846C6745-08C5-AB1D-8869-CBB5528AB3D3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169188" y="2339725"/>
              <a:ext cx="456753" cy="4572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" name="TextBox 37">
              <a:extLst>
                <a:ext uri="{FF2B5EF4-FFF2-40B4-BE49-F238E27FC236}">
                  <a16:creationId xmlns:a16="http://schemas.microsoft.com/office/drawing/2014/main" id="{75B54DCA-A7DF-7ADB-0EC1-9413386B690D}"/>
                </a:ext>
              </a:extLst>
            </p:cNvPr>
            <p:cNvSpPr txBox="1"/>
            <p:nvPr/>
          </p:nvSpPr>
          <p:spPr>
            <a:xfrm>
              <a:off x="169188" y="2818975"/>
              <a:ext cx="456753" cy="22506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ct val="114000"/>
                </a:lnSpc>
              </a:pPr>
              <a:endParaRPr lang="en-US" sz="1400">
                <a:latin typeface="+mn-lt"/>
              </a:endParaRPr>
            </a:p>
          </p:txBody>
        </p:sp>
      </p:grpSp>
      <p:grpSp>
        <p:nvGrpSpPr>
          <p:cNvPr id="52" name="Group 65">
            <a:extLst>
              <a:ext uri="{FF2B5EF4-FFF2-40B4-BE49-F238E27FC236}">
                <a16:creationId xmlns:a16="http://schemas.microsoft.com/office/drawing/2014/main" id="{1F422706-6442-487D-AD6D-C18FB0C2BF23}"/>
              </a:ext>
            </a:extLst>
          </p:cNvPr>
          <p:cNvGrpSpPr>
            <a:grpSpLocks noChangeAspect="1"/>
          </p:cNvGrpSpPr>
          <p:nvPr/>
        </p:nvGrpSpPr>
        <p:grpSpPr bwMode="auto">
          <a:xfrm rot="5400000">
            <a:off x="2064951" y="3940414"/>
            <a:ext cx="456178" cy="457200"/>
            <a:chOff x="4374" y="1589"/>
            <a:chExt cx="446" cy="447"/>
          </a:xfrm>
        </p:grpSpPr>
        <p:sp>
          <p:nvSpPr>
            <p:cNvPr id="54" name="AutoShape 64">
              <a:extLst>
                <a:ext uri="{FF2B5EF4-FFF2-40B4-BE49-F238E27FC236}">
                  <a16:creationId xmlns:a16="http://schemas.microsoft.com/office/drawing/2014/main" id="{0256C411-6BE1-4198-8C9D-BFE8B77D36D6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4374" y="1589"/>
              <a:ext cx="446" cy="44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" name="Freeform 66">
              <a:extLst>
                <a:ext uri="{FF2B5EF4-FFF2-40B4-BE49-F238E27FC236}">
                  <a16:creationId xmlns:a16="http://schemas.microsoft.com/office/drawing/2014/main" id="{18A973A6-D94F-4D14-A16F-42D0D29631A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416" y="1677"/>
              <a:ext cx="363" cy="286"/>
            </a:xfrm>
            <a:custGeom>
              <a:avLst/>
              <a:gdLst>
                <a:gd name="T0" fmla="*/ 161 w 826"/>
                <a:gd name="T1" fmla="*/ 543 h 650"/>
                <a:gd name="T2" fmla="*/ 177 w 826"/>
                <a:gd name="T3" fmla="*/ 650 h 650"/>
                <a:gd name="T4" fmla="*/ 193 w 826"/>
                <a:gd name="T5" fmla="*/ 543 h 650"/>
                <a:gd name="T6" fmla="*/ 32 w 826"/>
                <a:gd name="T7" fmla="*/ 123 h 650"/>
                <a:gd name="T8" fmla="*/ 48 w 826"/>
                <a:gd name="T9" fmla="*/ 16 h 650"/>
                <a:gd name="T10" fmla="*/ 16 w 826"/>
                <a:gd name="T11" fmla="*/ 16 h 650"/>
                <a:gd name="T12" fmla="*/ 32 w 826"/>
                <a:gd name="T13" fmla="*/ 123 h 650"/>
                <a:gd name="T14" fmla="*/ 209 w 826"/>
                <a:gd name="T15" fmla="*/ 119 h 650"/>
                <a:gd name="T16" fmla="*/ 82 w 826"/>
                <a:gd name="T17" fmla="*/ 119 h 650"/>
                <a:gd name="T18" fmla="*/ 146 w 826"/>
                <a:gd name="T19" fmla="*/ 87 h 650"/>
                <a:gd name="T20" fmla="*/ 146 w 826"/>
                <a:gd name="T21" fmla="*/ 151 h 650"/>
                <a:gd name="T22" fmla="*/ 146 w 826"/>
                <a:gd name="T23" fmla="*/ 87 h 650"/>
                <a:gd name="T24" fmla="*/ 0 w 826"/>
                <a:gd name="T25" fmla="*/ 549 h 650"/>
                <a:gd name="T26" fmla="*/ 127 w 826"/>
                <a:gd name="T27" fmla="*/ 549 h 650"/>
                <a:gd name="T28" fmla="*/ 64 w 826"/>
                <a:gd name="T29" fmla="*/ 581 h 650"/>
                <a:gd name="T30" fmla="*/ 64 w 826"/>
                <a:gd name="T31" fmla="*/ 517 h 650"/>
                <a:gd name="T32" fmla="*/ 64 w 826"/>
                <a:gd name="T33" fmla="*/ 581 h 650"/>
                <a:gd name="T34" fmla="*/ 181 w 826"/>
                <a:gd name="T35" fmla="*/ 344 h 650"/>
                <a:gd name="T36" fmla="*/ 190 w 826"/>
                <a:gd name="T37" fmla="*/ 363 h 650"/>
                <a:gd name="T38" fmla="*/ 197 w 826"/>
                <a:gd name="T39" fmla="*/ 334 h 650"/>
                <a:gd name="T40" fmla="*/ 684 w 826"/>
                <a:gd name="T41" fmla="*/ 344 h 650"/>
                <a:gd name="T42" fmla="*/ 471 w 826"/>
                <a:gd name="T43" fmla="*/ 54 h 650"/>
                <a:gd name="T44" fmla="*/ 471 w 826"/>
                <a:gd name="T45" fmla="*/ 634 h 650"/>
                <a:gd name="T46" fmla="*/ 684 w 826"/>
                <a:gd name="T47" fmla="*/ 344 h 650"/>
                <a:gd name="T48" fmla="*/ 619 w 826"/>
                <a:gd name="T49" fmla="*/ 54 h 650"/>
                <a:gd name="T50" fmla="*/ 619 w 826"/>
                <a:gd name="T51" fmla="*/ 634 h 650"/>
                <a:gd name="T52" fmla="*/ 826 w 826"/>
                <a:gd name="T53" fmla="*/ 344 h 650"/>
                <a:gd name="T54" fmla="*/ 537 w 826"/>
                <a:gd name="T55" fmla="*/ 344 h 650"/>
                <a:gd name="T56" fmla="*/ 328 w 826"/>
                <a:gd name="T57" fmla="*/ 54 h 650"/>
                <a:gd name="T58" fmla="*/ 328 w 826"/>
                <a:gd name="T59" fmla="*/ 634 h 650"/>
                <a:gd name="T60" fmla="*/ 537 w 826"/>
                <a:gd name="T61" fmla="*/ 344 h 650"/>
                <a:gd name="T62" fmla="*/ 274 w 826"/>
                <a:gd name="T63" fmla="*/ 430 h 650"/>
                <a:gd name="T64" fmla="*/ 322 w 826"/>
                <a:gd name="T65" fmla="*/ 374 h 650"/>
                <a:gd name="T66" fmla="*/ 300 w 826"/>
                <a:gd name="T67" fmla="*/ 303 h 650"/>
                <a:gd name="T68" fmla="*/ 274 w 826"/>
                <a:gd name="T69" fmla="*/ 260 h 650"/>
                <a:gd name="T70" fmla="*/ 224 w 826"/>
                <a:gd name="T71" fmla="*/ 205 h 650"/>
                <a:gd name="T72" fmla="*/ 157 w 826"/>
                <a:gd name="T73" fmla="*/ 219 h 650"/>
                <a:gd name="T74" fmla="*/ 109 w 826"/>
                <a:gd name="T75" fmla="*/ 217 h 650"/>
                <a:gd name="T76" fmla="*/ 88 w 826"/>
                <a:gd name="T77" fmla="*/ 260 h 650"/>
                <a:gd name="T78" fmla="*/ 42 w 826"/>
                <a:gd name="T79" fmla="*/ 312 h 650"/>
                <a:gd name="T80" fmla="*/ 63 w 826"/>
                <a:gd name="T81" fmla="*/ 383 h 650"/>
                <a:gd name="T82" fmla="*/ 87 w 826"/>
                <a:gd name="T83" fmla="*/ 428 h 650"/>
                <a:gd name="T84" fmla="*/ 135 w 826"/>
                <a:gd name="T85" fmla="*/ 483 h 650"/>
                <a:gd name="T86" fmla="*/ 207 w 826"/>
                <a:gd name="T87" fmla="*/ 470 h 650"/>
                <a:gd name="T88" fmla="*/ 253 w 826"/>
                <a:gd name="T89" fmla="*/ 472 h 650"/>
                <a:gd name="T90" fmla="*/ 212 w 826"/>
                <a:gd name="T91" fmla="*/ 400 h 650"/>
                <a:gd name="T92" fmla="*/ 149 w 826"/>
                <a:gd name="T93" fmla="*/ 289 h 650"/>
                <a:gd name="T94" fmla="*/ 235 w 826"/>
                <a:gd name="T95" fmla="*/ 312 h 650"/>
                <a:gd name="T96" fmla="*/ 288 w 826"/>
                <a:gd name="T97" fmla="*/ 54 h 650"/>
                <a:gd name="T98" fmla="*/ 253 w 826"/>
                <a:gd name="T99" fmla="*/ 119 h 650"/>
                <a:gd name="T100" fmla="*/ 307 w 826"/>
                <a:gd name="T101" fmla="*/ 204 h 650"/>
                <a:gd name="T102" fmla="*/ 320 w 826"/>
                <a:gd name="T103" fmla="*/ 247 h 650"/>
                <a:gd name="T104" fmla="*/ 334 w 826"/>
                <a:gd name="T105" fmla="*/ 271 h 650"/>
                <a:gd name="T106" fmla="*/ 364 w 826"/>
                <a:gd name="T107" fmla="*/ 305 h 650"/>
                <a:gd name="T108" fmla="*/ 361 w 826"/>
                <a:gd name="T109" fmla="*/ 405 h 650"/>
                <a:gd name="T110" fmla="*/ 320 w 826"/>
                <a:gd name="T111" fmla="*/ 442 h 650"/>
                <a:gd name="T112" fmla="*/ 305 w 826"/>
                <a:gd name="T113" fmla="*/ 488 h 650"/>
                <a:gd name="T114" fmla="*/ 274 w 826"/>
                <a:gd name="T115" fmla="*/ 511 h 650"/>
                <a:gd name="T116" fmla="*/ 242 w 826"/>
                <a:gd name="T117" fmla="*/ 525 h 650"/>
                <a:gd name="T118" fmla="*/ 237 w 826"/>
                <a:gd name="T119" fmla="*/ 543 h 650"/>
                <a:gd name="T120" fmla="*/ 288 w 826"/>
                <a:gd name="T121" fmla="*/ 634 h 650"/>
                <a:gd name="T122" fmla="*/ 288 w 826"/>
                <a:gd name="T123" fmla="*/ 54 h 6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826" h="650">
                  <a:moveTo>
                    <a:pt x="177" y="527"/>
                  </a:moveTo>
                  <a:cubicBezTo>
                    <a:pt x="169" y="527"/>
                    <a:pt x="161" y="534"/>
                    <a:pt x="161" y="543"/>
                  </a:cubicBezTo>
                  <a:cubicBezTo>
                    <a:pt x="161" y="635"/>
                    <a:pt x="161" y="635"/>
                    <a:pt x="161" y="635"/>
                  </a:cubicBezTo>
                  <a:cubicBezTo>
                    <a:pt x="161" y="643"/>
                    <a:pt x="169" y="650"/>
                    <a:pt x="177" y="650"/>
                  </a:cubicBezTo>
                  <a:cubicBezTo>
                    <a:pt x="186" y="650"/>
                    <a:pt x="193" y="643"/>
                    <a:pt x="193" y="635"/>
                  </a:cubicBezTo>
                  <a:cubicBezTo>
                    <a:pt x="193" y="543"/>
                    <a:pt x="193" y="543"/>
                    <a:pt x="193" y="543"/>
                  </a:cubicBezTo>
                  <a:cubicBezTo>
                    <a:pt x="193" y="534"/>
                    <a:pt x="186" y="527"/>
                    <a:pt x="177" y="527"/>
                  </a:cubicBezTo>
                  <a:close/>
                  <a:moveTo>
                    <a:pt x="32" y="123"/>
                  </a:moveTo>
                  <a:cubicBezTo>
                    <a:pt x="41" y="123"/>
                    <a:pt x="48" y="116"/>
                    <a:pt x="48" y="108"/>
                  </a:cubicBezTo>
                  <a:cubicBezTo>
                    <a:pt x="48" y="16"/>
                    <a:pt x="48" y="16"/>
                    <a:pt x="48" y="16"/>
                  </a:cubicBezTo>
                  <a:cubicBezTo>
                    <a:pt x="48" y="7"/>
                    <a:pt x="41" y="0"/>
                    <a:pt x="32" y="0"/>
                  </a:cubicBezTo>
                  <a:cubicBezTo>
                    <a:pt x="23" y="0"/>
                    <a:pt x="16" y="7"/>
                    <a:pt x="16" y="16"/>
                  </a:cubicBezTo>
                  <a:cubicBezTo>
                    <a:pt x="16" y="108"/>
                    <a:pt x="16" y="108"/>
                    <a:pt x="16" y="108"/>
                  </a:cubicBezTo>
                  <a:cubicBezTo>
                    <a:pt x="16" y="116"/>
                    <a:pt x="23" y="123"/>
                    <a:pt x="32" y="123"/>
                  </a:cubicBezTo>
                  <a:close/>
                  <a:moveTo>
                    <a:pt x="146" y="182"/>
                  </a:moveTo>
                  <a:cubicBezTo>
                    <a:pt x="181" y="182"/>
                    <a:pt x="209" y="154"/>
                    <a:pt x="209" y="119"/>
                  </a:cubicBezTo>
                  <a:cubicBezTo>
                    <a:pt x="209" y="84"/>
                    <a:pt x="181" y="55"/>
                    <a:pt x="146" y="55"/>
                  </a:cubicBezTo>
                  <a:cubicBezTo>
                    <a:pt x="110" y="55"/>
                    <a:pt x="82" y="84"/>
                    <a:pt x="82" y="119"/>
                  </a:cubicBezTo>
                  <a:cubicBezTo>
                    <a:pt x="82" y="154"/>
                    <a:pt x="110" y="182"/>
                    <a:pt x="146" y="182"/>
                  </a:cubicBezTo>
                  <a:close/>
                  <a:moveTo>
                    <a:pt x="146" y="87"/>
                  </a:moveTo>
                  <a:cubicBezTo>
                    <a:pt x="163" y="87"/>
                    <a:pt x="177" y="101"/>
                    <a:pt x="177" y="119"/>
                  </a:cubicBezTo>
                  <a:cubicBezTo>
                    <a:pt x="177" y="136"/>
                    <a:pt x="163" y="151"/>
                    <a:pt x="146" y="151"/>
                  </a:cubicBezTo>
                  <a:cubicBezTo>
                    <a:pt x="128" y="151"/>
                    <a:pt x="114" y="136"/>
                    <a:pt x="114" y="119"/>
                  </a:cubicBezTo>
                  <a:cubicBezTo>
                    <a:pt x="114" y="101"/>
                    <a:pt x="128" y="87"/>
                    <a:pt x="146" y="87"/>
                  </a:cubicBezTo>
                  <a:close/>
                  <a:moveTo>
                    <a:pt x="64" y="485"/>
                  </a:moveTo>
                  <a:cubicBezTo>
                    <a:pt x="29" y="485"/>
                    <a:pt x="0" y="514"/>
                    <a:pt x="0" y="549"/>
                  </a:cubicBezTo>
                  <a:cubicBezTo>
                    <a:pt x="0" y="584"/>
                    <a:pt x="29" y="613"/>
                    <a:pt x="64" y="613"/>
                  </a:cubicBezTo>
                  <a:cubicBezTo>
                    <a:pt x="99" y="613"/>
                    <a:pt x="127" y="584"/>
                    <a:pt x="127" y="549"/>
                  </a:cubicBezTo>
                  <a:cubicBezTo>
                    <a:pt x="127" y="514"/>
                    <a:pt x="99" y="485"/>
                    <a:pt x="64" y="485"/>
                  </a:cubicBezTo>
                  <a:close/>
                  <a:moveTo>
                    <a:pt x="64" y="581"/>
                  </a:moveTo>
                  <a:cubicBezTo>
                    <a:pt x="46" y="581"/>
                    <a:pt x="32" y="566"/>
                    <a:pt x="32" y="549"/>
                  </a:cubicBezTo>
                  <a:cubicBezTo>
                    <a:pt x="32" y="531"/>
                    <a:pt x="46" y="517"/>
                    <a:pt x="64" y="517"/>
                  </a:cubicBezTo>
                  <a:cubicBezTo>
                    <a:pt x="81" y="517"/>
                    <a:pt x="96" y="531"/>
                    <a:pt x="96" y="549"/>
                  </a:cubicBezTo>
                  <a:cubicBezTo>
                    <a:pt x="96" y="566"/>
                    <a:pt x="81" y="581"/>
                    <a:pt x="64" y="581"/>
                  </a:cubicBezTo>
                  <a:close/>
                  <a:moveTo>
                    <a:pt x="182" y="325"/>
                  </a:moveTo>
                  <a:cubicBezTo>
                    <a:pt x="181" y="331"/>
                    <a:pt x="181" y="337"/>
                    <a:pt x="181" y="344"/>
                  </a:cubicBezTo>
                  <a:cubicBezTo>
                    <a:pt x="181" y="351"/>
                    <a:pt x="182" y="358"/>
                    <a:pt x="182" y="365"/>
                  </a:cubicBezTo>
                  <a:cubicBezTo>
                    <a:pt x="184" y="365"/>
                    <a:pt x="187" y="364"/>
                    <a:pt x="190" y="363"/>
                  </a:cubicBezTo>
                  <a:cubicBezTo>
                    <a:pt x="190" y="362"/>
                    <a:pt x="190" y="362"/>
                    <a:pt x="190" y="362"/>
                  </a:cubicBezTo>
                  <a:cubicBezTo>
                    <a:pt x="200" y="357"/>
                    <a:pt x="203" y="344"/>
                    <a:pt x="197" y="334"/>
                  </a:cubicBezTo>
                  <a:cubicBezTo>
                    <a:pt x="194" y="329"/>
                    <a:pt x="188" y="325"/>
                    <a:pt x="182" y="325"/>
                  </a:cubicBezTo>
                  <a:close/>
                  <a:moveTo>
                    <a:pt x="684" y="344"/>
                  </a:moveTo>
                  <a:cubicBezTo>
                    <a:pt x="684" y="184"/>
                    <a:pt x="644" y="54"/>
                    <a:pt x="585" y="54"/>
                  </a:cubicBezTo>
                  <a:cubicBezTo>
                    <a:pt x="471" y="54"/>
                    <a:pt x="471" y="54"/>
                    <a:pt x="471" y="54"/>
                  </a:cubicBezTo>
                  <a:cubicBezTo>
                    <a:pt x="531" y="54"/>
                    <a:pt x="571" y="184"/>
                    <a:pt x="571" y="344"/>
                  </a:cubicBezTo>
                  <a:cubicBezTo>
                    <a:pt x="571" y="504"/>
                    <a:pt x="531" y="634"/>
                    <a:pt x="471" y="634"/>
                  </a:cubicBezTo>
                  <a:cubicBezTo>
                    <a:pt x="585" y="634"/>
                    <a:pt x="585" y="634"/>
                    <a:pt x="585" y="634"/>
                  </a:cubicBezTo>
                  <a:cubicBezTo>
                    <a:pt x="644" y="634"/>
                    <a:pt x="684" y="504"/>
                    <a:pt x="684" y="344"/>
                  </a:cubicBezTo>
                  <a:close/>
                  <a:moveTo>
                    <a:pt x="730" y="54"/>
                  </a:moveTo>
                  <a:cubicBezTo>
                    <a:pt x="619" y="54"/>
                    <a:pt x="619" y="54"/>
                    <a:pt x="619" y="54"/>
                  </a:cubicBezTo>
                  <a:cubicBezTo>
                    <a:pt x="676" y="54"/>
                    <a:pt x="716" y="184"/>
                    <a:pt x="716" y="344"/>
                  </a:cubicBezTo>
                  <a:cubicBezTo>
                    <a:pt x="716" y="504"/>
                    <a:pt x="676" y="634"/>
                    <a:pt x="619" y="634"/>
                  </a:cubicBezTo>
                  <a:cubicBezTo>
                    <a:pt x="730" y="634"/>
                    <a:pt x="730" y="634"/>
                    <a:pt x="730" y="634"/>
                  </a:cubicBezTo>
                  <a:cubicBezTo>
                    <a:pt x="787" y="634"/>
                    <a:pt x="826" y="504"/>
                    <a:pt x="826" y="344"/>
                  </a:cubicBezTo>
                  <a:cubicBezTo>
                    <a:pt x="826" y="184"/>
                    <a:pt x="787" y="54"/>
                    <a:pt x="730" y="54"/>
                  </a:cubicBezTo>
                  <a:close/>
                  <a:moveTo>
                    <a:pt x="537" y="344"/>
                  </a:moveTo>
                  <a:cubicBezTo>
                    <a:pt x="537" y="184"/>
                    <a:pt x="497" y="54"/>
                    <a:pt x="439" y="54"/>
                  </a:cubicBezTo>
                  <a:cubicBezTo>
                    <a:pt x="328" y="54"/>
                    <a:pt x="328" y="54"/>
                    <a:pt x="328" y="54"/>
                  </a:cubicBezTo>
                  <a:cubicBezTo>
                    <a:pt x="386" y="54"/>
                    <a:pt x="426" y="184"/>
                    <a:pt x="426" y="344"/>
                  </a:cubicBezTo>
                  <a:cubicBezTo>
                    <a:pt x="426" y="504"/>
                    <a:pt x="386" y="634"/>
                    <a:pt x="328" y="634"/>
                  </a:cubicBezTo>
                  <a:cubicBezTo>
                    <a:pt x="439" y="634"/>
                    <a:pt x="439" y="634"/>
                    <a:pt x="439" y="634"/>
                  </a:cubicBezTo>
                  <a:cubicBezTo>
                    <a:pt x="497" y="634"/>
                    <a:pt x="537" y="504"/>
                    <a:pt x="537" y="344"/>
                  </a:cubicBezTo>
                  <a:close/>
                  <a:moveTo>
                    <a:pt x="277" y="454"/>
                  </a:moveTo>
                  <a:cubicBezTo>
                    <a:pt x="274" y="430"/>
                    <a:pt x="274" y="430"/>
                    <a:pt x="274" y="430"/>
                  </a:cubicBezTo>
                  <a:cubicBezTo>
                    <a:pt x="286" y="416"/>
                    <a:pt x="295" y="400"/>
                    <a:pt x="300" y="383"/>
                  </a:cubicBezTo>
                  <a:cubicBezTo>
                    <a:pt x="322" y="374"/>
                    <a:pt x="322" y="374"/>
                    <a:pt x="322" y="374"/>
                  </a:cubicBezTo>
                  <a:cubicBezTo>
                    <a:pt x="326" y="354"/>
                    <a:pt x="326" y="333"/>
                    <a:pt x="321" y="314"/>
                  </a:cubicBezTo>
                  <a:cubicBezTo>
                    <a:pt x="300" y="303"/>
                    <a:pt x="300" y="303"/>
                    <a:pt x="300" y="303"/>
                  </a:cubicBezTo>
                  <a:cubicBezTo>
                    <a:pt x="297" y="297"/>
                    <a:pt x="294" y="289"/>
                    <a:pt x="290" y="281"/>
                  </a:cubicBezTo>
                  <a:cubicBezTo>
                    <a:pt x="285" y="273"/>
                    <a:pt x="280" y="266"/>
                    <a:pt x="274" y="260"/>
                  </a:cubicBezTo>
                  <a:cubicBezTo>
                    <a:pt x="277" y="236"/>
                    <a:pt x="277" y="236"/>
                    <a:pt x="277" y="236"/>
                  </a:cubicBezTo>
                  <a:cubicBezTo>
                    <a:pt x="261" y="221"/>
                    <a:pt x="243" y="210"/>
                    <a:pt x="224" y="205"/>
                  </a:cubicBezTo>
                  <a:cubicBezTo>
                    <a:pt x="204" y="219"/>
                    <a:pt x="204" y="219"/>
                    <a:pt x="204" y="219"/>
                  </a:cubicBezTo>
                  <a:cubicBezTo>
                    <a:pt x="188" y="215"/>
                    <a:pt x="173" y="216"/>
                    <a:pt x="157" y="219"/>
                  </a:cubicBezTo>
                  <a:cubicBezTo>
                    <a:pt x="138" y="205"/>
                    <a:pt x="138" y="205"/>
                    <a:pt x="138" y="205"/>
                  </a:cubicBezTo>
                  <a:cubicBezTo>
                    <a:pt x="128" y="208"/>
                    <a:pt x="118" y="212"/>
                    <a:pt x="109" y="217"/>
                  </a:cubicBezTo>
                  <a:cubicBezTo>
                    <a:pt x="100" y="223"/>
                    <a:pt x="92" y="228"/>
                    <a:pt x="85" y="236"/>
                  </a:cubicBezTo>
                  <a:cubicBezTo>
                    <a:pt x="88" y="260"/>
                    <a:pt x="88" y="260"/>
                    <a:pt x="88" y="260"/>
                  </a:cubicBezTo>
                  <a:cubicBezTo>
                    <a:pt x="77" y="273"/>
                    <a:pt x="68" y="287"/>
                    <a:pt x="63" y="302"/>
                  </a:cubicBezTo>
                  <a:cubicBezTo>
                    <a:pt x="42" y="312"/>
                    <a:pt x="42" y="312"/>
                    <a:pt x="42" y="312"/>
                  </a:cubicBezTo>
                  <a:cubicBezTo>
                    <a:pt x="37" y="332"/>
                    <a:pt x="37" y="352"/>
                    <a:pt x="41" y="375"/>
                  </a:cubicBezTo>
                  <a:cubicBezTo>
                    <a:pt x="63" y="383"/>
                    <a:pt x="63" y="383"/>
                    <a:pt x="63" y="383"/>
                  </a:cubicBezTo>
                  <a:cubicBezTo>
                    <a:pt x="65" y="391"/>
                    <a:pt x="68" y="400"/>
                    <a:pt x="73" y="407"/>
                  </a:cubicBezTo>
                  <a:cubicBezTo>
                    <a:pt x="77" y="415"/>
                    <a:pt x="82" y="422"/>
                    <a:pt x="87" y="428"/>
                  </a:cubicBezTo>
                  <a:cubicBezTo>
                    <a:pt x="84" y="452"/>
                    <a:pt x="84" y="452"/>
                    <a:pt x="84" y="452"/>
                  </a:cubicBezTo>
                  <a:cubicBezTo>
                    <a:pt x="100" y="466"/>
                    <a:pt x="117" y="476"/>
                    <a:pt x="135" y="483"/>
                  </a:cubicBezTo>
                  <a:cubicBezTo>
                    <a:pt x="154" y="469"/>
                    <a:pt x="154" y="469"/>
                    <a:pt x="154" y="469"/>
                  </a:cubicBezTo>
                  <a:cubicBezTo>
                    <a:pt x="172" y="473"/>
                    <a:pt x="189" y="473"/>
                    <a:pt x="207" y="470"/>
                  </a:cubicBezTo>
                  <a:cubicBezTo>
                    <a:pt x="227" y="483"/>
                    <a:pt x="227" y="483"/>
                    <a:pt x="227" y="483"/>
                  </a:cubicBezTo>
                  <a:cubicBezTo>
                    <a:pt x="235" y="480"/>
                    <a:pt x="244" y="476"/>
                    <a:pt x="253" y="472"/>
                  </a:cubicBezTo>
                  <a:cubicBezTo>
                    <a:pt x="261" y="467"/>
                    <a:pt x="269" y="460"/>
                    <a:pt x="277" y="454"/>
                  </a:cubicBezTo>
                  <a:close/>
                  <a:moveTo>
                    <a:pt x="212" y="400"/>
                  </a:moveTo>
                  <a:cubicBezTo>
                    <a:pt x="182" y="418"/>
                    <a:pt x="144" y="407"/>
                    <a:pt x="126" y="376"/>
                  </a:cubicBezTo>
                  <a:cubicBezTo>
                    <a:pt x="108" y="346"/>
                    <a:pt x="118" y="306"/>
                    <a:pt x="149" y="289"/>
                  </a:cubicBezTo>
                  <a:cubicBezTo>
                    <a:pt x="157" y="284"/>
                    <a:pt x="165" y="281"/>
                    <a:pt x="173" y="281"/>
                  </a:cubicBezTo>
                  <a:cubicBezTo>
                    <a:pt x="197" y="278"/>
                    <a:pt x="222" y="289"/>
                    <a:pt x="235" y="312"/>
                  </a:cubicBezTo>
                  <a:cubicBezTo>
                    <a:pt x="253" y="344"/>
                    <a:pt x="243" y="383"/>
                    <a:pt x="212" y="400"/>
                  </a:cubicBezTo>
                  <a:close/>
                  <a:moveTo>
                    <a:pt x="288" y="54"/>
                  </a:moveTo>
                  <a:cubicBezTo>
                    <a:pt x="273" y="54"/>
                    <a:pt x="258" y="62"/>
                    <a:pt x="245" y="78"/>
                  </a:cubicBezTo>
                  <a:cubicBezTo>
                    <a:pt x="250" y="91"/>
                    <a:pt x="253" y="104"/>
                    <a:pt x="253" y="119"/>
                  </a:cubicBezTo>
                  <a:cubicBezTo>
                    <a:pt x="253" y="135"/>
                    <a:pt x="249" y="151"/>
                    <a:pt x="243" y="165"/>
                  </a:cubicBezTo>
                  <a:cubicBezTo>
                    <a:pt x="266" y="173"/>
                    <a:pt x="289" y="187"/>
                    <a:pt x="307" y="204"/>
                  </a:cubicBezTo>
                  <a:cubicBezTo>
                    <a:pt x="322" y="219"/>
                    <a:pt x="322" y="219"/>
                    <a:pt x="322" y="219"/>
                  </a:cubicBezTo>
                  <a:cubicBezTo>
                    <a:pt x="320" y="247"/>
                    <a:pt x="320" y="247"/>
                    <a:pt x="320" y="247"/>
                  </a:cubicBezTo>
                  <a:cubicBezTo>
                    <a:pt x="323" y="251"/>
                    <a:pt x="325" y="255"/>
                    <a:pt x="328" y="260"/>
                  </a:cubicBezTo>
                  <a:cubicBezTo>
                    <a:pt x="330" y="264"/>
                    <a:pt x="332" y="268"/>
                    <a:pt x="334" y="271"/>
                  </a:cubicBezTo>
                  <a:cubicBezTo>
                    <a:pt x="360" y="284"/>
                    <a:pt x="360" y="284"/>
                    <a:pt x="360" y="284"/>
                  </a:cubicBezTo>
                  <a:cubicBezTo>
                    <a:pt x="364" y="305"/>
                    <a:pt x="364" y="305"/>
                    <a:pt x="364" y="305"/>
                  </a:cubicBezTo>
                  <a:cubicBezTo>
                    <a:pt x="370" y="329"/>
                    <a:pt x="370" y="356"/>
                    <a:pt x="365" y="382"/>
                  </a:cubicBezTo>
                  <a:cubicBezTo>
                    <a:pt x="361" y="405"/>
                    <a:pt x="361" y="405"/>
                    <a:pt x="361" y="405"/>
                  </a:cubicBezTo>
                  <a:cubicBezTo>
                    <a:pt x="334" y="417"/>
                    <a:pt x="334" y="417"/>
                    <a:pt x="334" y="417"/>
                  </a:cubicBezTo>
                  <a:cubicBezTo>
                    <a:pt x="330" y="426"/>
                    <a:pt x="326" y="434"/>
                    <a:pt x="320" y="442"/>
                  </a:cubicBezTo>
                  <a:cubicBezTo>
                    <a:pt x="324" y="473"/>
                    <a:pt x="324" y="473"/>
                    <a:pt x="324" y="473"/>
                  </a:cubicBezTo>
                  <a:cubicBezTo>
                    <a:pt x="305" y="488"/>
                    <a:pt x="305" y="488"/>
                    <a:pt x="305" y="488"/>
                  </a:cubicBezTo>
                  <a:cubicBezTo>
                    <a:pt x="297" y="495"/>
                    <a:pt x="287" y="503"/>
                    <a:pt x="275" y="510"/>
                  </a:cubicBezTo>
                  <a:cubicBezTo>
                    <a:pt x="274" y="511"/>
                    <a:pt x="274" y="511"/>
                    <a:pt x="274" y="511"/>
                  </a:cubicBezTo>
                  <a:cubicBezTo>
                    <a:pt x="272" y="511"/>
                    <a:pt x="272" y="511"/>
                    <a:pt x="272" y="511"/>
                  </a:cubicBezTo>
                  <a:cubicBezTo>
                    <a:pt x="261" y="517"/>
                    <a:pt x="250" y="522"/>
                    <a:pt x="242" y="525"/>
                  </a:cubicBezTo>
                  <a:cubicBezTo>
                    <a:pt x="235" y="528"/>
                    <a:pt x="235" y="528"/>
                    <a:pt x="235" y="528"/>
                  </a:cubicBezTo>
                  <a:cubicBezTo>
                    <a:pt x="237" y="533"/>
                    <a:pt x="237" y="538"/>
                    <a:pt x="237" y="543"/>
                  </a:cubicBezTo>
                  <a:cubicBezTo>
                    <a:pt x="237" y="600"/>
                    <a:pt x="237" y="600"/>
                    <a:pt x="237" y="600"/>
                  </a:cubicBezTo>
                  <a:cubicBezTo>
                    <a:pt x="252" y="622"/>
                    <a:pt x="269" y="634"/>
                    <a:pt x="288" y="634"/>
                  </a:cubicBezTo>
                  <a:cubicBezTo>
                    <a:pt x="346" y="634"/>
                    <a:pt x="395" y="504"/>
                    <a:pt x="395" y="344"/>
                  </a:cubicBezTo>
                  <a:cubicBezTo>
                    <a:pt x="395" y="184"/>
                    <a:pt x="346" y="54"/>
                    <a:pt x="288" y="5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2" name="Textfeld 12">
            <a:extLst>
              <a:ext uri="{FF2B5EF4-FFF2-40B4-BE49-F238E27FC236}">
                <a16:creationId xmlns:a16="http://schemas.microsoft.com/office/drawing/2014/main" id="{0B644E75-E7BD-EEB4-F6C6-E898B37EA278}"/>
              </a:ext>
            </a:extLst>
          </p:cNvPr>
          <p:cNvSpPr txBox="1"/>
          <p:nvPr/>
        </p:nvSpPr>
        <p:spPr>
          <a:xfrm>
            <a:off x="1831066" y="3421147"/>
            <a:ext cx="394642" cy="19300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>
              <a:lnSpc>
                <a:spcPct val="113999"/>
              </a:lnSpc>
            </a:pPr>
            <a:r>
              <a:rPr lang="de-DE" sz="1200">
                <a:solidFill>
                  <a:schemeClr val="tx1">
                    <a:lumMod val="65000"/>
                    <a:lumOff val="35000"/>
                  </a:schemeClr>
                </a:solidFill>
                <a:latin typeface="Arial"/>
                <a:cs typeface="Arial"/>
              </a:rPr>
              <a:t>fetch</a:t>
            </a:r>
            <a:endParaRPr lang="de-DE" sz="120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60" name="Textfeld 12">
            <a:extLst>
              <a:ext uri="{FF2B5EF4-FFF2-40B4-BE49-F238E27FC236}">
                <a16:creationId xmlns:a16="http://schemas.microsoft.com/office/drawing/2014/main" id="{B968851E-1DA8-8F90-7313-49DC5715DFA6}"/>
              </a:ext>
            </a:extLst>
          </p:cNvPr>
          <p:cNvSpPr txBox="1"/>
          <p:nvPr/>
        </p:nvSpPr>
        <p:spPr>
          <a:xfrm>
            <a:off x="4531906" y="3410513"/>
            <a:ext cx="618506" cy="19300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>
              <a:lnSpc>
                <a:spcPct val="113999"/>
              </a:lnSpc>
            </a:pPr>
            <a:r>
              <a:rPr lang="de-DE" sz="1200">
                <a:solidFill>
                  <a:schemeClr val="tx1">
                    <a:lumMod val="65000"/>
                    <a:lumOff val="35000"/>
                  </a:schemeClr>
                </a:solidFill>
                <a:latin typeface="Arial"/>
                <a:cs typeface="Arial"/>
              </a:rPr>
              <a:t>publish</a:t>
            </a:r>
            <a:endParaRPr lang="de-DE" sz="120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B93C4810-4F71-A1D6-7F05-5163C5B836EF}"/>
              </a:ext>
            </a:extLst>
          </p:cNvPr>
          <p:cNvSpPr/>
          <p:nvPr/>
        </p:nvSpPr>
        <p:spPr>
          <a:xfrm>
            <a:off x="2112558" y="896640"/>
            <a:ext cx="2743198" cy="397348"/>
          </a:xfrm>
          <a:prstGeom prst="rect">
            <a:avLst/>
          </a:prstGeom>
          <a:solidFill>
            <a:schemeClr val="accent4"/>
          </a:solidFill>
          <a:ln>
            <a:solidFill>
              <a:schemeClr val="accent4"/>
            </a:solidFill>
          </a:ln>
          <a:effectLst>
            <a:softEdge rad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4000"/>
              </a:lnSpc>
            </a:pPr>
            <a:r>
              <a:rPr lang="de-DE">
                <a:solidFill>
                  <a:schemeClr val="tx1">
                    <a:lumMod val="65000"/>
                    <a:lumOff val="35000"/>
                  </a:schemeClr>
                </a:solidFill>
              </a:rPr>
              <a:t>TFX Component</a:t>
            </a:r>
            <a:endParaRPr lang="en-US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50" name="Fußzeilenplatzhalter 4">
            <a:extLst>
              <a:ext uri="{FF2B5EF4-FFF2-40B4-BE49-F238E27FC236}">
                <a16:creationId xmlns:a16="http://schemas.microsoft.com/office/drawing/2014/main" id="{1D17303B-4A8D-6A6D-E5CC-63980402900C}"/>
              </a:ext>
            </a:extLst>
          </p:cNvPr>
          <p:cNvSpPr txBox="1">
            <a:spLocks/>
          </p:cNvSpPr>
          <p:nvPr/>
        </p:nvSpPr>
        <p:spPr>
          <a:xfrm>
            <a:off x="311162" y="4854985"/>
            <a:ext cx="7829538" cy="28851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1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r>
              <a:rPr lang="en-US" dirty="0">
                <a:latin typeface="Arial"/>
                <a:cs typeface="Arial"/>
              </a:rPr>
              <a:t>◻︎ Outline | ◻︎ Organizational</a:t>
            </a:r>
            <a:r>
              <a:rPr lang="en-US" b="1" dirty="0">
                <a:latin typeface="Arial"/>
                <a:cs typeface="Arial"/>
              </a:rPr>
              <a:t> </a:t>
            </a:r>
            <a:r>
              <a:rPr lang="en-US" dirty="0">
                <a:latin typeface="Arial"/>
                <a:cs typeface="Arial"/>
              </a:rPr>
              <a:t>structure</a:t>
            </a:r>
            <a:r>
              <a:rPr lang="en-US" b="1" dirty="0">
                <a:latin typeface="Arial"/>
                <a:cs typeface="Arial"/>
              </a:rPr>
              <a:t> </a:t>
            </a:r>
            <a:r>
              <a:rPr lang="en-US" dirty="0">
                <a:latin typeface="Arial"/>
                <a:cs typeface="Arial"/>
              </a:rPr>
              <a:t>| ◻︎ Research Topics | ◼︎ </a:t>
            </a:r>
            <a:r>
              <a:rPr lang="en-US" b="1" dirty="0">
                <a:latin typeface="Arial"/>
                <a:cs typeface="Arial"/>
              </a:rPr>
              <a:t>ML Pipeline</a:t>
            </a:r>
            <a:r>
              <a:rPr lang="en-US" dirty="0">
                <a:latin typeface="Arial"/>
                <a:cs typeface="Arial"/>
              </a:rPr>
              <a:t>  | ◻︎ Next steps</a:t>
            </a:r>
          </a:p>
        </p:txBody>
      </p:sp>
    </p:spTree>
    <p:extLst>
      <p:ext uri="{BB962C8B-B14F-4D97-AF65-F5344CB8AC3E}">
        <p14:creationId xmlns:p14="http://schemas.microsoft.com/office/powerpoint/2010/main" val="25440266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 advTm="20000"/>
    </mc:Choice>
    <mc:Fallback xmlns="">
      <p:transition spd="slow" advClick="0" advTm="20000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75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14C02855-CC96-4CB1-BC91-F306D033CA5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14C02855-CC96-4CB1-BC91-F306D033CA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el 2">
            <a:extLst>
              <a:ext uri="{FF2B5EF4-FFF2-40B4-BE49-F238E27FC236}">
                <a16:creationId xmlns:a16="http://schemas.microsoft.com/office/drawing/2014/main" id="{37327073-11DD-47A1-A0A3-AEC7A599651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7501" y="282065"/>
            <a:ext cx="7891317" cy="380810"/>
          </a:xfrm>
        </p:spPr>
        <p:txBody>
          <a:bodyPr vert="horz"/>
          <a:lstStyle/>
          <a:p>
            <a:r>
              <a:rPr lang="de-DE"/>
              <a:t>We will use TFX to keep our ML Pipeline organized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F623D925-8B03-4C79-B8CE-4001D099571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17</a:t>
            </a:fld>
            <a:endParaRPr lang="de-DE"/>
          </a:p>
        </p:txBody>
      </p:sp>
      <p:pic>
        <p:nvPicPr>
          <p:cNvPr id="8" name="Grafik 2" descr="countdown.gif">
            <a:extLst>
              <a:ext uri="{FF2B5EF4-FFF2-40B4-BE49-F238E27FC236}">
                <a16:creationId xmlns:a16="http://schemas.microsoft.com/office/drawing/2014/main" id="{9F18EF32-707B-47E4-B94B-5CA81854BA99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85113" y="4575685"/>
            <a:ext cx="1258887" cy="571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26226DE0-9C00-4A36-AC91-EDE50C2AE81F}"/>
              </a:ext>
            </a:extLst>
          </p:cNvPr>
          <p:cNvSpPr/>
          <p:nvPr/>
        </p:nvSpPr>
        <p:spPr>
          <a:xfrm>
            <a:off x="236397" y="1043609"/>
            <a:ext cx="1235840" cy="70567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4000"/>
              </a:lnSpc>
            </a:pPr>
            <a:r>
              <a:rPr lang="en-US" sz="1400"/>
              <a:t>Data Ingestion 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637A568-3B30-4C16-856D-C701873B774D}"/>
              </a:ext>
            </a:extLst>
          </p:cNvPr>
          <p:cNvSpPr/>
          <p:nvPr/>
        </p:nvSpPr>
        <p:spPr>
          <a:xfrm>
            <a:off x="1709128" y="1043609"/>
            <a:ext cx="1235840" cy="70567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4000"/>
              </a:lnSpc>
            </a:pPr>
            <a:r>
              <a:rPr lang="en-US" sz="1400"/>
              <a:t>Data Validation 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3997A44E-E93D-478B-90FE-09FE66E341A3}"/>
              </a:ext>
            </a:extLst>
          </p:cNvPr>
          <p:cNvSpPr/>
          <p:nvPr/>
        </p:nvSpPr>
        <p:spPr>
          <a:xfrm>
            <a:off x="3181859" y="1043609"/>
            <a:ext cx="1235840" cy="70567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4000"/>
              </a:lnSpc>
            </a:pPr>
            <a:r>
              <a:rPr lang="en-US" sz="1400"/>
              <a:t>Data Processing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8C1AC063-6066-4A3C-A442-88940157B2E4}"/>
              </a:ext>
            </a:extLst>
          </p:cNvPr>
          <p:cNvSpPr/>
          <p:nvPr/>
        </p:nvSpPr>
        <p:spPr>
          <a:xfrm>
            <a:off x="4654590" y="1043609"/>
            <a:ext cx="1235840" cy="70567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4000"/>
              </a:lnSpc>
            </a:pPr>
            <a:r>
              <a:rPr lang="en-US" sz="1400"/>
              <a:t>Estimator on </a:t>
            </a:r>
            <a:r>
              <a:rPr lang="en-US" sz="1400" err="1"/>
              <a:t>Keras</a:t>
            </a:r>
            <a:r>
              <a:rPr lang="en-US" sz="1400"/>
              <a:t> Model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F4AF43C6-212B-4116-90BF-12594D04635B}"/>
              </a:ext>
            </a:extLst>
          </p:cNvPr>
          <p:cNvSpPr/>
          <p:nvPr/>
        </p:nvSpPr>
        <p:spPr>
          <a:xfrm>
            <a:off x="6127321" y="1043609"/>
            <a:ext cx="1235840" cy="70567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4000"/>
              </a:lnSpc>
            </a:pPr>
            <a:r>
              <a:rPr lang="en-US" sz="1400"/>
              <a:t>Model Analysis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1E8711C7-80EF-4D4F-A64E-95B7E0A44D7C}"/>
              </a:ext>
            </a:extLst>
          </p:cNvPr>
          <p:cNvSpPr/>
          <p:nvPr/>
        </p:nvSpPr>
        <p:spPr>
          <a:xfrm>
            <a:off x="7600051" y="1043609"/>
            <a:ext cx="1235840" cy="70567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4000"/>
              </a:lnSpc>
            </a:pPr>
            <a:r>
              <a:rPr lang="en-US" sz="1400"/>
              <a:t>Model Serving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55F59D97-B9EB-43C5-B6F1-02C384A01DCA}"/>
              </a:ext>
            </a:extLst>
          </p:cNvPr>
          <p:cNvSpPr/>
          <p:nvPr/>
        </p:nvSpPr>
        <p:spPr>
          <a:xfrm>
            <a:off x="236397" y="1811947"/>
            <a:ext cx="1235840" cy="705678"/>
          </a:xfrm>
          <a:prstGeom prst="rect">
            <a:avLst/>
          </a:prstGeom>
          <a:solidFill>
            <a:schemeClr val="accent6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4000"/>
              </a:lnSpc>
            </a:pPr>
            <a:r>
              <a:rPr lang="en-US" sz="1400" err="1">
                <a:solidFill>
                  <a:schemeClr val="tx1"/>
                </a:solidFill>
              </a:rPr>
              <a:t>ExampleGen</a:t>
            </a:r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E1AD3D8B-BA63-42C1-B4C2-6B6B21FFD033}"/>
              </a:ext>
            </a:extLst>
          </p:cNvPr>
          <p:cNvSpPr/>
          <p:nvPr/>
        </p:nvSpPr>
        <p:spPr>
          <a:xfrm>
            <a:off x="1709128" y="1811947"/>
            <a:ext cx="1235840" cy="705678"/>
          </a:xfrm>
          <a:prstGeom prst="rect">
            <a:avLst/>
          </a:prstGeom>
          <a:solidFill>
            <a:schemeClr val="accent6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4000"/>
              </a:lnSpc>
            </a:pPr>
            <a:r>
              <a:rPr lang="en-US" sz="1400" err="1">
                <a:solidFill>
                  <a:schemeClr val="tx1"/>
                </a:solidFill>
              </a:rPr>
              <a:t>StatisticsGen</a:t>
            </a:r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BEA2828F-0EC3-4A75-BD41-98AEE8573256}"/>
              </a:ext>
            </a:extLst>
          </p:cNvPr>
          <p:cNvSpPr/>
          <p:nvPr/>
        </p:nvSpPr>
        <p:spPr>
          <a:xfrm>
            <a:off x="3181859" y="1811947"/>
            <a:ext cx="1235840" cy="705678"/>
          </a:xfrm>
          <a:prstGeom prst="rect">
            <a:avLst/>
          </a:prstGeom>
          <a:solidFill>
            <a:schemeClr val="accent6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4000"/>
              </a:lnSpc>
            </a:pPr>
            <a:r>
              <a:rPr lang="en-US" sz="1400">
                <a:solidFill>
                  <a:schemeClr val="tx1"/>
                </a:solidFill>
              </a:rPr>
              <a:t>Transform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B8849BE3-F16C-4A9D-9A28-36A264971374}"/>
              </a:ext>
            </a:extLst>
          </p:cNvPr>
          <p:cNvSpPr/>
          <p:nvPr/>
        </p:nvSpPr>
        <p:spPr>
          <a:xfrm>
            <a:off x="4654590" y="2749336"/>
            <a:ext cx="1235840" cy="705678"/>
          </a:xfrm>
          <a:prstGeom prst="rect">
            <a:avLst/>
          </a:prstGeom>
          <a:solidFill>
            <a:schemeClr val="accent6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4000"/>
              </a:lnSpc>
            </a:pPr>
            <a:r>
              <a:rPr lang="en-US" sz="1400">
                <a:solidFill>
                  <a:schemeClr val="tx1"/>
                </a:solidFill>
              </a:rPr>
              <a:t>Trainer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F881FB4D-DC40-48B0-879C-4CAA1AAA24D6}"/>
              </a:ext>
            </a:extLst>
          </p:cNvPr>
          <p:cNvSpPr/>
          <p:nvPr/>
        </p:nvSpPr>
        <p:spPr>
          <a:xfrm>
            <a:off x="4654590" y="1811947"/>
            <a:ext cx="1235840" cy="705678"/>
          </a:xfrm>
          <a:prstGeom prst="rect">
            <a:avLst/>
          </a:prstGeom>
          <a:solidFill>
            <a:schemeClr val="accent6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4000"/>
              </a:lnSpc>
            </a:pPr>
            <a:r>
              <a:rPr lang="en-US" sz="1400">
                <a:solidFill>
                  <a:schemeClr val="tx1"/>
                </a:solidFill>
              </a:rPr>
              <a:t>Tuner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B181E420-25BE-4957-8E2A-9C175D8387E2}"/>
              </a:ext>
            </a:extLst>
          </p:cNvPr>
          <p:cNvSpPr/>
          <p:nvPr/>
        </p:nvSpPr>
        <p:spPr>
          <a:xfrm>
            <a:off x="6127321" y="1811947"/>
            <a:ext cx="1235840" cy="705678"/>
          </a:xfrm>
          <a:prstGeom prst="rect">
            <a:avLst/>
          </a:prstGeom>
          <a:solidFill>
            <a:schemeClr val="accent6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4000"/>
              </a:lnSpc>
            </a:pPr>
            <a:r>
              <a:rPr lang="en-US" sz="1400">
                <a:solidFill>
                  <a:schemeClr val="tx1"/>
                </a:solidFill>
              </a:rPr>
              <a:t>Evaluator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EB6839CF-EA0A-4376-B518-75DB9903B290}"/>
              </a:ext>
            </a:extLst>
          </p:cNvPr>
          <p:cNvSpPr/>
          <p:nvPr/>
        </p:nvSpPr>
        <p:spPr>
          <a:xfrm>
            <a:off x="7586529" y="1811947"/>
            <a:ext cx="1235840" cy="705678"/>
          </a:xfrm>
          <a:prstGeom prst="rect">
            <a:avLst/>
          </a:prstGeom>
          <a:solidFill>
            <a:schemeClr val="accent6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4000"/>
              </a:lnSpc>
            </a:pPr>
            <a:r>
              <a:rPr lang="en-US" sz="1400">
                <a:solidFill>
                  <a:schemeClr val="tx1"/>
                </a:solidFill>
              </a:rPr>
              <a:t>Model Server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D311A759-039D-4934-A094-4BB7BAC774AD}"/>
              </a:ext>
            </a:extLst>
          </p:cNvPr>
          <p:cNvSpPr/>
          <p:nvPr/>
        </p:nvSpPr>
        <p:spPr>
          <a:xfrm>
            <a:off x="1709128" y="2749336"/>
            <a:ext cx="1235840" cy="705678"/>
          </a:xfrm>
          <a:prstGeom prst="rect">
            <a:avLst/>
          </a:prstGeom>
          <a:solidFill>
            <a:schemeClr val="accent6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4000"/>
              </a:lnSpc>
            </a:pPr>
            <a:r>
              <a:rPr lang="en-US" sz="1400" err="1">
                <a:solidFill>
                  <a:schemeClr val="tx1"/>
                </a:solidFill>
              </a:rPr>
              <a:t>SchemaGen</a:t>
            </a:r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2" name="Speech Bubble: Rectangle 1">
            <a:extLst>
              <a:ext uri="{FF2B5EF4-FFF2-40B4-BE49-F238E27FC236}">
                <a16:creationId xmlns:a16="http://schemas.microsoft.com/office/drawing/2014/main" id="{2CD6A937-5712-4672-AC84-D19717FE78F4}"/>
              </a:ext>
            </a:extLst>
          </p:cNvPr>
          <p:cNvSpPr/>
          <p:nvPr/>
        </p:nvSpPr>
        <p:spPr>
          <a:xfrm>
            <a:off x="65761" y="2422737"/>
            <a:ext cx="855017" cy="288515"/>
          </a:xfrm>
          <a:prstGeom prst="wedgeRectCallout">
            <a:avLst>
              <a:gd name="adj1" fmla="val 29966"/>
              <a:gd name="adj2" fmla="val -98608"/>
            </a:avLst>
          </a:prstGeom>
          <a:ln w="6350"/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4000"/>
              </a:lnSpc>
            </a:pPr>
            <a:r>
              <a:rPr lang="en-US" sz="1050"/>
              <a:t>Read data</a:t>
            </a:r>
          </a:p>
        </p:txBody>
      </p:sp>
      <p:sp>
        <p:nvSpPr>
          <p:cNvPr id="47" name="Speech Bubble: Rectangle 46">
            <a:extLst>
              <a:ext uri="{FF2B5EF4-FFF2-40B4-BE49-F238E27FC236}">
                <a16:creationId xmlns:a16="http://schemas.microsoft.com/office/drawing/2014/main" id="{727FED8A-87D6-4C6A-AC9E-F60E547C82B0}"/>
              </a:ext>
            </a:extLst>
          </p:cNvPr>
          <p:cNvSpPr/>
          <p:nvPr/>
        </p:nvSpPr>
        <p:spPr>
          <a:xfrm>
            <a:off x="1528160" y="2422737"/>
            <a:ext cx="1077880" cy="288515"/>
          </a:xfrm>
          <a:prstGeom prst="wedgeRectCallout">
            <a:avLst>
              <a:gd name="adj1" fmla="val 29966"/>
              <a:gd name="adj2" fmla="val -98608"/>
            </a:avLst>
          </a:prstGeom>
          <a:ln w="6350"/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4000"/>
              </a:lnSpc>
            </a:pPr>
            <a:r>
              <a:rPr lang="en-US" sz="1050"/>
              <a:t>Analyzes data</a:t>
            </a:r>
          </a:p>
        </p:txBody>
      </p:sp>
      <p:sp>
        <p:nvSpPr>
          <p:cNvPr id="49" name="Speech Bubble: Rectangle 48">
            <a:extLst>
              <a:ext uri="{FF2B5EF4-FFF2-40B4-BE49-F238E27FC236}">
                <a16:creationId xmlns:a16="http://schemas.microsoft.com/office/drawing/2014/main" id="{453179DC-7BE6-47B5-8FC0-FC86BA34FB39}"/>
              </a:ext>
            </a:extLst>
          </p:cNvPr>
          <p:cNvSpPr/>
          <p:nvPr/>
        </p:nvSpPr>
        <p:spPr>
          <a:xfrm>
            <a:off x="1528160" y="3422892"/>
            <a:ext cx="1077880" cy="406265"/>
          </a:xfrm>
          <a:prstGeom prst="wedgeRectCallout">
            <a:avLst>
              <a:gd name="adj1" fmla="val 29966"/>
              <a:gd name="adj2" fmla="val -85479"/>
            </a:avLst>
          </a:prstGeom>
          <a:ln w="6350"/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4000"/>
              </a:lnSpc>
            </a:pPr>
            <a:r>
              <a:rPr lang="en-US" sz="1050"/>
              <a:t>Get data properties</a:t>
            </a:r>
          </a:p>
        </p:txBody>
      </p:sp>
      <p:sp>
        <p:nvSpPr>
          <p:cNvPr id="51" name="Speech Bubble: Rectangle 50">
            <a:extLst>
              <a:ext uri="{FF2B5EF4-FFF2-40B4-BE49-F238E27FC236}">
                <a16:creationId xmlns:a16="http://schemas.microsoft.com/office/drawing/2014/main" id="{48C52564-8BA6-4A77-B250-5DE7682E4948}"/>
              </a:ext>
            </a:extLst>
          </p:cNvPr>
          <p:cNvSpPr/>
          <p:nvPr/>
        </p:nvSpPr>
        <p:spPr>
          <a:xfrm>
            <a:off x="4486498" y="2422737"/>
            <a:ext cx="1175812" cy="288515"/>
          </a:xfrm>
          <a:prstGeom prst="wedgeRectCallout">
            <a:avLst>
              <a:gd name="adj1" fmla="val 29966"/>
              <a:gd name="adj2" fmla="val -98608"/>
            </a:avLst>
          </a:prstGeom>
          <a:ln w="6350"/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4000"/>
              </a:lnSpc>
            </a:pPr>
            <a:r>
              <a:rPr lang="en-US" sz="1050"/>
              <a:t>Hyperparameter</a:t>
            </a:r>
          </a:p>
        </p:txBody>
      </p:sp>
      <p:sp>
        <p:nvSpPr>
          <p:cNvPr id="28" name="Fußzeilenplatzhalter 4">
            <a:extLst>
              <a:ext uri="{FF2B5EF4-FFF2-40B4-BE49-F238E27FC236}">
                <a16:creationId xmlns:a16="http://schemas.microsoft.com/office/drawing/2014/main" id="{4641DBBB-108C-D5CB-6478-05F1F82CF631}"/>
              </a:ext>
            </a:extLst>
          </p:cNvPr>
          <p:cNvSpPr txBox="1">
            <a:spLocks/>
          </p:cNvSpPr>
          <p:nvPr/>
        </p:nvSpPr>
        <p:spPr>
          <a:xfrm>
            <a:off x="311162" y="4854985"/>
            <a:ext cx="7829538" cy="28851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1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r>
              <a:rPr lang="en-US" dirty="0">
                <a:latin typeface="Arial"/>
                <a:cs typeface="Arial"/>
              </a:rPr>
              <a:t>◻︎ Outline | ◻︎ Organizational</a:t>
            </a:r>
            <a:r>
              <a:rPr lang="en-US" b="1" dirty="0">
                <a:latin typeface="Arial"/>
                <a:cs typeface="Arial"/>
              </a:rPr>
              <a:t> </a:t>
            </a:r>
            <a:r>
              <a:rPr lang="en-US" dirty="0">
                <a:latin typeface="Arial"/>
                <a:cs typeface="Arial"/>
              </a:rPr>
              <a:t>structure</a:t>
            </a:r>
            <a:r>
              <a:rPr lang="en-US" b="1" dirty="0">
                <a:latin typeface="Arial"/>
                <a:cs typeface="Arial"/>
              </a:rPr>
              <a:t> </a:t>
            </a:r>
            <a:r>
              <a:rPr lang="en-US" dirty="0">
                <a:latin typeface="Arial"/>
                <a:cs typeface="Arial"/>
              </a:rPr>
              <a:t>| ◻︎ Research Topics | ◼︎ </a:t>
            </a:r>
            <a:r>
              <a:rPr lang="en-US" b="1" dirty="0">
                <a:latin typeface="Arial"/>
                <a:cs typeface="Arial"/>
              </a:rPr>
              <a:t>ML Pipeline</a:t>
            </a:r>
            <a:r>
              <a:rPr lang="en-US" dirty="0">
                <a:latin typeface="Arial"/>
                <a:cs typeface="Arial"/>
              </a:rPr>
              <a:t>  | ◻︎ Next steps</a:t>
            </a:r>
          </a:p>
        </p:txBody>
      </p:sp>
    </p:spTree>
    <p:extLst>
      <p:ext uri="{BB962C8B-B14F-4D97-AF65-F5344CB8AC3E}">
        <p14:creationId xmlns:p14="http://schemas.microsoft.com/office/powerpoint/2010/main" val="8057770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 advTm="20000"/>
    </mc:Choice>
    <mc:Fallback xmlns="">
      <p:transition spd="slow" advClick="0" advTm="20000"/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9" name="Rectangle: Rounded Corners 88">
            <a:extLst>
              <a:ext uri="{FF2B5EF4-FFF2-40B4-BE49-F238E27FC236}">
                <a16:creationId xmlns:a16="http://schemas.microsoft.com/office/drawing/2014/main" id="{9BBDF3CD-79C6-59C2-1FB3-1F35903445E9}"/>
              </a:ext>
            </a:extLst>
          </p:cNvPr>
          <p:cNvSpPr/>
          <p:nvPr/>
        </p:nvSpPr>
        <p:spPr>
          <a:xfrm>
            <a:off x="689708" y="1395919"/>
            <a:ext cx="7475307" cy="3261360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4000"/>
              </a:lnSpc>
            </a:pPr>
            <a:endParaRPr lang="en-US"/>
          </a:p>
        </p:txBody>
      </p:sp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14C02855-CC96-4CB1-BC91-F306D033CA5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14C02855-CC96-4CB1-BC91-F306D033CA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el 2">
            <a:extLst>
              <a:ext uri="{FF2B5EF4-FFF2-40B4-BE49-F238E27FC236}">
                <a16:creationId xmlns:a16="http://schemas.microsoft.com/office/drawing/2014/main" id="{37327073-11DD-47A1-A0A3-AEC7A599651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7501" y="282065"/>
            <a:ext cx="7891317" cy="380810"/>
          </a:xfrm>
        </p:spPr>
        <p:txBody>
          <a:bodyPr vert="horz"/>
          <a:lstStyle/>
          <a:p>
            <a:r>
              <a:rPr lang="de-DE"/>
              <a:t>The TFX flow covers the whole pipeline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F623D925-8B03-4C79-B8CE-4001D099571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18</a:t>
            </a:fld>
            <a:endParaRPr lang="de-DE"/>
          </a:p>
        </p:txBody>
      </p:sp>
      <p:pic>
        <p:nvPicPr>
          <p:cNvPr id="8" name="Grafik 2" descr="countdown.gif">
            <a:extLst>
              <a:ext uri="{FF2B5EF4-FFF2-40B4-BE49-F238E27FC236}">
                <a16:creationId xmlns:a16="http://schemas.microsoft.com/office/drawing/2014/main" id="{9F18EF32-707B-47E4-B94B-5CA81854BA99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85113" y="4575685"/>
            <a:ext cx="1258887" cy="571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26226DE0-9C00-4A36-AC91-EDE50C2AE81F}"/>
              </a:ext>
            </a:extLst>
          </p:cNvPr>
          <p:cNvSpPr/>
          <p:nvPr/>
        </p:nvSpPr>
        <p:spPr>
          <a:xfrm>
            <a:off x="236397" y="1043609"/>
            <a:ext cx="1235840" cy="70567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4000"/>
              </a:lnSpc>
            </a:pPr>
            <a:r>
              <a:rPr lang="en-US" sz="1400"/>
              <a:t>Data Ingestion 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637A568-3B30-4C16-856D-C701873B774D}"/>
              </a:ext>
            </a:extLst>
          </p:cNvPr>
          <p:cNvSpPr/>
          <p:nvPr/>
        </p:nvSpPr>
        <p:spPr>
          <a:xfrm>
            <a:off x="1709128" y="1043609"/>
            <a:ext cx="1235840" cy="70567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4000"/>
              </a:lnSpc>
            </a:pPr>
            <a:r>
              <a:rPr lang="en-US" sz="1400"/>
              <a:t>Data Validation 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3997A44E-E93D-478B-90FE-09FE66E341A3}"/>
              </a:ext>
            </a:extLst>
          </p:cNvPr>
          <p:cNvSpPr/>
          <p:nvPr/>
        </p:nvSpPr>
        <p:spPr>
          <a:xfrm>
            <a:off x="3181859" y="1043609"/>
            <a:ext cx="1235840" cy="70567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4000"/>
              </a:lnSpc>
            </a:pPr>
            <a:r>
              <a:rPr lang="en-US" sz="1400"/>
              <a:t>Data Processing 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8C1AC063-6066-4A3C-A442-88940157B2E4}"/>
              </a:ext>
            </a:extLst>
          </p:cNvPr>
          <p:cNvSpPr/>
          <p:nvPr/>
        </p:nvSpPr>
        <p:spPr>
          <a:xfrm>
            <a:off x="4654590" y="1043609"/>
            <a:ext cx="1235840" cy="70567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4000"/>
              </a:lnSpc>
            </a:pPr>
            <a:r>
              <a:rPr lang="en-US" sz="1400"/>
              <a:t>Estimator on </a:t>
            </a:r>
            <a:r>
              <a:rPr lang="en-US" sz="1400" err="1"/>
              <a:t>Keras</a:t>
            </a:r>
            <a:r>
              <a:rPr lang="en-US" sz="1400"/>
              <a:t> Model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F4AF43C6-212B-4116-90BF-12594D04635B}"/>
              </a:ext>
            </a:extLst>
          </p:cNvPr>
          <p:cNvSpPr/>
          <p:nvPr/>
        </p:nvSpPr>
        <p:spPr>
          <a:xfrm>
            <a:off x="6127321" y="1043609"/>
            <a:ext cx="1235840" cy="70567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4000"/>
              </a:lnSpc>
            </a:pPr>
            <a:r>
              <a:rPr lang="en-US" sz="1400"/>
              <a:t>Model Analysis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1E8711C7-80EF-4D4F-A64E-95B7E0A44D7C}"/>
              </a:ext>
            </a:extLst>
          </p:cNvPr>
          <p:cNvSpPr/>
          <p:nvPr/>
        </p:nvSpPr>
        <p:spPr>
          <a:xfrm>
            <a:off x="7600051" y="1043609"/>
            <a:ext cx="1235840" cy="70567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4000"/>
              </a:lnSpc>
            </a:pPr>
            <a:r>
              <a:rPr lang="en-US" sz="1400"/>
              <a:t>Model Serving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55F59D97-B9EB-43C5-B6F1-02C384A01DCA}"/>
              </a:ext>
            </a:extLst>
          </p:cNvPr>
          <p:cNvSpPr/>
          <p:nvPr/>
        </p:nvSpPr>
        <p:spPr>
          <a:xfrm>
            <a:off x="236397" y="1811947"/>
            <a:ext cx="1235840" cy="705678"/>
          </a:xfrm>
          <a:prstGeom prst="rect">
            <a:avLst/>
          </a:prstGeom>
          <a:solidFill>
            <a:schemeClr val="accent6">
              <a:alpha val="8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4000"/>
              </a:lnSpc>
            </a:pPr>
            <a:r>
              <a:rPr lang="en-US" sz="1400" err="1">
                <a:solidFill>
                  <a:schemeClr val="tx1"/>
                </a:solidFill>
              </a:rPr>
              <a:t>ExampleGen</a:t>
            </a:r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E1AD3D8B-BA63-42C1-B4C2-6B6B21FFD033}"/>
              </a:ext>
            </a:extLst>
          </p:cNvPr>
          <p:cNvSpPr/>
          <p:nvPr/>
        </p:nvSpPr>
        <p:spPr>
          <a:xfrm>
            <a:off x="1709128" y="1811947"/>
            <a:ext cx="1235840" cy="705678"/>
          </a:xfrm>
          <a:prstGeom prst="rect">
            <a:avLst/>
          </a:prstGeom>
          <a:solidFill>
            <a:schemeClr val="accent6">
              <a:alpha val="8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4000"/>
              </a:lnSpc>
            </a:pPr>
            <a:r>
              <a:rPr lang="en-US" sz="1400" err="1">
                <a:solidFill>
                  <a:schemeClr val="tx1"/>
                </a:solidFill>
              </a:rPr>
              <a:t>StatisticsGen</a:t>
            </a:r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BEA2828F-0EC3-4A75-BD41-98AEE8573256}"/>
              </a:ext>
            </a:extLst>
          </p:cNvPr>
          <p:cNvSpPr/>
          <p:nvPr/>
        </p:nvSpPr>
        <p:spPr>
          <a:xfrm>
            <a:off x="3181859" y="1811947"/>
            <a:ext cx="1235840" cy="705678"/>
          </a:xfrm>
          <a:prstGeom prst="rect">
            <a:avLst/>
          </a:prstGeom>
          <a:solidFill>
            <a:schemeClr val="accent6">
              <a:alpha val="8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4000"/>
              </a:lnSpc>
            </a:pPr>
            <a:r>
              <a:rPr lang="en-US" sz="1400">
                <a:solidFill>
                  <a:schemeClr val="tx1"/>
                </a:solidFill>
              </a:rPr>
              <a:t>Transform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B8849BE3-F16C-4A9D-9A28-36A264971374}"/>
              </a:ext>
            </a:extLst>
          </p:cNvPr>
          <p:cNvSpPr/>
          <p:nvPr/>
        </p:nvSpPr>
        <p:spPr>
          <a:xfrm>
            <a:off x="4654590" y="2749336"/>
            <a:ext cx="1235840" cy="705678"/>
          </a:xfrm>
          <a:prstGeom prst="rect">
            <a:avLst/>
          </a:prstGeom>
          <a:solidFill>
            <a:schemeClr val="accent6">
              <a:alpha val="8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4000"/>
              </a:lnSpc>
            </a:pPr>
            <a:r>
              <a:rPr lang="en-US" sz="1400">
                <a:solidFill>
                  <a:schemeClr val="tx1"/>
                </a:solidFill>
              </a:rPr>
              <a:t>Trainer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F881FB4D-DC40-48B0-879C-4CAA1AAA24D6}"/>
              </a:ext>
            </a:extLst>
          </p:cNvPr>
          <p:cNvSpPr/>
          <p:nvPr/>
        </p:nvSpPr>
        <p:spPr>
          <a:xfrm>
            <a:off x="4654590" y="1811947"/>
            <a:ext cx="1235840" cy="705678"/>
          </a:xfrm>
          <a:prstGeom prst="rect">
            <a:avLst/>
          </a:prstGeom>
          <a:solidFill>
            <a:schemeClr val="accent6">
              <a:alpha val="8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4000"/>
              </a:lnSpc>
            </a:pPr>
            <a:r>
              <a:rPr lang="en-US" sz="1400">
                <a:solidFill>
                  <a:schemeClr val="tx1"/>
                </a:solidFill>
              </a:rPr>
              <a:t>Tuner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B181E420-25BE-4957-8E2A-9C175D8387E2}"/>
              </a:ext>
            </a:extLst>
          </p:cNvPr>
          <p:cNvSpPr/>
          <p:nvPr/>
        </p:nvSpPr>
        <p:spPr>
          <a:xfrm>
            <a:off x="6127321" y="1811947"/>
            <a:ext cx="1235840" cy="705678"/>
          </a:xfrm>
          <a:prstGeom prst="rect">
            <a:avLst/>
          </a:prstGeom>
          <a:solidFill>
            <a:schemeClr val="accent6">
              <a:alpha val="8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4000"/>
              </a:lnSpc>
            </a:pPr>
            <a:r>
              <a:rPr lang="en-US" sz="1400">
                <a:solidFill>
                  <a:schemeClr val="tx1"/>
                </a:solidFill>
              </a:rPr>
              <a:t>Evaluator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EB6839CF-EA0A-4376-B518-75DB9903B290}"/>
              </a:ext>
            </a:extLst>
          </p:cNvPr>
          <p:cNvSpPr/>
          <p:nvPr/>
        </p:nvSpPr>
        <p:spPr>
          <a:xfrm>
            <a:off x="7586529" y="1811947"/>
            <a:ext cx="1235840" cy="705678"/>
          </a:xfrm>
          <a:prstGeom prst="rect">
            <a:avLst/>
          </a:prstGeom>
          <a:solidFill>
            <a:schemeClr val="accent6">
              <a:alpha val="8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4000"/>
              </a:lnSpc>
            </a:pPr>
            <a:r>
              <a:rPr lang="en-US" sz="1400">
                <a:solidFill>
                  <a:schemeClr val="tx1"/>
                </a:solidFill>
              </a:rPr>
              <a:t>Model Server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D311A759-039D-4934-A094-4BB7BAC774AD}"/>
              </a:ext>
            </a:extLst>
          </p:cNvPr>
          <p:cNvSpPr/>
          <p:nvPr/>
        </p:nvSpPr>
        <p:spPr>
          <a:xfrm>
            <a:off x="1709128" y="2749336"/>
            <a:ext cx="1235840" cy="705678"/>
          </a:xfrm>
          <a:prstGeom prst="rect">
            <a:avLst/>
          </a:prstGeom>
          <a:solidFill>
            <a:schemeClr val="accent6">
              <a:alpha val="8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4000"/>
              </a:lnSpc>
            </a:pPr>
            <a:r>
              <a:rPr lang="en-US" sz="1400" err="1">
                <a:solidFill>
                  <a:schemeClr val="tx1"/>
                </a:solidFill>
              </a:rPr>
              <a:t>SchemaGen</a:t>
            </a:r>
            <a:endParaRPr lang="en-US" sz="1400">
              <a:solidFill>
                <a:schemeClr val="tx1"/>
              </a:solidFill>
            </a:endParaRP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A6D01D9E-F13F-4DB7-BC53-2D4C0F921D53}"/>
              </a:ext>
            </a:extLst>
          </p:cNvPr>
          <p:cNvGrpSpPr/>
          <p:nvPr/>
        </p:nvGrpSpPr>
        <p:grpSpPr>
          <a:xfrm>
            <a:off x="208392" y="1861499"/>
            <a:ext cx="456753" cy="704312"/>
            <a:chOff x="169188" y="2339725"/>
            <a:chExt cx="456753" cy="704312"/>
          </a:xfrm>
        </p:grpSpPr>
        <p:grpSp>
          <p:nvGrpSpPr>
            <p:cNvPr id="34" name="bcgBugs_Database">
              <a:extLst>
                <a:ext uri="{FF2B5EF4-FFF2-40B4-BE49-F238E27FC236}">
                  <a16:creationId xmlns:a16="http://schemas.microsoft.com/office/drawing/2014/main" id="{B486D49F-5A61-45B8-8505-383DBDD1A545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169188" y="2339725"/>
              <a:ext cx="456753" cy="457200"/>
              <a:chOff x="2818" y="1137"/>
              <a:chExt cx="2044" cy="2046"/>
            </a:xfrm>
          </p:grpSpPr>
          <p:sp>
            <p:nvSpPr>
              <p:cNvPr id="35" name="AutoShape 3">
                <a:extLst>
                  <a:ext uri="{FF2B5EF4-FFF2-40B4-BE49-F238E27FC236}">
                    <a16:creationId xmlns:a16="http://schemas.microsoft.com/office/drawing/2014/main" id="{6C4BF95E-9D0D-4547-8F15-2CB31A4D76BD}"/>
                  </a:ext>
                </a:extLst>
              </p:cNvPr>
              <p:cNvSpPr>
                <a:spLocks noChangeAspect="1" noChangeArrowheads="1" noTextEdit="1"/>
              </p:cNvSpPr>
              <p:nvPr/>
            </p:nvSpPr>
            <p:spPr bwMode="auto">
              <a:xfrm>
                <a:off x="2818" y="1137"/>
                <a:ext cx="2044" cy="204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6" name="Freeform 5">
                <a:extLst>
                  <a:ext uri="{FF2B5EF4-FFF2-40B4-BE49-F238E27FC236}">
                    <a16:creationId xmlns:a16="http://schemas.microsoft.com/office/drawing/2014/main" id="{EC35BE98-DF44-4082-8949-8CF4C2F3300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043" y="1272"/>
                <a:ext cx="1596" cy="1778"/>
              </a:xfrm>
              <a:custGeom>
                <a:avLst/>
                <a:gdLst>
                  <a:gd name="T0" fmla="*/ 0 w 780"/>
                  <a:gd name="T1" fmla="*/ 143 h 868"/>
                  <a:gd name="T2" fmla="*/ 390 w 780"/>
                  <a:gd name="T3" fmla="*/ 0 h 868"/>
                  <a:gd name="T4" fmla="*/ 780 w 780"/>
                  <a:gd name="T5" fmla="*/ 143 h 868"/>
                  <a:gd name="T6" fmla="*/ 390 w 780"/>
                  <a:gd name="T7" fmla="*/ 287 h 868"/>
                  <a:gd name="T8" fmla="*/ 0 w 780"/>
                  <a:gd name="T9" fmla="*/ 143 h 868"/>
                  <a:gd name="T10" fmla="*/ 390 w 780"/>
                  <a:gd name="T11" fmla="*/ 329 h 868"/>
                  <a:gd name="T12" fmla="*/ 0 w 780"/>
                  <a:gd name="T13" fmla="*/ 198 h 868"/>
                  <a:gd name="T14" fmla="*/ 0 w 780"/>
                  <a:gd name="T15" fmla="*/ 347 h 868"/>
                  <a:gd name="T16" fmla="*/ 390 w 780"/>
                  <a:gd name="T17" fmla="*/ 478 h 868"/>
                  <a:gd name="T18" fmla="*/ 780 w 780"/>
                  <a:gd name="T19" fmla="*/ 347 h 868"/>
                  <a:gd name="T20" fmla="*/ 780 w 780"/>
                  <a:gd name="T21" fmla="*/ 198 h 868"/>
                  <a:gd name="T22" fmla="*/ 390 w 780"/>
                  <a:gd name="T23" fmla="*/ 329 h 868"/>
                  <a:gd name="T24" fmla="*/ 390 w 780"/>
                  <a:gd name="T25" fmla="*/ 524 h 868"/>
                  <a:gd name="T26" fmla="*/ 0 w 780"/>
                  <a:gd name="T27" fmla="*/ 390 h 868"/>
                  <a:gd name="T28" fmla="*/ 0 w 780"/>
                  <a:gd name="T29" fmla="*/ 543 h 868"/>
                  <a:gd name="T30" fmla="*/ 390 w 780"/>
                  <a:gd name="T31" fmla="*/ 677 h 868"/>
                  <a:gd name="T32" fmla="*/ 780 w 780"/>
                  <a:gd name="T33" fmla="*/ 543 h 868"/>
                  <a:gd name="T34" fmla="*/ 780 w 780"/>
                  <a:gd name="T35" fmla="*/ 390 h 868"/>
                  <a:gd name="T36" fmla="*/ 390 w 780"/>
                  <a:gd name="T37" fmla="*/ 524 h 868"/>
                  <a:gd name="T38" fmla="*/ 390 w 780"/>
                  <a:gd name="T39" fmla="*/ 719 h 868"/>
                  <a:gd name="T40" fmla="*/ 0 w 780"/>
                  <a:gd name="T41" fmla="*/ 589 h 868"/>
                  <a:gd name="T42" fmla="*/ 0 w 780"/>
                  <a:gd name="T43" fmla="*/ 738 h 868"/>
                  <a:gd name="T44" fmla="*/ 390 w 780"/>
                  <a:gd name="T45" fmla="*/ 868 h 868"/>
                  <a:gd name="T46" fmla="*/ 780 w 780"/>
                  <a:gd name="T47" fmla="*/ 738 h 868"/>
                  <a:gd name="T48" fmla="*/ 780 w 780"/>
                  <a:gd name="T49" fmla="*/ 589 h 868"/>
                  <a:gd name="T50" fmla="*/ 390 w 780"/>
                  <a:gd name="T51" fmla="*/ 719 h 8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780" h="868">
                    <a:moveTo>
                      <a:pt x="0" y="143"/>
                    </a:moveTo>
                    <a:cubicBezTo>
                      <a:pt x="0" y="64"/>
                      <a:pt x="175" y="0"/>
                      <a:pt x="390" y="0"/>
                    </a:cubicBezTo>
                    <a:cubicBezTo>
                      <a:pt x="605" y="0"/>
                      <a:pt x="780" y="64"/>
                      <a:pt x="780" y="143"/>
                    </a:cubicBezTo>
                    <a:cubicBezTo>
                      <a:pt x="780" y="222"/>
                      <a:pt x="605" y="287"/>
                      <a:pt x="390" y="287"/>
                    </a:cubicBezTo>
                    <a:cubicBezTo>
                      <a:pt x="175" y="287"/>
                      <a:pt x="0" y="222"/>
                      <a:pt x="0" y="143"/>
                    </a:cubicBezTo>
                    <a:close/>
                    <a:moveTo>
                      <a:pt x="390" y="329"/>
                    </a:moveTo>
                    <a:cubicBezTo>
                      <a:pt x="175" y="329"/>
                      <a:pt x="0" y="276"/>
                      <a:pt x="0" y="198"/>
                    </a:cubicBezTo>
                    <a:cubicBezTo>
                      <a:pt x="0" y="213"/>
                      <a:pt x="0" y="333"/>
                      <a:pt x="0" y="347"/>
                    </a:cubicBezTo>
                    <a:cubicBezTo>
                      <a:pt x="0" y="425"/>
                      <a:pt x="175" y="478"/>
                      <a:pt x="390" y="478"/>
                    </a:cubicBezTo>
                    <a:cubicBezTo>
                      <a:pt x="605" y="478"/>
                      <a:pt x="780" y="425"/>
                      <a:pt x="780" y="347"/>
                    </a:cubicBezTo>
                    <a:cubicBezTo>
                      <a:pt x="780" y="333"/>
                      <a:pt x="780" y="213"/>
                      <a:pt x="780" y="198"/>
                    </a:cubicBezTo>
                    <a:cubicBezTo>
                      <a:pt x="780" y="276"/>
                      <a:pt x="605" y="329"/>
                      <a:pt x="390" y="329"/>
                    </a:cubicBezTo>
                    <a:close/>
                    <a:moveTo>
                      <a:pt x="390" y="524"/>
                    </a:moveTo>
                    <a:cubicBezTo>
                      <a:pt x="175" y="524"/>
                      <a:pt x="0" y="470"/>
                      <a:pt x="0" y="390"/>
                    </a:cubicBezTo>
                    <a:cubicBezTo>
                      <a:pt x="0" y="405"/>
                      <a:pt x="0" y="528"/>
                      <a:pt x="0" y="543"/>
                    </a:cubicBezTo>
                    <a:cubicBezTo>
                      <a:pt x="0" y="623"/>
                      <a:pt x="175" y="677"/>
                      <a:pt x="390" y="677"/>
                    </a:cubicBezTo>
                    <a:cubicBezTo>
                      <a:pt x="605" y="677"/>
                      <a:pt x="780" y="623"/>
                      <a:pt x="780" y="543"/>
                    </a:cubicBezTo>
                    <a:cubicBezTo>
                      <a:pt x="780" y="528"/>
                      <a:pt x="780" y="405"/>
                      <a:pt x="780" y="390"/>
                    </a:cubicBezTo>
                    <a:cubicBezTo>
                      <a:pt x="780" y="470"/>
                      <a:pt x="605" y="524"/>
                      <a:pt x="390" y="524"/>
                    </a:cubicBezTo>
                    <a:close/>
                    <a:moveTo>
                      <a:pt x="390" y="719"/>
                    </a:moveTo>
                    <a:cubicBezTo>
                      <a:pt x="175" y="719"/>
                      <a:pt x="0" y="666"/>
                      <a:pt x="0" y="589"/>
                    </a:cubicBezTo>
                    <a:cubicBezTo>
                      <a:pt x="0" y="603"/>
                      <a:pt x="0" y="723"/>
                      <a:pt x="0" y="738"/>
                    </a:cubicBezTo>
                    <a:cubicBezTo>
                      <a:pt x="0" y="815"/>
                      <a:pt x="175" y="868"/>
                      <a:pt x="390" y="868"/>
                    </a:cubicBezTo>
                    <a:cubicBezTo>
                      <a:pt x="605" y="868"/>
                      <a:pt x="780" y="815"/>
                      <a:pt x="780" y="738"/>
                    </a:cubicBezTo>
                    <a:cubicBezTo>
                      <a:pt x="780" y="723"/>
                      <a:pt x="780" y="603"/>
                      <a:pt x="780" y="589"/>
                    </a:cubicBezTo>
                    <a:cubicBezTo>
                      <a:pt x="780" y="666"/>
                      <a:pt x="605" y="719"/>
                      <a:pt x="390" y="719"/>
                    </a:cubicBez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F5324DF1-0BE5-409A-97A6-7149D2395154}"/>
                </a:ext>
              </a:extLst>
            </p:cNvPr>
            <p:cNvSpPr txBox="1"/>
            <p:nvPr/>
          </p:nvSpPr>
          <p:spPr>
            <a:xfrm>
              <a:off x="169188" y="2818975"/>
              <a:ext cx="456753" cy="22506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ct val="114000"/>
                </a:lnSpc>
              </a:pPr>
              <a:r>
                <a:rPr lang="en-US" sz="1400">
                  <a:latin typeface="+mn-lt"/>
                </a:rPr>
                <a:t>Data</a:t>
              </a:r>
            </a:p>
          </p:txBody>
        </p:sp>
      </p:grpSp>
      <p:pic>
        <p:nvPicPr>
          <p:cNvPr id="37" name="Picture 2">
            <a:extLst>
              <a:ext uri="{FF2B5EF4-FFF2-40B4-BE49-F238E27FC236}">
                <a16:creationId xmlns:a16="http://schemas.microsoft.com/office/drawing/2014/main" id="{D7C9A16E-5A03-424F-AF9D-86080357DA1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4904" y="3782369"/>
            <a:ext cx="695325" cy="4953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46" name="Group 45">
            <a:extLst>
              <a:ext uri="{FF2B5EF4-FFF2-40B4-BE49-F238E27FC236}">
                <a16:creationId xmlns:a16="http://schemas.microsoft.com/office/drawing/2014/main" id="{E9E575B6-A681-479E-AF27-C29B0B94F886}"/>
              </a:ext>
            </a:extLst>
          </p:cNvPr>
          <p:cNvGrpSpPr/>
          <p:nvPr/>
        </p:nvGrpSpPr>
        <p:grpSpPr>
          <a:xfrm rot="5400000">
            <a:off x="4265965" y="2532869"/>
            <a:ext cx="320250" cy="233632"/>
            <a:chOff x="112425" y="3665553"/>
            <a:chExt cx="682706" cy="233632"/>
          </a:xfrm>
        </p:grpSpPr>
        <p:cxnSp>
          <p:nvCxnSpPr>
            <p:cNvPr id="43" name="Straight Arrow Connector 42">
              <a:extLst>
                <a:ext uri="{FF2B5EF4-FFF2-40B4-BE49-F238E27FC236}">
                  <a16:creationId xmlns:a16="http://schemas.microsoft.com/office/drawing/2014/main" id="{52DCE8E6-F8EB-4F21-BE63-736EAD09C2F1}"/>
                </a:ext>
              </a:extLst>
            </p:cNvPr>
            <p:cNvCxnSpPr>
              <a:cxnSpLocks/>
            </p:cNvCxnSpPr>
            <p:nvPr/>
          </p:nvCxnSpPr>
          <p:spPr>
            <a:xfrm>
              <a:off x="112425" y="3782369"/>
              <a:ext cx="682706" cy="0"/>
            </a:xfrm>
            <a:prstGeom prst="straightConnector1">
              <a:avLst/>
            </a:prstGeom>
            <a:ln>
              <a:solidFill>
                <a:srgbClr val="445064"/>
              </a:solidFill>
              <a:prstDash val="sysDot"/>
              <a:tailEnd type="triangle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sp>
          <p:nvSpPr>
            <p:cNvPr id="45" name="Isosceles Triangle 44">
              <a:extLst>
                <a:ext uri="{FF2B5EF4-FFF2-40B4-BE49-F238E27FC236}">
                  <a16:creationId xmlns:a16="http://schemas.microsoft.com/office/drawing/2014/main" id="{4C09C83E-B6C2-4BED-8D1B-B053B223D229}"/>
                </a:ext>
              </a:extLst>
            </p:cNvPr>
            <p:cNvSpPr/>
            <p:nvPr/>
          </p:nvSpPr>
          <p:spPr>
            <a:xfrm rot="5400000">
              <a:off x="583441" y="3687495"/>
              <a:ext cx="233632" cy="189748"/>
            </a:xfrm>
            <a:prstGeom prst="triangle">
              <a:avLst/>
            </a:prstGeom>
            <a:solidFill>
              <a:srgbClr val="44506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14000"/>
                </a:lnSpc>
              </a:pPr>
              <a:endParaRPr lang="en-US"/>
            </a:p>
          </p:txBody>
        </p:sp>
      </p:grpSp>
      <p:grpSp>
        <p:nvGrpSpPr>
          <p:cNvPr id="58" name="Group 57">
            <a:extLst>
              <a:ext uri="{FF2B5EF4-FFF2-40B4-BE49-F238E27FC236}">
                <a16:creationId xmlns:a16="http://schemas.microsoft.com/office/drawing/2014/main" id="{DC09AC20-14F0-4898-A9DC-9F7C46503549}"/>
              </a:ext>
            </a:extLst>
          </p:cNvPr>
          <p:cNvGrpSpPr/>
          <p:nvPr/>
        </p:nvGrpSpPr>
        <p:grpSpPr>
          <a:xfrm>
            <a:off x="2077031" y="2111058"/>
            <a:ext cx="320250" cy="233632"/>
            <a:chOff x="112425" y="3665553"/>
            <a:chExt cx="682706" cy="233632"/>
          </a:xfrm>
        </p:grpSpPr>
        <p:cxnSp>
          <p:nvCxnSpPr>
            <p:cNvPr id="59" name="Straight Arrow Connector 58">
              <a:extLst>
                <a:ext uri="{FF2B5EF4-FFF2-40B4-BE49-F238E27FC236}">
                  <a16:creationId xmlns:a16="http://schemas.microsoft.com/office/drawing/2014/main" id="{EC864D3E-6FCE-4ECF-A63C-52D01296C2EF}"/>
                </a:ext>
              </a:extLst>
            </p:cNvPr>
            <p:cNvCxnSpPr>
              <a:cxnSpLocks/>
            </p:cNvCxnSpPr>
            <p:nvPr/>
          </p:nvCxnSpPr>
          <p:spPr>
            <a:xfrm>
              <a:off x="112425" y="3782369"/>
              <a:ext cx="682706" cy="0"/>
            </a:xfrm>
            <a:prstGeom prst="straightConnector1">
              <a:avLst/>
            </a:prstGeom>
            <a:ln>
              <a:solidFill>
                <a:srgbClr val="445064"/>
              </a:solidFill>
              <a:prstDash val="sysDot"/>
              <a:tailEnd type="triangle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sp>
          <p:nvSpPr>
            <p:cNvPr id="60" name="Isosceles Triangle 59">
              <a:extLst>
                <a:ext uri="{FF2B5EF4-FFF2-40B4-BE49-F238E27FC236}">
                  <a16:creationId xmlns:a16="http://schemas.microsoft.com/office/drawing/2014/main" id="{3EC0C225-19E4-4FC5-9583-7322FDAFBC30}"/>
                </a:ext>
              </a:extLst>
            </p:cNvPr>
            <p:cNvSpPr/>
            <p:nvPr/>
          </p:nvSpPr>
          <p:spPr>
            <a:xfrm rot="5400000">
              <a:off x="583441" y="3687495"/>
              <a:ext cx="233632" cy="189748"/>
            </a:xfrm>
            <a:prstGeom prst="triangle">
              <a:avLst/>
            </a:prstGeom>
            <a:solidFill>
              <a:srgbClr val="44506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14000"/>
                </a:lnSpc>
              </a:pPr>
              <a:endParaRPr lang="en-US"/>
            </a:p>
          </p:txBody>
        </p:sp>
      </p:grpSp>
      <p:grpSp>
        <p:nvGrpSpPr>
          <p:cNvPr id="61" name="Group 60">
            <a:extLst>
              <a:ext uri="{FF2B5EF4-FFF2-40B4-BE49-F238E27FC236}">
                <a16:creationId xmlns:a16="http://schemas.microsoft.com/office/drawing/2014/main" id="{45692583-C01D-4146-8456-C1E693F5CABE}"/>
              </a:ext>
            </a:extLst>
          </p:cNvPr>
          <p:cNvGrpSpPr/>
          <p:nvPr/>
        </p:nvGrpSpPr>
        <p:grpSpPr>
          <a:xfrm>
            <a:off x="3550231" y="2111058"/>
            <a:ext cx="320250" cy="233632"/>
            <a:chOff x="112425" y="3665553"/>
            <a:chExt cx="682706" cy="233632"/>
          </a:xfrm>
        </p:grpSpPr>
        <p:cxnSp>
          <p:nvCxnSpPr>
            <p:cNvPr id="62" name="Straight Arrow Connector 61">
              <a:extLst>
                <a:ext uri="{FF2B5EF4-FFF2-40B4-BE49-F238E27FC236}">
                  <a16:creationId xmlns:a16="http://schemas.microsoft.com/office/drawing/2014/main" id="{86031719-7206-4795-9996-D9E2BFF9F0E5}"/>
                </a:ext>
              </a:extLst>
            </p:cNvPr>
            <p:cNvCxnSpPr>
              <a:cxnSpLocks/>
            </p:cNvCxnSpPr>
            <p:nvPr/>
          </p:nvCxnSpPr>
          <p:spPr>
            <a:xfrm>
              <a:off x="112425" y="3782369"/>
              <a:ext cx="682706" cy="0"/>
            </a:xfrm>
            <a:prstGeom prst="straightConnector1">
              <a:avLst/>
            </a:prstGeom>
            <a:ln>
              <a:solidFill>
                <a:srgbClr val="445064"/>
              </a:solidFill>
              <a:prstDash val="sysDot"/>
              <a:tailEnd type="triangle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sp>
          <p:nvSpPr>
            <p:cNvPr id="63" name="Isosceles Triangle 62">
              <a:extLst>
                <a:ext uri="{FF2B5EF4-FFF2-40B4-BE49-F238E27FC236}">
                  <a16:creationId xmlns:a16="http://schemas.microsoft.com/office/drawing/2014/main" id="{1EC10AD9-20A5-4C9C-B4E3-04EC8595289C}"/>
                </a:ext>
              </a:extLst>
            </p:cNvPr>
            <p:cNvSpPr/>
            <p:nvPr/>
          </p:nvSpPr>
          <p:spPr>
            <a:xfrm rot="5400000">
              <a:off x="583441" y="3687495"/>
              <a:ext cx="233632" cy="189748"/>
            </a:xfrm>
            <a:prstGeom prst="triangle">
              <a:avLst/>
            </a:prstGeom>
            <a:solidFill>
              <a:srgbClr val="44506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14000"/>
                </a:lnSpc>
              </a:pPr>
              <a:endParaRPr lang="en-US"/>
            </a:p>
          </p:txBody>
        </p:sp>
      </p:grpSp>
      <p:grpSp>
        <p:nvGrpSpPr>
          <p:cNvPr id="64" name="Group 63">
            <a:extLst>
              <a:ext uri="{FF2B5EF4-FFF2-40B4-BE49-F238E27FC236}">
                <a16:creationId xmlns:a16="http://schemas.microsoft.com/office/drawing/2014/main" id="{C6F7B56C-0798-47E5-AD2B-D94120C4DB09}"/>
              </a:ext>
            </a:extLst>
          </p:cNvPr>
          <p:cNvGrpSpPr/>
          <p:nvPr/>
        </p:nvGrpSpPr>
        <p:grpSpPr>
          <a:xfrm>
            <a:off x="5029781" y="2111058"/>
            <a:ext cx="320250" cy="233632"/>
            <a:chOff x="112425" y="3665553"/>
            <a:chExt cx="682706" cy="233632"/>
          </a:xfrm>
        </p:grpSpPr>
        <p:cxnSp>
          <p:nvCxnSpPr>
            <p:cNvPr id="65" name="Straight Arrow Connector 64">
              <a:extLst>
                <a:ext uri="{FF2B5EF4-FFF2-40B4-BE49-F238E27FC236}">
                  <a16:creationId xmlns:a16="http://schemas.microsoft.com/office/drawing/2014/main" id="{448E65AB-6FAF-4767-8417-A0017135EB07}"/>
                </a:ext>
              </a:extLst>
            </p:cNvPr>
            <p:cNvCxnSpPr>
              <a:cxnSpLocks/>
            </p:cNvCxnSpPr>
            <p:nvPr/>
          </p:nvCxnSpPr>
          <p:spPr>
            <a:xfrm>
              <a:off x="112425" y="3782369"/>
              <a:ext cx="682706" cy="0"/>
            </a:xfrm>
            <a:prstGeom prst="straightConnector1">
              <a:avLst/>
            </a:prstGeom>
            <a:ln>
              <a:solidFill>
                <a:srgbClr val="445064"/>
              </a:solidFill>
              <a:prstDash val="sysDot"/>
              <a:tailEnd type="triangle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sp>
          <p:nvSpPr>
            <p:cNvPr id="66" name="Isosceles Triangle 65">
              <a:extLst>
                <a:ext uri="{FF2B5EF4-FFF2-40B4-BE49-F238E27FC236}">
                  <a16:creationId xmlns:a16="http://schemas.microsoft.com/office/drawing/2014/main" id="{F6D80829-1EA7-4F7B-A58D-57A9A3258CE9}"/>
                </a:ext>
              </a:extLst>
            </p:cNvPr>
            <p:cNvSpPr/>
            <p:nvPr/>
          </p:nvSpPr>
          <p:spPr>
            <a:xfrm rot="5400000">
              <a:off x="583441" y="3687495"/>
              <a:ext cx="233632" cy="189748"/>
            </a:xfrm>
            <a:prstGeom prst="triangle">
              <a:avLst/>
            </a:prstGeom>
            <a:solidFill>
              <a:srgbClr val="44506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14000"/>
                </a:lnSpc>
              </a:pPr>
              <a:endParaRPr lang="en-US"/>
            </a:p>
          </p:txBody>
        </p:sp>
      </p:grpSp>
      <p:grpSp>
        <p:nvGrpSpPr>
          <p:cNvPr id="67" name="Group 66">
            <a:extLst>
              <a:ext uri="{FF2B5EF4-FFF2-40B4-BE49-F238E27FC236}">
                <a16:creationId xmlns:a16="http://schemas.microsoft.com/office/drawing/2014/main" id="{06AAFFFC-E365-4C90-9B08-E4AEC963F35C}"/>
              </a:ext>
            </a:extLst>
          </p:cNvPr>
          <p:cNvGrpSpPr/>
          <p:nvPr/>
        </p:nvGrpSpPr>
        <p:grpSpPr>
          <a:xfrm rot="5400000">
            <a:off x="5740794" y="2532869"/>
            <a:ext cx="320250" cy="233632"/>
            <a:chOff x="112425" y="3665553"/>
            <a:chExt cx="682706" cy="233632"/>
          </a:xfrm>
        </p:grpSpPr>
        <p:cxnSp>
          <p:nvCxnSpPr>
            <p:cNvPr id="68" name="Straight Arrow Connector 67">
              <a:extLst>
                <a:ext uri="{FF2B5EF4-FFF2-40B4-BE49-F238E27FC236}">
                  <a16:creationId xmlns:a16="http://schemas.microsoft.com/office/drawing/2014/main" id="{E983E93E-1AAE-48D6-9846-2FC90BBA5864}"/>
                </a:ext>
              </a:extLst>
            </p:cNvPr>
            <p:cNvCxnSpPr>
              <a:cxnSpLocks/>
            </p:cNvCxnSpPr>
            <p:nvPr/>
          </p:nvCxnSpPr>
          <p:spPr>
            <a:xfrm>
              <a:off x="112425" y="3782369"/>
              <a:ext cx="682706" cy="0"/>
            </a:xfrm>
            <a:prstGeom prst="straightConnector1">
              <a:avLst/>
            </a:prstGeom>
            <a:ln>
              <a:solidFill>
                <a:srgbClr val="445064"/>
              </a:solidFill>
              <a:prstDash val="sysDot"/>
              <a:tailEnd type="triangle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sp>
          <p:nvSpPr>
            <p:cNvPr id="69" name="Isosceles Triangle 68">
              <a:extLst>
                <a:ext uri="{FF2B5EF4-FFF2-40B4-BE49-F238E27FC236}">
                  <a16:creationId xmlns:a16="http://schemas.microsoft.com/office/drawing/2014/main" id="{6094B9AD-1AC7-4885-83C9-ADD5209213AD}"/>
                </a:ext>
              </a:extLst>
            </p:cNvPr>
            <p:cNvSpPr/>
            <p:nvPr/>
          </p:nvSpPr>
          <p:spPr>
            <a:xfrm rot="5400000">
              <a:off x="583441" y="3687495"/>
              <a:ext cx="233632" cy="189748"/>
            </a:xfrm>
            <a:prstGeom prst="triangle">
              <a:avLst/>
            </a:prstGeom>
            <a:solidFill>
              <a:srgbClr val="44506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14000"/>
                </a:lnSpc>
              </a:pPr>
              <a:endParaRPr lang="en-US"/>
            </a:p>
          </p:txBody>
        </p:sp>
      </p:grpSp>
      <p:grpSp>
        <p:nvGrpSpPr>
          <p:cNvPr id="70" name="Group 69">
            <a:extLst>
              <a:ext uri="{FF2B5EF4-FFF2-40B4-BE49-F238E27FC236}">
                <a16:creationId xmlns:a16="http://schemas.microsoft.com/office/drawing/2014/main" id="{92F51D29-4A9F-46A3-8BF0-EB3B268CE3BE}"/>
              </a:ext>
            </a:extLst>
          </p:cNvPr>
          <p:cNvGrpSpPr/>
          <p:nvPr/>
        </p:nvGrpSpPr>
        <p:grpSpPr>
          <a:xfrm>
            <a:off x="6473734" y="3032442"/>
            <a:ext cx="320250" cy="233632"/>
            <a:chOff x="112425" y="3665553"/>
            <a:chExt cx="682706" cy="233632"/>
          </a:xfrm>
        </p:grpSpPr>
        <p:cxnSp>
          <p:nvCxnSpPr>
            <p:cNvPr id="71" name="Straight Arrow Connector 70">
              <a:extLst>
                <a:ext uri="{FF2B5EF4-FFF2-40B4-BE49-F238E27FC236}">
                  <a16:creationId xmlns:a16="http://schemas.microsoft.com/office/drawing/2014/main" id="{5B946828-5881-4832-A752-CD4B89FD5209}"/>
                </a:ext>
              </a:extLst>
            </p:cNvPr>
            <p:cNvCxnSpPr>
              <a:cxnSpLocks/>
            </p:cNvCxnSpPr>
            <p:nvPr/>
          </p:nvCxnSpPr>
          <p:spPr>
            <a:xfrm>
              <a:off x="112425" y="3782369"/>
              <a:ext cx="682706" cy="0"/>
            </a:xfrm>
            <a:prstGeom prst="straightConnector1">
              <a:avLst/>
            </a:prstGeom>
            <a:ln>
              <a:solidFill>
                <a:srgbClr val="445064"/>
              </a:solidFill>
              <a:prstDash val="sysDot"/>
              <a:tailEnd type="triangle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sp>
          <p:nvSpPr>
            <p:cNvPr id="72" name="Isosceles Triangle 71">
              <a:extLst>
                <a:ext uri="{FF2B5EF4-FFF2-40B4-BE49-F238E27FC236}">
                  <a16:creationId xmlns:a16="http://schemas.microsoft.com/office/drawing/2014/main" id="{695541C1-B98B-4D50-BEB5-DFE2F2362B12}"/>
                </a:ext>
              </a:extLst>
            </p:cNvPr>
            <p:cNvSpPr/>
            <p:nvPr/>
          </p:nvSpPr>
          <p:spPr>
            <a:xfrm rot="5400000">
              <a:off x="583441" y="3687495"/>
              <a:ext cx="233632" cy="189748"/>
            </a:xfrm>
            <a:prstGeom prst="triangle">
              <a:avLst/>
            </a:prstGeom>
            <a:solidFill>
              <a:srgbClr val="44506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14000"/>
                </a:lnSpc>
              </a:pPr>
              <a:endParaRPr lang="en-US"/>
            </a:p>
          </p:txBody>
        </p:sp>
      </p:grpSp>
      <p:grpSp>
        <p:nvGrpSpPr>
          <p:cNvPr id="73" name="Group 72">
            <a:extLst>
              <a:ext uri="{FF2B5EF4-FFF2-40B4-BE49-F238E27FC236}">
                <a16:creationId xmlns:a16="http://schemas.microsoft.com/office/drawing/2014/main" id="{5646D639-7F7F-4010-A3F7-8AF0589BBA2A}"/>
              </a:ext>
            </a:extLst>
          </p:cNvPr>
          <p:cNvGrpSpPr/>
          <p:nvPr/>
        </p:nvGrpSpPr>
        <p:grpSpPr>
          <a:xfrm rot="5400000">
            <a:off x="7203047" y="3475383"/>
            <a:ext cx="320253" cy="233632"/>
            <a:chOff x="112425" y="3665546"/>
            <a:chExt cx="682706" cy="233632"/>
          </a:xfrm>
        </p:grpSpPr>
        <p:cxnSp>
          <p:nvCxnSpPr>
            <p:cNvPr id="74" name="Straight Arrow Connector 73">
              <a:extLst>
                <a:ext uri="{FF2B5EF4-FFF2-40B4-BE49-F238E27FC236}">
                  <a16:creationId xmlns:a16="http://schemas.microsoft.com/office/drawing/2014/main" id="{E67C1FF1-6200-4124-8A2E-91E71808C920}"/>
                </a:ext>
              </a:extLst>
            </p:cNvPr>
            <p:cNvCxnSpPr>
              <a:cxnSpLocks/>
            </p:cNvCxnSpPr>
            <p:nvPr/>
          </p:nvCxnSpPr>
          <p:spPr>
            <a:xfrm>
              <a:off x="112425" y="3782369"/>
              <a:ext cx="682706" cy="0"/>
            </a:xfrm>
            <a:prstGeom prst="straightConnector1">
              <a:avLst/>
            </a:prstGeom>
            <a:ln>
              <a:solidFill>
                <a:srgbClr val="445064"/>
              </a:solidFill>
              <a:prstDash val="sysDot"/>
              <a:tailEnd type="triangle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sp>
          <p:nvSpPr>
            <p:cNvPr id="75" name="Isosceles Triangle 74">
              <a:extLst>
                <a:ext uri="{FF2B5EF4-FFF2-40B4-BE49-F238E27FC236}">
                  <a16:creationId xmlns:a16="http://schemas.microsoft.com/office/drawing/2014/main" id="{238CD4C8-E33F-4016-9B03-0EEDFFBEB896}"/>
                </a:ext>
              </a:extLst>
            </p:cNvPr>
            <p:cNvSpPr/>
            <p:nvPr/>
          </p:nvSpPr>
          <p:spPr>
            <a:xfrm rot="5400000">
              <a:off x="583433" y="3687488"/>
              <a:ext cx="233632" cy="189747"/>
            </a:xfrm>
            <a:prstGeom prst="triangle">
              <a:avLst/>
            </a:prstGeom>
            <a:solidFill>
              <a:srgbClr val="44506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14000"/>
                </a:lnSpc>
              </a:pPr>
              <a:endParaRPr lang="en-US"/>
            </a:p>
          </p:txBody>
        </p:sp>
      </p:grpSp>
      <p:grpSp>
        <p:nvGrpSpPr>
          <p:cNvPr id="76" name="Group 75">
            <a:extLst>
              <a:ext uri="{FF2B5EF4-FFF2-40B4-BE49-F238E27FC236}">
                <a16:creationId xmlns:a16="http://schemas.microsoft.com/office/drawing/2014/main" id="{FC4C15CF-11F2-44F6-B33E-90C147612CB3}"/>
              </a:ext>
            </a:extLst>
          </p:cNvPr>
          <p:cNvGrpSpPr/>
          <p:nvPr/>
        </p:nvGrpSpPr>
        <p:grpSpPr>
          <a:xfrm>
            <a:off x="4940147" y="3000235"/>
            <a:ext cx="320250" cy="233632"/>
            <a:chOff x="112425" y="3665553"/>
            <a:chExt cx="682706" cy="233632"/>
          </a:xfrm>
        </p:grpSpPr>
        <p:cxnSp>
          <p:nvCxnSpPr>
            <p:cNvPr id="77" name="Straight Arrow Connector 76">
              <a:extLst>
                <a:ext uri="{FF2B5EF4-FFF2-40B4-BE49-F238E27FC236}">
                  <a16:creationId xmlns:a16="http://schemas.microsoft.com/office/drawing/2014/main" id="{2A514BAB-2382-4E0C-984C-BC1E8A175A14}"/>
                </a:ext>
              </a:extLst>
            </p:cNvPr>
            <p:cNvCxnSpPr>
              <a:cxnSpLocks/>
            </p:cNvCxnSpPr>
            <p:nvPr/>
          </p:nvCxnSpPr>
          <p:spPr>
            <a:xfrm>
              <a:off x="112425" y="3782369"/>
              <a:ext cx="682706" cy="0"/>
            </a:xfrm>
            <a:prstGeom prst="straightConnector1">
              <a:avLst/>
            </a:prstGeom>
            <a:ln>
              <a:solidFill>
                <a:srgbClr val="445064"/>
              </a:solidFill>
              <a:prstDash val="sysDot"/>
              <a:tailEnd type="triangle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sp>
          <p:nvSpPr>
            <p:cNvPr id="78" name="Isosceles Triangle 77">
              <a:extLst>
                <a:ext uri="{FF2B5EF4-FFF2-40B4-BE49-F238E27FC236}">
                  <a16:creationId xmlns:a16="http://schemas.microsoft.com/office/drawing/2014/main" id="{98219C84-C353-486A-94AE-19C047F41AF3}"/>
                </a:ext>
              </a:extLst>
            </p:cNvPr>
            <p:cNvSpPr/>
            <p:nvPr/>
          </p:nvSpPr>
          <p:spPr>
            <a:xfrm rot="5400000">
              <a:off x="583441" y="3687495"/>
              <a:ext cx="233632" cy="189748"/>
            </a:xfrm>
            <a:prstGeom prst="triangle">
              <a:avLst/>
            </a:prstGeom>
            <a:solidFill>
              <a:srgbClr val="44506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14000"/>
                </a:lnSpc>
              </a:pPr>
              <a:endParaRPr lang="en-US"/>
            </a:p>
          </p:txBody>
        </p:sp>
      </p:grpSp>
      <p:grpSp>
        <p:nvGrpSpPr>
          <p:cNvPr id="79" name="Group 78">
            <a:extLst>
              <a:ext uri="{FF2B5EF4-FFF2-40B4-BE49-F238E27FC236}">
                <a16:creationId xmlns:a16="http://schemas.microsoft.com/office/drawing/2014/main" id="{85241601-E296-4BDB-B8CE-5F4B905BF7FA}"/>
              </a:ext>
            </a:extLst>
          </p:cNvPr>
          <p:cNvGrpSpPr/>
          <p:nvPr/>
        </p:nvGrpSpPr>
        <p:grpSpPr>
          <a:xfrm>
            <a:off x="663436" y="2111058"/>
            <a:ext cx="320250" cy="233632"/>
            <a:chOff x="112425" y="3665553"/>
            <a:chExt cx="682706" cy="233632"/>
          </a:xfrm>
        </p:grpSpPr>
        <p:cxnSp>
          <p:nvCxnSpPr>
            <p:cNvPr id="80" name="Straight Arrow Connector 79">
              <a:extLst>
                <a:ext uri="{FF2B5EF4-FFF2-40B4-BE49-F238E27FC236}">
                  <a16:creationId xmlns:a16="http://schemas.microsoft.com/office/drawing/2014/main" id="{CCD45DD3-2C9D-4BC5-9EF1-EC1069950FD4}"/>
                </a:ext>
              </a:extLst>
            </p:cNvPr>
            <p:cNvCxnSpPr>
              <a:cxnSpLocks/>
            </p:cNvCxnSpPr>
            <p:nvPr/>
          </p:nvCxnSpPr>
          <p:spPr>
            <a:xfrm>
              <a:off x="112425" y="3782369"/>
              <a:ext cx="682706" cy="0"/>
            </a:xfrm>
            <a:prstGeom prst="straightConnector1">
              <a:avLst/>
            </a:prstGeom>
            <a:ln>
              <a:solidFill>
                <a:srgbClr val="445064"/>
              </a:solidFill>
              <a:prstDash val="sysDot"/>
              <a:tailEnd type="triangle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sp>
          <p:nvSpPr>
            <p:cNvPr id="81" name="Isosceles Triangle 80">
              <a:extLst>
                <a:ext uri="{FF2B5EF4-FFF2-40B4-BE49-F238E27FC236}">
                  <a16:creationId xmlns:a16="http://schemas.microsoft.com/office/drawing/2014/main" id="{E0594FF7-3B6C-471F-B49D-5D4CEE8BBFEC}"/>
                </a:ext>
              </a:extLst>
            </p:cNvPr>
            <p:cNvSpPr/>
            <p:nvPr/>
          </p:nvSpPr>
          <p:spPr>
            <a:xfrm rot="5400000">
              <a:off x="583441" y="3687495"/>
              <a:ext cx="233632" cy="189748"/>
            </a:xfrm>
            <a:prstGeom prst="triangle">
              <a:avLst/>
            </a:prstGeom>
            <a:solidFill>
              <a:srgbClr val="44506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14000"/>
                </a:lnSpc>
              </a:pPr>
              <a:endParaRPr lang="en-US"/>
            </a:p>
          </p:txBody>
        </p:sp>
      </p:grpSp>
      <p:grpSp>
        <p:nvGrpSpPr>
          <p:cNvPr id="82" name="Group 81">
            <a:extLst>
              <a:ext uri="{FF2B5EF4-FFF2-40B4-BE49-F238E27FC236}">
                <a16:creationId xmlns:a16="http://schemas.microsoft.com/office/drawing/2014/main" id="{0662374B-242C-47F7-8FE7-29AAF007403E}"/>
              </a:ext>
            </a:extLst>
          </p:cNvPr>
          <p:cNvGrpSpPr/>
          <p:nvPr/>
        </p:nvGrpSpPr>
        <p:grpSpPr>
          <a:xfrm>
            <a:off x="7889269" y="3946640"/>
            <a:ext cx="320250" cy="233632"/>
            <a:chOff x="112425" y="3665553"/>
            <a:chExt cx="682706" cy="233632"/>
          </a:xfrm>
        </p:grpSpPr>
        <p:cxnSp>
          <p:nvCxnSpPr>
            <p:cNvPr id="83" name="Straight Arrow Connector 82">
              <a:extLst>
                <a:ext uri="{FF2B5EF4-FFF2-40B4-BE49-F238E27FC236}">
                  <a16:creationId xmlns:a16="http://schemas.microsoft.com/office/drawing/2014/main" id="{1A5ACD97-1C80-4BD6-BD77-3642E481EEC2}"/>
                </a:ext>
              </a:extLst>
            </p:cNvPr>
            <p:cNvCxnSpPr>
              <a:cxnSpLocks/>
            </p:cNvCxnSpPr>
            <p:nvPr/>
          </p:nvCxnSpPr>
          <p:spPr>
            <a:xfrm>
              <a:off x="112425" y="3782369"/>
              <a:ext cx="682706" cy="0"/>
            </a:xfrm>
            <a:prstGeom prst="straightConnector1">
              <a:avLst/>
            </a:prstGeom>
            <a:ln>
              <a:solidFill>
                <a:srgbClr val="445064"/>
              </a:solidFill>
              <a:prstDash val="sysDot"/>
              <a:tailEnd type="triangle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sp>
          <p:nvSpPr>
            <p:cNvPr id="84" name="Isosceles Triangle 83">
              <a:extLst>
                <a:ext uri="{FF2B5EF4-FFF2-40B4-BE49-F238E27FC236}">
                  <a16:creationId xmlns:a16="http://schemas.microsoft.com/office/drawing/2014/main" id="{08706F8D-7208-4FC8-AFA5-B35F2628903D}"/>
                </a:ext>
              </a:extLst>
            </p:cNvPr>
            <p:cNvSpPr/>
            <p:nvPr/>
          </p:nvSpPr>
          <p:spPr>
            <a:xfrm rot="5400000">
              <a:off x="583441" y="3687495"/>
              <a:ext cx="233632" cy="189748"/>
            </a:xfrm>
            <a:prstGeom prst="triangle">
              <a:avLst/>
            </a:prstGeom>
            <a:solidFill>
              <a:srgbClr val="44506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14000"/>
                </a:lnSpc>
              </a:pPr>
              <a:endParaRPr lang="en-US"/>
            </a:p>
          </p:txBody>
        </p:sp>
      </p:grpSp>
      <p:sp>
        <p:nvSpPr>
          <p:cNvPr id="57" name="Speech Bubble: Rectangle 56">
            <a:extLst>
              <a:ext uri="{FF2B5EF4-FFF2-40B4-BE49-F238E27FC236}">
                <a16:creationId xmlns:a16="http://schemas.microsoft.com/office/drawing/2014/main" id="{63E16CDB-7EF6-09B8-A281-B31BA6992511}"/>
              </a:ext>
            </a:extLst>
          </p:cNvPr>
          <p:cNvSpPr/>
          <p:nvPr/>
        </p:nvSpPr>
        <p:spPr>
          <a:xfrm>
            <a:off x="65761" y="2422737"/>
            <a:ext cx="855017" cy="288515"/>
          </a:xfrm>
          <a:prstGeom prst="wedgeRectCallout">
            <a:avLst>
              <a:gd name="adj1" fmla="val 29966"/>
              <a:gd name="adj2" fmla="val -98608"/>
            </a:avLst>
          </a:prstGeom>
          <a:ln w="6350"/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4000"/>
              </a:lnSpc>
            </a:pPr>
            <a:r>
              <a:rPr lang="en-US" sz="1050"/>
              <a:t>Read data</a:t>
            </a:r>
          </a:p>
        </p:txBody>
      </p:sp>
      <p:sp>
        <p:nvSpPr>
          <p:cNvPr id="86" name="Speech Bubble: Rectangle 85">
            <a:extLst>
              <a:ext uri="{FF2B5EF4-FFF2-40B4-BE49-F238E27FC236}">
                <a16:creationId xmlns:a16="http://schemas.microsoft.com/office/drawing/2014/main" id="{05E32B29-F04C-0380-7F3A-A59BA5CD3FBA}"/>
              </a:ext>
            </a:extLst>
          </p:cNvPr>
          <p:cNvSpPr/>
          <p:nvPr/>
        </p:nvSpPr>
        <p:spPr>
          <a:xfrm>
            <a:off x="1528160" y="2422737"/>
            <a:ext cx="1077880" cy="288515"/>
          </a:xfrm>
          <a:prstGeom prst="wedgeRectCallout">
            <a:avLst>
              <a:gd name="adj1" fmla="val 29966"/>
              <a:gd name="adj2" fmla="val -98608"/>
            </a:avLst>
          </a:prstGeom>
          <a:ln w="6350"/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4000"/>
              </a:lnSpc>
            </a:pPr>
            <a:r>
              <a:rPr lang="en-US" sz="1050"/>
              <a:t>Analyzes data</a:t>
            </a:r>
          </a:p>
        </p:txBody>
      </p:sp>
      <p:sp>
        <p:nvSpPr>
          <p:cNvPr id="87" name="Speech Bubble: Rectangle 86">
            <a:extLst>
              <a:ext uri="{FF2B5EF4-FFF2-40B4-BE49-F238E27FC236}">
                <a16:creationId xmlns:a16="http://schemas.microsoft.com/office/drawing/2014/main" id="{F5CEF6C2-5006-A386-3736-0FAA4D607832}"/>
              </a:ext>
            </a:extLst>
          </p:cNvPr>
          <p:cNvSpPr/>
          <p:nvPr/>
        </p:nvSpPr>
        <p:spPr>
          <a:xfrm>
            <a:off x="1528160" y="3422892"/>
            <a:ext cx="1077880" cy="406265"/>
          </a:xfrm>
          <a:prstGeom prst="wedgeRectCallout">
            <a:avLst>
              <a:gd name="adj1" fmla="val 29966"/>
              <a:gd name="adj2" fmla="val -85479"/>
            </a:avLst>
          </a:prstGeom>
          <a:ln w="6350"/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4000"/>
              </a:lnSpc>
            </a:pPr>
            <a:r>
              <a:rPr lang="en-US" sz="1050"/>
              <a:t>Get data properties</a:t>
            </a:r>
          </a:p>
        </p:txBody>
      </p:sp>
      <p:sp>
        <p:nvSpPr>
          <p:cNvPr id="88" name="Speech Bubble: Rectangle 87">
            <a:extLst>
              <a:ext uri="{FF2B5EF4-FFF2-40B4-BE49-F238E27FC236}">
                <a16:creationId xmlns:a16="http://schemas.microsoft.com/office/drawing/2014/main" id="{BD318762-8203-6354-2CC2-F325E021DEE8}"/>
              </a:ext>
            </a:extLst>
          </p:cNvPr>
          <p:cNvSpPr/>
          <p:nvPr/>
        </p:nvSpPr>
        <p:spPr>
          <a:xfrm>
            <a:off x="4486498" y="2422737"/>
            <a:ext cx="1175812" cy="288515"/>
          </a:xfrm>
          <a:prstGeom prst="wedgeRectCallout">
            <a:avLst>
              <a:gd name="adj1" fmla="val 29966"/>
              <a:gd name="adj2" fmla="val -98608"/>
            </a:avLst>
          </a:prstGeom>
          <a:ln w="6350"/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4000"/>
              </a:lnSpc>
            </a:pPr>
            <a:r>
              <a:rPr lang="en-US" sz="1050"/>
              <a:t>Hyperparameter</a:t>
            </a:r>
          </a:p>
        </p:txBody>
      </p:sp>
      <p:sp>
        <p:nvSpPr>
          <p:cNvPr id="90" name="Textfeld 12">
            <a:extLst>
              <a:ext uri="{FF2B5EF4-FFF2-40B4-BE49-F238E27FC236}">
                <a16:creationId xmlns:a16="http://schemas.microsoft.com/office/drawing/2014/main" id="{13760D74-EA27-85FF-ACCF-D5DF8D0F688A}"/>
              </a:ext>
            </a:extLst>
          </p:cNvPr>
          <p:cNvSpPr txBox="1"/>
          <p:nvPr/>
        </p:nvSpPr>
        <p:spPr>
          <a:xfrm>
            <a:off x="920778" y="4192056"/>
            <a:ext cx="1156253" cy="22506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>
              <a:lnSpc>
                <a:spcPct val="113999"/>
              </a:lnSpc>
            </a:pPr>
            <a:r>
              <a:rPr lang="de-DE" sz="1400" b="1">
                <a:solidFill>
                  <a:schemeClr val="tx1">
                    <a:lumMod val="65000"/>
                    <a:lumOff val="35000"/>
                  </a:schemeClr>
                </a:solidFill>
                <a:latin typeface="Arial"/>
                <a:cs typeface="Arial"/>
              </a:rPr>
              <a:t>TFX Pipeline</a:t>
            </a:r>
            <a:endParaRPr lang="de-DE" sz="1400" b="1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91" name="Fußzeilenplatzhalter 4">
            <a:extLst>
              <a:ext uri="{FF2B5EF4-FFF2-40B4-BE49-F238E27FC236}">
                <a16:creationId xmlns:a16="http://schemas.microsoft.com/office/drawing/2014/main" id="{6E422726-2ABF-1EA9-8E2F-BE97A18A5DFE}"/>
              </a:ext>
            </a:extLst>
          </p:cNvPr>
          <p:cNvSpPr txBox="1">
            <a:spLocks/>
          </p:cNvSpPr>
          <p:nvPr/>
        </p:nvSpPr>
        <p:spPr>
          <a:xfrm>
            <a:off x="311162" y="4854985"/>
            <a:ext cx="7829538" cy="28851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1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r>
              <a:rPr lang="en-US" dirty="0">
                <a:latin typeface="Arial"/>
                <a:cs typeface="Arial"/>
              </a:rPr>
              <a:t>◻︎ Outline | ◻︎ Organizational</a:t>
            </a:r>
            <a:r>
              <a:rPr lang="en-US" b="1" dirty="0">
                <a:latin typeface="Arial"/>
                <a:cs typeface="Arial"/>
              </a:rPr>
              <a:t> </a:t>
            </a:r>
            <a:r>
              <a:rPr lang="en-US" dirty="0">
                <a:latin typeface="Arial"/>
                <a:cs typeface="Arial"/>
              </a:rPr>
              <a:t>structure</a:t>
            </a:r>
            <a:r>
              <a:rPr lang="en-US" b="1" dirty="0">
                <a:latin typeface="Arial"/>
                <a:cs typeface="Arial"/>
              </a:rPr>
              <a:t> </a:t>
            </a:r>
            <a:r>
              <a:rPr lang="en-US" dirty="0">
                <a:latin typeface="Arial"/>
                <a:cs typeface="Arial"/>
              </a:rPr>
              <a:t>| ◻︎ Research Topics | ◼︎ </a:t>
            </a:r>
            <a:r>
              <a:rPr lang="en-US" b="1" dirty="0">
                <a:latin typeface="Arial"/>
                <a:cs typeface="Arial"/>
              </a:rPr>
              <a:t>ML Pipeline</a:t>
            </a:r>
            <a:r>
              <a:rPr lang="en-US" dirty="0">
                <a:latin typeface="Arial"/>
                <a:cs typeface="Arial"/>
              </a:rPr>
              <a:t>  | ◻︎ Next steps</a:t>
            </a:r>
          </a:p>
        </p:txBody>
      </p:sp>
    </p:spTree>
    <p:extLst>
      <p:ext uri="{BB962C8B-B14F-4D97-AF65-F5344CB8AC3E}">
        <p14:creationId xmlns:p14="http://schemas.microsoft.com/office/powerpoint/2010/main" val="19536973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 advTm="20000"/>
    </mc:Choice>
    <mc:Fallback xmlns="">
      <p:transition spd="slow" advClick="0" advTm="20000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77778E-6 9.87654E-7 L 0.06754 0.00926 " pathEditMode="relative" rAng="0" ptsTypes="AA">
                                      <p:cBhvr>
                                        <p:cTn id="6" dur="1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368" y="463"/>
                                    </p:animMotion>
                                  </p:childTnLst>
                                </p:cTn>
                              </p:par>
                              <p:par>
                                <p:cTn id="7" presetID="42" presetClass="path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3.88889E-6 9.87654E-7 L 0.06754 0.00926 " pathEditMode="relative" rAng="0" ptsTypes="AA">
                                      <p:cBhvr>
                                        <p:cTn id="8" dur="1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368" y="463"/>
                                    </p:animMotion>
                                  </p:childTnLst>
                                </p:cTn>
                              </p:par>
                              <p:par>
                                <p:cTn id="9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3.88889E-6 3.58025E-6 L 0.22865 -0.17439 " pathEditMode="relative" rAng="0" ptsTypes="AA">
                                      <p:cBhvr>
                                        <p:cTn id="10" dur="1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1424" y="-8735"/>
                                    </p:animMotion>
                                  </p:childTnLst>
                                </p:cTn>
                              </p:par>
                              <p:par>
                                <p:cTn id="11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1.38889E-6 9.87654E-7 L 0.06771 0.19167 " pathEditMode="relative" rAng="0" ptsTypes="AA">
                                      <p:cBhvr>
                                        <p:cTn id="12" dur="1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385" y="9568"/>
                                    </p:animMotion>
                                  </p:childTnLst>
                                </p:cTn>
                              </p:par>
                              <p:par>
                                <p:cTn id="13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5E-6 9.87654E-7 L 0.06771 0.00926 " pathEditMode="relative" rAng="0" ptsTypes="AA">
                                      <p:cBhvr>
                                        <p:cTn id="14" dur="1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385" y="463"/>
                                    </p:animMotion>
                                  </p:childTnLst>
                                </p:cTn>
                              </p:par>
                              <p:par>
                                <p:cTn id="15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5E-6 3.58025E-6 L 0.06771 0.00926 " pathEditMode="relative" rAng="0" ptsTypes="AA">
                                      <p:cBhvr>
                                        <p:cTn id="16" dur="1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385" y="463"/>
                                    </p:animMotion>
                                  </p:childTnLst>
                                </p:cTn>
                              </p:par>
                              <p:par>
                                <p:cTn id="17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3.61111E-6 9.87654E-7 L 0.06754 0.19167 " pathEditMode="relative" rAng="0" ptsTypes="AA">
                                      <p:cBhvr>
                                        <p:cTn id="18" dur="1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368" y="9568"/>
                                    </p:animMotion>
                                  </p:childTnLst>
                                </p:cTn>
                              </p:par>
                              <p:par>
                                <p:cTn id="19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22222E-6 9.87654E-7 L -0.09201 0.37376 " pathEditMode="relative" rAng="0" ptsTypes="AA">
                                      <p:cBhvr>
                                        <p:cTn id="20" dur="1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4601" y="18673"/>
                                    </p:animMotion>
                                  </p:childTnLst>
                                </p:cTn>
                              </p:par>
                              <p:par>
                                <p:cTn id="21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2" dur="1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4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5" dur="10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8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0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1" dur="10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4" dur="10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6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7" dur="10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0" dur="500"/>
                                        <p:tgtEl>
                                          <p:spTgt spid="5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2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3" dur="500"/>
                                        <p:tgtEl>
                                          <p:spTgt spid="8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6" dur="500"/>
                                        <p:tgtEl>
                                          <p:spTgt spid="8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8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9" dur="500"/>
                                        <p:tgtEl>
                                          <p:spTgt spid="8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1" fill="hold">
                            <p:stCondLst>
                              <p:cond delay="1500"/>
                            </p:stCondLst>
                            <p:childTnLst>
                              <p:par>
                                <p:cTn id="52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4" dur="75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75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0" dur="750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3" dur="750"/>
                                        <p:tgtEl>
                                          <p:spTgt spid="6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6" dur="75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9" dur="750"/>
                                        <p:tgtEl>
                                          <p:spTgt spid="6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2" dur="750"/>
                                        <p:tgtEl>
                                          <p:spTgt spid="6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5" dur="750"/>
                                        <p:tgtEl>
                                          <p:spTgt spid="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8" dur="750"/>
                                        <p:tgtEl>
                                          <p:spTgt spid="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1" dur="750"/>
                                        <p:tgtEl>
                                          <p:spTgt spid="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4" dur="750"/>
                                        <p:tgtEl>
                                          <p:spTgt spid="7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7" dur="750"/>
                                        <p:tgtEl>
                                          <p:spTgt spid="8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0" dur="750"/>
                                        <p:tgtEl>
                                          <p:spTgt spid="8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3" dur="750"/>
                                        <p:tgtEl>
                                          <p:spTgt spid="9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9" grpId="0" animBg="1"/>
      <p:bldP spid="5" grpId="0" animBg="1"/>
      <p:bldP spid="11" grpId="0" animBg="1"/>
      <p:bldP spid="12" grpId="0" animBg="1"/>
      <p:bldP spid="13" grpId="0" animBg="1"/>
      <p:bldP spid="14" grpId="0" animBg="1"/>
      <p:bldP spid="16" grpId="0" animBg="1"/>
      <p:bldP spid="17" grpId="0" animBg="1"/>
      <p:bldP spid="18" grpId="0" animBg="1"/>
      <p:bldP spid="21" grpId="0" animBg="1"/>
      <p:bldP spid="22" grpId="0" animBg="1"/>
      <p:bldP spid="23" grpId="0" animBg="1"/>
      <p:bldP spid="24" grpId="0" animBg="1"/>
      <p:bldP spid="26" grpId="0" animBg="1"/>
      <p:bldP spid="27" grpId="0" animBg="1"/>
      <p:bldP spid="57" grpId="0" animBg="1"/>
      <p:bldP spid="86" grpId="0" animBg="1"/>
      <p:bldP spid="87" grpId="0" animBg="1"/>
      <p:bldP spid="88" grpId="0" animBg="1"/>
      <p:bldP spid="90" grpId="0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1" name="Rectangle: Rounded Corners 110">
            <a:extLst>
              <a:ext uri="{FF2B5EF4-FFF2-40B4-BE49-F238E27FC236}">
                <a16:creationId xmlns:a16="http://schemas.microsoft.com/office/drawing/2014/main" id="{D12C5470-826C-DFE6-149C-BE9E8E2DF0F7}"/>
              </a:ext>
            </a:extLst>
          </p:cNvPr>
          <p:cNvSpPr/>
          <p:nvPr/>
        </p:nvSpPr>
        <p:spPr>
          <a:xfrm>
            <a:off x="1334838" y="1323428"/>
            <a:ext cx="1928900" cy="1193563"/>
          </a:xfrm>
          <a:prstGeom prst="round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4000"/>
              </a:lnSpc>
            </a:pPr>
            <a:endParaRPr lang="en-US">
              <a:solidFill>
                <a:schemeClr val="tx1"/>
              </a:solidFill>
            </a:endParaRPr>
          </a:p>
        </p:txBody>
      </p:sp>
      <p:sp>
        <p:nvSpPr>
          <p:cNvPr id="90" name="Rectangle: Rounded Corners 89">
            <a:extLst>
              <a:ext uri="{FF2B5EF4-FFF2-40B4-BE49-F238E27FC236}">
                <a16:creationId xmlns:a16="http://schemas.microsoft.com/office/drawing/2014/main" id="{922B7716-1DB1-DF20-1C9E-8006EE71808E}"/>
              </a:ext>
            </a:extLst>
          </p:cNvPr>
          <p:cNvSpPr/>
          <p:nvPr/>
        </p:nvSpPr>
        <p:spPr>
          <a:xfrm>
            <a:off x="4653368" y="1323428"/>
            <a:ext cx="2493046" cy="1193563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4000"/>
              </a:lnSpc>
            </a:pPr>
            <a:endParaRPr lang="en-US">
              <a:solidFill>
                <a:schemeClr val="tx1"/>
              </a:solidFill>
            </a:endParaRPr>
          </a:p>
        </p:txBody>
      </p:sp>
      <p:sp>
        <p:nvSpPr>
          <p:cNvPr id="106" name="Rectangle: Rounded Corners 105">
            <a:extLst>
              <a:ext uri="{FF2B5EF4-FFF2-40B4-BE49-F238E27FC236}">
                <a16:creationId xmlns:a16="http://schemas.microsoft.com/office/drawing/2014/main" id="{403C97D7-D466-F197-99DF-DCB9F1E8F29C}"/>
              </a:ext>
            </a:extLst>
          </p:cNvPr>
          <p:cNvSpPr/>
          <p:nvPr/>
        </p:nvSpPr>
        <p:spPr>
          <a:xfrm>
            <a:off x="4947246" y="1450439"/>
            <a:ext cx="1901542" cy="725928"/>
          </a:xfrm>
          <a:prstGeom prst="round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4000"/>
              </a:lnSpc>
            </a:pPr>
            <a:endParaRPr lang="en-US">
              <a:solidFill>
                <a:schemeClr val="tx1"/>
              </a:solidFill>
            </a:endParaRPr>
          </a:p>
        </p:txBody>
      </p:sp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14C02855-CC96-4CB1-BC91-F306D033CA5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133546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14C02855-CC96-4CB1-BC91-F306D033CA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el 2">
            <a:extLst>
              <a:ext uri="{FF2B5EF4-FFF2-40B4-BE49-F238E27FC236}">
                <a16:creationId xmlns:a16="http://schemas.microsoft.com/office/drawing/2014/main" id="{37327073-11DD-47A1-A0A3-AEC7A599651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7502" y="282065"/>
            <a:ext cx="7567612" cy="791179"/>
          </a:xfrm>
        </p:spPr>
        <p:txBody>
          <a:bodyPr vert="horz"/>
          <a:lstStyle/>
          <a:p>
            <a:r>
              <a:rPr lang="en-US" b="1">
                <a:cs typeface="Arial"/>
              </a:rPr>
              <a:t>TFX Serving </a:t>
            </a:r>
            <a:r>
              <a:rPr lang="en-US">
                <a:cs typeface="Arial"/>
              </a:rPr>
              <a:t>allows a seamless processing of the given tasks</a:t>
            </a:r>
            <a:endParaRPr lang="en-US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F623D925-8B03-4C79-B8CE-4001D099571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19</a:t>
            </a:fld>
            <a:endParaRPr lang="de-DE"/>
          </a:p>
        </p:txBody>
      </p:sp>
      <p:pic>
        <p:nvPicPr>
          <p:cNvPr id="8" name="Grafik 2" descr="countdown.gif">
            <a:extLst>
              <a:ext uri="{FF2B5EF4-FFF2-40B4-BE49-F238E27FC236}">
                <a16:creationId xmlns:a16="http://schemas.microsoft.com/office/drawing/2014/main" id="{9F18EF32-707B-47E4-B94B-5CA81854BA99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85113" y="4575685"/>
            <a:ext cx="1258887" cy="571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55" name="Group 54">
            <a:extLst>
              <a:ext uri="{FF2B5EF4-FFF2-40B4-BE49-F238E27FC236}">
                <a16:creationId xmlns:a16="http://schemas.microsoft.com/office/drawing/2014/main" id="{1377E0C8-C67C-52F6-F59F-684645062424}"/>
              </a:ext>
            </a:extLst>
          </p:cNvPr>
          <p:cNvGrpSpPr/>
          <p:nvPr/>
        </p:nvGrpSpPr>
        <p:grpSpPr>
          <a:xfrm>
            <a:off x="4829840" y="3361216"/>
            <a:ext cx="863204" cy="863204"/>
            <a:chOff x="699759" y="1873156"/>
            <a:chExt cx="863204" cy="863204"/>
          </a:xfrm>
        </p:grpSpPr>
        <p:grpSp>
          <p:nvGrpSpPr>
            <p:cNvPr id="56" name="Group 55">
              <a:extLst>
                <a:ext uri="{FF2B5EF4-FFF2-40B4-BE49-F238E27FC236}">
                  <a16:creationId xmlns:a16="http://schemas.microsoft.com/office/drawing/2014/main" id="{175A6E77-0509-FC98-4526-BB56F35F0F61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699759" y="1873156"/>
              <a:ext cx="863204" cy="863204"/>
              <a:chOff x="5273040" y="2606042"/>
              <a:chExt cx="1645920" cy="1645920"/>
            </a:xfrm>
          </p:grpSpPr>
          <p:sp>
            <p:nvSpPr>
              <p:cNvPr id="86" name="AutoShape 21">
                <a:extLst>
                  <a:ext uri="{FF2B5EF4-FFF2-40B4-BE49-F238E27FC236}">
                    <a16:creationId xmlns:a16="http://schemas.microsoft.com/office/drawing/2014/main" id="{AD022011-68C8-D75F-B0FB-61C51D0456C6}"/>
                  </a:ext>
                </a:extLst>
              </p:cNvPr>
              <p:cNvSpPr>
                <a:spLocks noChangeAspect="1" noChangeArrowheads="1" noTextEdit="1"/>
              </p:cNvSpPr>
              <p:nvPr/>
            </p:nvSpPr>
            <p:spPr bwMode="auto">
              <a:xfrm>
                <a:off x="5273040" y="2606042"/>
                <a:ext cx="1645920" cy="164592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grpSp>
            <p:nvGrpSpPr>
              <p:cNvPr id="87" name="Group 86">
                <a:extLst>
                  <a:ext uri="{FF2B5EF4-FFF2-40B4-BE49-F238E27FC236}">
                    <a16:creationId xmlns:a16="http://schemas.microsoft.com/office/drawing/2014/main" id="{08E7C377-4BD1-4F9B-19C9-49D80DFA96BF}"/>
                  </a:ext>
                </a:extLst>
              </p:cNvPr>
              <p:cNvGrpSpPr/>
              <p:nvPr/>
            </p:nvGrpSpPr>
            <p:grpSpPr>
              <a:xfrm>
                <a:off x="5410754" y="2996229"/>
                <a:ext cx="1371703" cy="865544"/>
                <a:chOff x="5410754" y="2996229"/>
                <a:chExt cx="1371703" cy="865544"/>
              </a:xfrm>
            </p:grpSpPr>
            <p:sp>
              <p:nvSpPr>
                <p:cNvPr id="88" name="Freeform 23">
                  <a:extLst>
                    <a:ext uri="{FF2B5EF4-FFF2-40B4-BE49-F238E27FC236}">
                      <a16:creationId xmlns:a16="http://schemas.microsoft.com/office/drawing/2014/main" id="{24C5E895-440E-39BC-E3DE-5B8F946A2908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5410754" y="2996229"/>
                  <a:ext cx="1371703" cy="865544"/>
                </a:xfrm>
                <a:custGeom>
                  <a:avLst/>
                  <a:gdLst>
                    <a:gd name="T0" fmla="*/ 755 w 1920"/>
                    <a:gd name="T1" fmla="*/ 399 h 1212"/>
                    <a:gd name="T2" fmla="*/ 777 w 1920"/>
                    <a:gd name="T3" fmla="*/ 412 h 1212"/>
                    <a:gd name="T4" fmla="*/ 1039 w 1920"/>
                    <a:gd name="T5" fmla="*/ 935 h 1212"/>
                    <a:gd name="T6" fmla="*/ 1032 w 1920"/>
                    <a:gd name="T7" fmla="*/ 954 h 1212"/>
                    <a:gd name="T8" fmla="*/ 1026 w 1920"/>
                    <a:gd name="T9" fmla="*/ 956 h 1212"/>
                    <a:gd name="T10" fmla="*/ 1012 w 1920"/>
                    <a:gd name="T11" fmla="*/ 948 h 1212"/>
                    <a:gd name="T12" fmla="*/ 755 w 1920"/>
                    <a:gd name="T13" fmla="*/ 434 h 1212"/>
                    <a:gd name="T14" fmla="*/ 582 w 1920"/>
                    <a:gd name="T15" fmla="*/ 782 h 1212"/>
                    <a:gd name="T16" fmla="*/ 567 w 1920"/>
                    <a:gd name="T17" fmla="*/ 749 h 1212"/>
                    <a:gd name="T18" fmla="*/ 735 w 1920"/>
                    <a:gd name="T19" fmla="*/ 412 h 1212"/>
                    <a:gd name="T20" fmla="*/ 755 w 1920"/>
                    <a:gd name="T21" fmla="*/ 399 h 1212"/>
                    <a:gd name="T22" fmla="*/ 57 w 1920"/>
                    <a:gd name="T23" fmla="*/ 54 h 1212"/>
                    <a:gd name="T24" fmla="*/ 57 w 1920"/>
                    <a:gd name="T25" fmla="*/ 1158 h 1212"/>
                    <a:gd name="T26" fmla="*/ 1863 w 1920"/>
                    <a:gd name="T27" fmla="*/ 1158 h 1212"/>
                    <a:gd name="T28" fmla="*/ 1863 w 1920"/>
                    <a:gd name="T29" fmla="*/ 54 h 1212"/>
                    <a:gd name="T30" fmla="*/ 57 w 1920"/>
                    <a:gd name="T31" fmla="*/ 54 h 1212"/>
                    <a:gd name="T32" fmla="*/ 58 w 1920"/>
                    <a:gd name="T33" fmla="*/ 0 h 1212"/>
                    <a:gd name="T34" fmla="*/ 1863 w 1920"/>
                    <a:gd name="T35" fmla="*/ 0 h 1212"/>
                    <a:gd name="T36" fmla="*/ 1920 w 1920"/>
                    <a:gd name="T37" fmla="*/ 56 h 1212"/>
                    <a:gd name="T38" fmla="*/ 1920 w 1920"/>
                    <a:gd name="T39" fmla="*/ 1156 h 1212"/>
                    <a:gd name="T40" fmla="*/ 1863 w 1920"/>
                    <a:gd name="T41" fmla="*/ 1212 h 1212"/>
                    <a:gd name="T42" fmla="*/ 58 w 1920"/>
                    <a:gd name="T43" fmla="*/ 1212 h 1212"/>
                    <a:gd name="T44" fmla="*/ 0 w 1920"/>
                    <a:gd name="T45" fmla="*/ 1156 h 1212"/>
                    <a:gd name="T46" fmla="*/ 0 w 1920"/>
                    <a:gd name="T47" fmla="*/ 56 h 1212"/>
                    <a:gd name="T48" fmla="*/ 58 w 1920"/>
                    <a:gd name="T49" fmla="*/ 0 h 12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1920" h="1212">
                      <a:moveTo>
                        <a:pt x="755" y="399"/>
                      </a:moveTo>
                      <a:cubicBezTo>
                        <a:pt x="764" y="399"/>
                        <a:pt x="772" y="404"/>
                        <a:pt x="777" y="412"/>
                      </a:cubicBezTo>
                      <a:cubicBezTo>
                        <a:pt x="777" y="412"/>
                        <a:pt x="777" y="412"/>
                        <a:pt x="1039" y="935"/>
                      </a:cubicBezTo>
                      <a:cubicBezTo>
                        <a:pt x="1042" y="943"/>
                        <a:pt x="1040" y="950"/>
                        <a:pt x="1032" y="954"/>
                      </a:cubicBezTo>
                      <a:cubicBezTo>
                        <a:pt x="1031" y="956"/>
                        <a:pt x="1028" y="956"/>
                        <a:pt x="1026" y="956"/>
                      </a:cubicBezTo>
                      <a:cubicBezTo>
                        <a:pt x="1019" y="956"/>
                        <a:pt x="1014" y="953"/>
                        <a:pt x="1012" y="948"/>
                      </a:cubicBezTo>
                      <a:cubicBezTo>
                        <a:pt x="1012" y="948"/>
                        <a:pt x="1012" y="948"/>
                        <a:pt x="755" y="434"/>
                      </a:cubicBezTo>
                      <a:cubicBezTo>
                        <a:pt x="755" y="434"/>
                        <a:pt x="755" y="434"/>
                        <a:pt x="582" y="782"/>
                      </a:cubicBezTo>
                      <a:cubicBezTo>
                        <a:pt x="582" y="782"/>
                        <a:pt x="582" y="782"/>
                        <a:pt x="567" y="749"/>
                      </a:cubicBezTo>
                      <a:cubicBezTo>
                        <a:pt x="567" y="749"/>
                        <a:pt x="567" y="749"/>
                        <a:pt x="735" y="412"/>
                      </a:cubicBezTo>
                      <a:cubicBezTo>
                        <a:pt x="739" y="404"/>
                        <a:pt x="746" y="399"/>
                        <a:pt x="755" y="399"/>
                      </a:cubicBezTo>
                      <a:close/>
                      <a:moveTo>
                        <a:pt x="57" y="54"/>
                      </a:moveTo>
                      <a:cubicBezTo>
                        <a:pt x="57" y="1158"/>
                        <a:pt x="57" y="1158"/>
                        <a:pt x="57" y="1158"/>
                      </a:cubicBezTo>
                      <a:cubicBezTo>
                        <a:pt x="1863" y="1158"/>
                        <a:pt x="1863" y="1158"/>
                        <a:pt x="1863" y="1158"/>
                      </a:cubicBezTo>
                      <a:cubicBezTo>
                        <a:pt x="1863" y="54"/>
                        <a:pt x="1863" y="54"/>
                        <a:pt x="1863" y="54"/>
                      </a:cubicBezTo>
                      <a:cubicBezTo>
                        <a:pt x="1863" y="54"/>
                        <a:pt x="1863" y="54"/>
                        <a:pt x="57" y="54"/>
                      </a:cubicBezTo>
                      <a:close/>
                      <a:moveTo>
                        <a:pt x="58" y="0"/>
                      </a:moveTo>
                      <a:cubicBezTo>
                        <a:pt x="1863" y="0"/>
                        <a:pt x="1863" y="0"/>
                        <a:pt x="1863" y="0"/>
                      </a:cubicBezTo>
                      <a:cubicBezTo>
                        <a:pt x="1894" y="0"/>
                        <a:pt x="1920" y="25"/>
                        <a:pt x="1920" y="56"/>
                      </a:cubicBezTo>
                      <a:cubicBezTo>
                        <a:pt x="1920" y="1156"/>
                        <a:pt x="1920" y="1156"/>
                        <a:pt x="1920" y="1156"/>
                      </a:cubicBezTo>
                      <a:cubicBezTo>
                        <a:pt x="1920" y="1187"/>
                        <a:pt x="1894" y="1212"/>
                        <a:pt x="1863" y="1212"/>
                      </a:cubicBezTo>
                      <a:cubicBezTo>
                        <a:pt x="58" y="1212"/>
                        <a:pt x="58" y="1212"/>
                        <a:pt x="58" y="1212"/>
                      </a:cubicBezTo>
                      <a:cubicBezTo>
                        <a:pt x="25" y="1212"/>
                        <a:pt x="0" y="1187"/>
                        <a:pt x="0" y="1156"/>
                      </a:cubicBezTo>
                      <a:cubicBezTo>
                        <a:pt x="0" y="56"/>
                        <a:pt x="0" y="56"/>
                        <a:pt x="0" y="56"/>
                      </a:cubicBezTo>
                      <a:cubicBezTo>
                        <a:pt x="0" y="25"/>
                        <a:pt x="25" y="0"/>
                        <a:pt x="58" y="0"/>
                      </a:cubicBezTo>
                      <a:close/>
                    </a:path>
                  </a:pathLst>
                </a:custGeom>
                <a:solidFill>
                  <a:schemeClr val="accent1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89" name="Freeform 24">
                  <a:extLst>
                    <a:ext uri="{FF2B5EF4-FFF2-40B4-BE49-F238E27FC236}">
                      <a16:creationId xmlns:a16="http://schemas.microsoft.com/office/drawing/2014/main" id="{1AB81B6F-B291-009A-9A63-14AC224A6AE3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5535179" y="3146024"/>
                  <a:ext cx="1096575" cy="591022"/>
                </a:xfrm>
                <a:custGeom>
                  <a:avLst/>
                  <a:gdLst>
                    <a:gd name="T0" fmla="*/ 844 w 1535"/>
                    <a:gd name="T1" fmla="*/ 351 h 827"/>
                    <a:gd name="T2" fmla="*/ 857 w 1535"/>
                    <a:gd name="T3" fmla="*/ 359 h 827"/>
                    <a:gd name="T4" fmla="*/ 1020 w 1535"/>
                    <a:gd name="T5" fmla="*/ 684 h 827"/>
                    <a:gd name="T6" fmla="*/ 1008 w 1535"/>
                    <a:gd name="T7" fmla="*/ 705 h 827"/>
                    <a:gd name="T8" fmla="*/ 889 w 1535"/>
                    <a:gd name="T9" fmla="*/ 705 h 827"/>
                    <a:gd name="T10" fmla="*/ 774 w 1535"/>
                    <a:gd name="T11" fmla="*/ 476 h 827"/>
                    <a:gd name="T12" fmla="*/ 831 w 1535"/>
                    <a:gd name="T13" fmla="*/ 359 h 827"/>
                    <a:gd name="T14" fmla="*/ 844 w 1535"/>
                    <a:gd name="T15" fmla="*/ 351 h 827"/>
                    <a:gd name="T16" fmla="*/ 248 w 1535"/>
                    <a:gd name="T17" fmla="*/ 339 h 827"/>
                    <a:gd name="T18" fmla="*/ 260 w 1535"/>
                    <a:gd name="T19" fmla="*/ 347 h 827"/>
                    <a:gd name="T20" fmla="*/ 490 w 1535"/>
                    <a:gd name="T21" fmla="*/ 806 h 827"/>
                    <a:gd name="T22" fmla="*/ 477 w 1535"/>
                    <a:gd name="T23" fmla="*/ 827 h 827"/>
                    <a:gd name="T24" fmla="*/ 18 w 1535"/>
                    <a:gd name="T25" fmla="*/ 827 h 827"/>
                    <a:gd name="T26" fmla="*/ 5 w 1535"/>
                    <a:gd name="T27" fmla="*/ 806 h 827"/>
                    <a:gd name="T28" fmla="*/ 235 w 1535"/>
                    <a:gd name="T29" fmla="*/ 347 h 827"/>
                    <a:gd name="T30" fmla="*/ 248 w 1535"/>
                    <a:gd name="T31" fmla="*/ 339 h 827"/>
                    <a:gd name="T32" fmla="*/ 1384 w 1535"/>
                    <a:gd name="T33" fmla="*/ 0 h 827"/>
                    <a:gd name="T34" fmla="*/ 1535 w 1535"/>
                    <a:gd name="T35" fmla="*/ 153 h 827"/>
                    <a:gd name="T36" fmla="*/ 1384 w 1535"/>
                    <a:gd name="T37" fmla="*/ 305 h 827"/>
                    <a:gd name="T38" fmla="*/ 1233 w 1535"/>
                    <a:gd name="T39" fmla="*/ 153 h 827"/>
                    <a:gd name="T40" fmla="*/ 1384 w 1535"/>
                    <a:gd name="T41" fmla="*/ 0 h 8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</a:cxnLst>
                  <a:rect l="0" t="0" r="r" b="b"/>
                  <a:pathLst>
                    <a:path w="1535" h="827">
                      <a:moveTo>
                        <a:pt x="844" y="351"/>
                      </a:moveTo>
                      <a:cubicBezTo>
                        <a:pt x="849" y="351"/>
                        <a:pt x="854" y="353"/>
                        <a:pt x="857" y="359"/>
                      </a:cubicBezTo>
                      <a:cubicBezTo>
                        <a:pt x="1020" y="684"/>
                        <a:pt x="1020" y="684"/>
                        <a:pt x="1020" y="684"/>
                      </a:cubicBezTo>
                      <a:cubicBezTo>
                        <a:pt x="1025" y="693"/>
                        <a:pt x="1019" y="705"/>
                        <a:pt x="1008" y="705"/>
                      </a:cubicBezTo>
                      <a:cubicBezTo>
                        <a:pt x="889" y="705"/>
                        <a:pt x="889" y="705"/>
                        <a:pt x="889" y="705"/>
                      </a:cubicBezTo>
                      <a:cubicBezTo>
                        <a:pt x="774" y="476"/>
                        <a:pt x="774" y="476"/>
                        <a:pt x="774" y="476"/>
                      </a:cubicBezTo>
                      <a:cubicBezTo>
                        <a:pt x="831" y="359"/>
                        <a:pt x="831" y="359"/>
                        <a:pt x="831" y="359"/>
                      </a:cubicBezTo>
                      <a:cubicBezTo>
                        <a:pt x="834" y="353"/>
                        <a:pt x="839" y="351"/>
                        <a:pt x="844" y="351"/>
                      </a:cubicBezTo>
                      <a:close/>
                      <a:moveTo>
                        <a:pt x="248" y="339"/>
                      </a:moveTo>
                      <a:cubicBezTo>
                        <a:pt x="253" y="339"/>
                        <a:pt x="258" y="342"/>
                        <a:pt x="260" y="347"/>
                      </a:cubicBezTo>
                      <a:cubicBezTo>
                        <a:pt x="260" y="347"/>
                        <a:pt x="260" y="347"/>
                        <a:pt x="490" y="806"/>
                      </a:cubicBezTo>
                      <a:cubicBezTo>
                        <a:pt x="495" y="816"/>
                        <a:pt x="489" y="827"/>
                        <a:pt x="477" y="827"/>
                      </a:cubicBezTo>
                      <a:cubicBezTo>
                        <a:pt x="477" y="827"/>
                        <a:pt x="477" y="827"/>
                        <a:pt x="18" y="827"/>
                      </a:cubicBezTo>
                      <a:cubicBezTo>
                        <a:pt x="6" y="827"/>
                        <a:pt x="0" y="816"/>
                        <a:pt x="5" y="806"/>
                      </a:cubicBezTo>
                      <a:cubicBezTo>
                        <a:pt x="5" y="806"/>
                        <a:pt x="5" y="806"/>
                        <a:pt x="235" y="347"/>
                      </a:cubicBezTo>
                      <a:cubicBezTo>
                        <a:pt x="237" y="342"/>
                        <a:pt x="243" y="339"/>
                        <a:pt x="248" y="339"/>
                      </a:cubicBezTo>
                      <a:close/>
                      <a:moveTo>
                        <a:pt x="1384" y="0"/>
                      </a:moveTo>
                      <a:cubicBezTo>
                        <a:pt x="1467" y="0"/>
                        <a:pt x="1535" y="69"/>
                        <a:pt x="1535" y="153"/>
                      </a:cubicBezTo>
                      <a:cubicBezTo>
                        <a:pt x="1535" y="237"/>
                        <a:pt x="1467" y="305"/>
                        <a:pt x="1384" y="305"/>
                      </a:cubicBezTo>
                      <a:cubicBezTo>
                        <a:pt x="1301" y="305"/>
                        <a:pt x="1233" y="237"/>
                        <a:pt x="1233" y="153"/>
                      </a:cubicBezTo>
                      <a:cubicBezTo>
                        <a:pt x="1233" y="69"/>
                        <a:pt x="1301" y="0"/>
                        <a:pt x="1384" y="0"/>
                      </a:cubicBezTo>
                      <a:close/>
                    </a:path>
                  </a:pathLst>
                </a:custGeom>
                <a:solidFill>
                  <a:schemeClr val="tx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</p:grpSp>
        </p:grpSp>
        <p:sp>
          <p:nvSpPr>
            <p:cNvPr id="57" name="TextBox 56">
              <a:extLst>
                <a:ext uri="{FF2B5EF4-FFF2-40B4-BE49-F238E27FC236}">
                  <a16:creationId xmlns:a16="http://schemas.microsoft.com/office/drawing/2014/main" id="{E9DFC30E-9FE0-4AB1-E3BE-B7E8221AD6E0}"/>
                </a:ext>
              </a:extLst>
            </p:cNvPr>
            <p:cNvSpPr txBox="1"/>
            <p:nvPr/>
          </p:nvSpPr>
          <p:spPr>
            <a:xfrm>
              <a:off x="772916" y="2525870"/>
              <a:ext cx="718457" cy="16882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ct val="114000"/>
                </a:lnSpc>
              </a:pPr>
              <a:r>
                <a:rPr lang="en-US" sz="1050">
                  <a:solidFill>
                    <a:schemeClr val="accent1"/>
                  </a:solidFill>
                  <a:latin typeface="+mn-lt"/>
                </a:rPr>
                <a:t>Input Image</a:t>
              </a:r>
            </a:p>
          </p:txBody>
        </p:sp>
      </p:grpSp>
      <p:pic>
        <p:nvPicPr>
          <p:cNvPr id="92" name="Grafik 32">
            <a:extLst>
              <a:ext uri="{FF2B5EF4-FFF2-40B4-BE49-F238E27FC236}">
                <a16:creationId xmlns:a16="http://schemas.microsoft.com/office/drawing/2014/main" id="{4A0AEA07-1B0A-1E41-048D-F39F3CDD2F6D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b="26551"/>
          <a:stretch/>
        </p:blipFill>
        <p:spPr>
          <a:xfrm>
            <a:off x="5068777" y="1578765"/>
            <a:ext cx="695014" cy="426184"/>
          </a:xfrm>
          <a:prstGeom prst="rect">
            <a:avLst/>
          </a:prstGeom>
        </p:spPr>
      </p:pic>
      <p:grpSp>
        <p:nvGrpSpPr>
          <p:cNvPr id="5" name="Group 4">
            <a:extLst>
              <a:ext uri="{FF2B5EF4-FFF2-40B4-BE49-F238E27FC236}">
                <a16:creationId xmlns:a16="http://schemas.microsoft.com/office/drawing/2014/main" id="{BEA7975A-CCF5-C282-F98F-48358098E2D8}"/>
              </a:ext>
            </a:extLst>
          </p:cNvPr>
          <p:cNvGrpSpPr/>
          <p:nvPr/>
        </p:nvGrpSpPr>
        <p:grpSpPr>
          <a:xfrm>
            <a:off x="5490533" y="3967696"/>
            <a:ext cx="823190" cy="868933"/>
            <a:chOff x="6362519" y="3261005"/>
            <a:chExt cx="823190" cy="868933"/>
          </a:xfrm>
        </p:grpSpPr>
        <p:grpSp>
          <p:nvGrpSpPr>
            <p:cNvPr id="32" name="Group 31">
              <a:extLst>
                <a:ext uri="{FF2B5EF4-FFF2-40B4-BE49-F238E27FC236}">
                  <a16:creationId xmlns:a16="http://schemas.microsoft.com/office/drawing/2014/main" id="{A3A0C2B3-07F0-4A04-BE0F-2177603D25AE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6362519" y="3261005"/>
              <a:ext cx="823190" cy="823954"/>
              <a:chOff x="5273802" y="2606040"/>
              <a:chExt cx="1644396" cy="1645920"/>
            </a:xfrm>
          </p:grpSpPr>
          <p:sp>
            <p:nvSpPr>
              <p:cNvPr id="33" name="AutoShape 8">
                <a:extLst>
                  <a:ext uri="{FF2B5EF4-FFF2-40B4-BE49-F238E27FC236}">
                    <a16:creationId xmlns:a16="http://schemas.microsoft.com/office/drawing/2014/main" id="{A44F4F27-15C4-4CCF-B2C7-C741824675A0}"/>
                  </a:ext>
                </a:extLst>
              </p:cNvPr>
              <p:cNvSpPr>
                <a:spLocks noChangeAspect="1" noChangeArrowheads="1" noTextEdit="1"/>
              </p:cNvSpPr>
              <p:nvPr/>
            </p:nvSpPr>
            <p:spPr bwMode="auto">
              <a:xfrm>
                <a:off x="5273802" y="2606040"/>
                <a:ext cx="1644396" cy="164592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grpSp>
            <p:nvGrpSpPr>
              <p:cNvPr id="34" name="Group 33">
                <a:extLst>
                  <a:ext uri="{FF2B5EF4-FFF2-40B4-BE49-F238E27FC236}">
                    <a16:creationId xmlns:a16="http://schemas.microsoft.com/office/drawing/2014/main" id="{A8B03CD1-74C3-4F07-ACC1-376A6B2F6572}"/>
                  </a:ext>
                </a:extLst>
              </p:cNvPr>
              <p:cNvGrpSpPr/>
              <p:nvPr/>
            </p:nvGrpSpPr>
            <p:grpSpPr>
              <a:xfrm>
                <a:off x="5451348" y="2803779"/>
                <a:ext cx="1289304" cy="1200912"/>
                <a:chOff x="5451348" y="2803779"/>
                <a:chExt cx="1289304" cy="1200912"/>
              </a:xfrm>
            </p:grpSpPr>
            <p:sp>
              <p:nvSpPr>
                <p:cNvPr id="35" name="Freeform 10">
                  <a:extLst>
                    <a:ext uri="{FF2B5EF4-FFF2-40B4-BE49-F238E27FC236}">
                      <a16:creationId xmlns:a16="http://schemas.microsoft.com/office/drawing/2014/main" id="{5BD4CF08-C237-4142-9A33-D84F73D2B301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5710428" y="2803779"/>
                  <a:ext cx="771144" cy="893826"/>
                </a:xfrm>
                <a:custGeom>
                  <a:avLst/>
                  <a:gdLst>
                    <a:gd name="T0" fmla="*/ 232 w 1080"/>
                    <a:gd name="T1" fmla="*/ 1237 h 1251"/>
                    <a:gd name="T2" fmla="*/ 0 w 1080"/>
                    <a:gd name="T3" fmla="*/ 1153 h 1251"/>
                    <a:gd name="T4" fmla="*/ 114 w 1080"/>
                    <a:gd name="T5" fmla="*/ 905 h 1251"/>
                    <a:gd name="T6" fmla="*/ 148 w 1080"/>
                    <a:gd name="T7" fmla="*/ 984 h 1251"/>
                    <a:gd name="T8" fmla="*/ 232 w 1080"/>
                    <a:gd name="T9" fmla="*/ 1149 h 1251"/>
                    <a:gd name="T10" fmla="*/ 232 w 1080"/>
                    <a:gd name="T11" fmla="*/ 1237 h 1251"/>
                    <a:gd name="T12" fmla="*/ 1014 w 1080"/>
                    <a:gd name="T13" fmla="*/ 481 h 1251"/>
                    <a:gd name="T14" fmla="*/ 540 w 1080"/>
                    <a:gd name="T15" fmla="*/ 0 h 1251"/>
                    <a:gd name="T16" fmla="*/ 66 w 1080"/>
                    <a:gd name="T17" fmla="*/ 481 h 1251"/>
                    <a:gd name="T18" fmla="*/ 92 w 1080"/>
                    <a:gd name="T19" fmla="*/ 677 h 1251"/>
                    <a:gd name="T20" fmla="*/ 92 w 1080"/>
                    <a:gd name="T21" fmla="*/ 678 h 1251"/>
                    <a:gd name="T22" fmla="*/ 277 w 1080"/>
                    <a:gd name="T23" fmla="*/ 386 h 1251"/>
                    <a:gd name="T24" fmla="*/ 283 w 1080"/>
                    <a:gd name="T25" fmla="*/ 387 h 1251"/>
                    <a:gd name="T26" fmla="*/ 907 w 1080"/>
                    <a:gd name="T27" fmla="*/ 717 h 1251"/>
                    <a:gd name="T28" fmla="*/ 910 w 1080"/>
                    <a:gd name="T29" fmla="*/ 718 h 1251"/>
                    <a:gd name="T30" fmla="*/ 940 w 1080"/>
                    <a:gd name="T31" fmla="*/ 718 h 1251"/>
                    <a:gd name="T32" fmla="*/ 945 w 1080"/>
                    <a:gd name="T33" fmla="*/ 716 h 1251"/>
                    <a:gd name="T34" fmla="*/ 997 w 1080"/>
                    <a:gd name="T35" fmla="*/ 643 h 1251"/>
                    <a:gd name="T36" fmla="*/ 997 w 1080"/>
                    <a:gd name="T37" fmla="*/ 644 h 1251"/>
                    <a:gd name="T38" fmla="*/ 1014 w 1080"/>
                    <a:gd name="T39" fmla="*/ 481 h 1251"/>
                    <a:gd name="T40" fmla="*/ 965 w 1080"/>
                    <a:gd name="T41" fmla="*/ 907 h 1251"/>
                    <a:gd name="T42" fmla="*/ 932 w 1080"/>
                    <a:gd name="T43" fmla="*/ 984 h 1251"/>
                    <a:gd name="T44" fmla="*/ 848 w 1080"/>
                    <a:gd name="T45" fmla="*/ 1149 h 1251"/>
                    <a:gd name="T46" fmla="*/ 848 w 1080"/>
                    <a:gd name="T47" fmla="*/ 1237 h 1251"/>
                    <a:gd name="T48" fmla="*/ 1080 w 1080"/>
                    <a:gd name="T49" fmla="*/ 1153 h 1251"/>
                    <a:gd name="T50" fmla="*/ 965 w 1080"/>
                    <a:gd name="T51" fmla="*/ 907 h 125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</a:cxnLst>
                  <a:rect l="0" t="0" r="r" b="b"/>
                  <a:pathLst>
                    <a:path w="1080" h="1251">
                      <a:moveTo>
                        <a:pt x="232" y="1237"/>
                      </a:moveTo>
                      <a:cubicBezTo>
                        <a:pt x="187" y="1247"/>
                        <a:pt x="97" y="1250"/>
                        <a:pt x="0" y="1153"/>
                      </a:cubicBezTo>
                      <a:cubicBezTo>
                        <a:pt x="103" y="1143"/>
                        <a:pt x="110" y="995"/>
                        <a:pt x="114" y="905"/>
                      </a:cubicBezTo>
                      <a:cubicBezTo>
                        <a:pt x="124" y="928"/>
                        <a:pt x="136" y="956"/>
                        <a:pt x="148" y="984"/>
                      </a:cubicBezTo>
                      <a:cubicBezTo>
                        <a:pt x="188" y="1076"/>
                        <a:pt x="214" y="1123"/>
                        <a:pt x="232" y="1149"/>
                      </a:cubicBezTo>
                      <a:lnTo>
                        <a:pt x="232" y="1237"/>
                      </a:lnTo>
                      <a:close/>
                      <a:moveTo>
                        <a:pt x="1014" y="481"/>
                      </a:moveTo>
                      <a:cubicBezTo>
                        <a:pt x="1014" y="215"/>
                        <a:pt x="808" y="0"/>
                        <a:pt x="540" y="0"/>
                      </a:cubicBezTo>
                      <a:cubicBezTo>
                        <a:pt x="272" y="0"/>
                        <a:pt x="66" y="215"/>
                        <a:pt x="66" y="481"/>
                      </a:cubicBezTo>
                      <a:cubicBezTo>
                        <a:pt x="66" y="540"/>
                        <a:pt x="73" y="625"/>
                        <a:pt x="92" y="677"/>
                      </a:cubicBezTo>
                      <a:cubicBezTo>
                        <a:pt x="92" y="678"/>
                        <a:pt x="92" y="678"/>
                        <a:pt x="92" y="678"/>
                      </a:cubicBezTo>
                      <a:cubicBezTo>
                        <a:pt x="139" y="720"/>
                        <a:pt x="138" y="432"/>
                        <a:pt x="277" y="386"/>
                      </a:cubicBezTo>
                      <a:cubicBezTo>
                        <a:pt x="279" y="386"/>
                        <a:pt x="281" y="386"/>
                        <a:pt x="283" y="387"/>
                      </a:cubicBezTo>
                      <a:cubicBezTo>
                        <a:pt x="907" y="717"/>
                        <a:pt x="907" y="717"/>
                        <a:pt x="907" y="717"/>
                      </a:cubicBezTo>
                      <a:cubicBezTo>
                        <a:pt x="908" y="718"/>
                        <a:pt x="909" y="718"/>
                        <a:pt x="910" y="718"/>
                      </a:cubicBezTo>
                      <a:cubicBezTo>
                        <a:pt x="940" y="718"/>
                        <a:pt x="940" y="718"/>
                        <a:pt x="940" y="718"/>
                      </a:cubicBezTo>
                      <a:cubicBezTo>
                        <a:pt x="942" y="718"/>
                        <a:pt x="944" y="717"/>
                        <a:pt x="945" y="716"/>
                      </a:cubicBezTo>
                      <a:cubicBezTo>
                        <a:pt x="988" y="667"/>
                        <a:pt x="996" y="644"/>
                        <a:pt x="997" y="643"/>
                      </a:cubicBezTo>
                      <a:cubicBezTo>
                        <a:pt x="997" y="643"/>
                        <a:pt x="997" y="643"/>
                        <a:pt x="997" y="644"/>
                      </a:cubicBezTo>
                      <a:cubicBezTo>
                        <a:pt x="1015" y="593"/>
                        <a:pt x="1014" y="538"/>
                        <a:pt x="1014" y="481"/>
                      </a:cubicBezTo>
                      <a:close/>
                      <a:moveTo>
                        <a:pt x="965" y="907"/>
                      </a:moveTo>
                      <a:cubicBezTo>
                        <a:pt x="955" y="930"/>
                        <a:pt x="944" y="957"/>
                        <a:pt x="932" y="984"/>
                      </a:cubicBezTo>
                      <a:cubicBezTo>
                        <a:pt x="892" y="1076"/>
                        <a:pt x="866" y="1123"/>
                        <a:pt x="848" y="1149"/>
                      </a:cubicBezTo>
                      <a:cubicBezTo>
                        <a:pt x="848" y="1237"/>
                        <a:pt x="848" y="1237"/>
                        <a:pt x="848" y="1237"/>
                      </a:cubicBezTo>
                      <a:cubicBezTo>
                        <a:pt x="892" y="1247"/>
                        <a:pt x="982" y="1251"/>
                        <a:pt x="1080" y="1153"/>
                      </a:cubicBezTo>
                      <a:cubicBezTo>
                        <a:pt x="978" y="1143"/>
                        <a:pt x="969" y="997"/>
                        <a:pt x="965" y="907"/>
                      </a:cubicBezTo>
                      <a:close/>
                    </a:path>
                  </a:pathLst>
                </a:custGeom>
                <a:solidFill>
                  <a:schemeClr val="tx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6" name="Freeform 11">
                  <a:extLst>
                    <a:ext uri="{FF2B5EF4-FFF2-40B4-BE49-F238E27FC236}">
                      <a16:creationId xmlns:a16="http://schemas.microsoft.com/office/drawing/2014/main" id="{789CD658-9A5D-437F-A6A8-3A08AFF1F850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5451348" y="3318129"/>
                  <a:ext cx="1289304" cy="686562"/>
                </a:xfrm>
                <a:custGeom>
                  <a:avLst/>
                  <a:gdLst>
                    <a:gd name="T0" fmla="*/ 1195 w 1806"/>
                    <a:gd name="T1" fmla="*/ 548 h 961"/>
                    <a:gd name="T2" fmla="*/ 1195 w 1806"/>
                    <a:gd name="T3" fmla="*/ 548 h 961"/>
                    <a:gd name="T4" fmla="*/ 1583 w 1806"/>
                    <a:gd name="T5" fmla="*/ 614 h 961"/>
                    <a:gd name="T6" fmla="*/ 1801 w 1806"/>
                    <a:gd name="T7" fmla="*/ 931 h 961"/>
                    <a:gd name="T8" fmla="*/ 1780 w 1806"/>
                    <a:gd name="T9" fmla="*/ 961 h 961"/>
                    <a:gd name="T10" fmla="*/ 26 w 1806"/>
                    <a:gd name="T11" fmla="*/ 961 h 961"/>
                    <a:gd name="T12" fmla="*/ 5 w 1806"/>
                    <a:gd name="T13" fmla="*/ 931 h 961"/>
                    <a:gd name="T14" fmla="*/ 223 w 1806"/>
                    <a:gd name="T15" fmla="*/ 614 h 961"/>
                    <a:gd name="T16" fmla="*/ 611 w 1806"/>
                    <a:gd name="T17" fmla="*/ 548 h 961"/>
                    <a:gd name="T18" fmla="*/ 611 w 1806"/>
                    <a:gd name="T19" fmla="*/ 548 h 961"/>
                    <a:gd name="T20" fmla="*/ 897 w 1806"/>
                    <a:gd name="T21" fmla="*/ 782 h 961"/>
                    <a:gd name="T22" fmla="*/ 909 w 1806"/>
                    <a:gd name="T23" fmla="*/ 781 h 961"/>
                    <a:gd name="T24" fmla="*/ 1195 w 1806"/>
                    <a:gd name="T25" fmla="*/ 548 h 961"/>
                    <a:gd name="T26" fmla="*/ 1329 w 1806"/>
                    <a:gd name="T27" fmla="*/ 24 h 961"/>
                    <a:gd name="T28" fmla="*/ 1283 w 1806"/>
                    <a:gd name="T29" fmla="*/ 77 h 961"/>
                    <a:gd name="T30" fmla="*/ 1273 w 1806"/>
                    <a:gd name="T31" fmla="*/ 89 h 961"/>
                    <a:gd name="T32" fmla="*/ 1129 w 1806"/>
                    <a:gd name="T33" fmla="*/ 391 h 961"/>
                    <a:gd name="T34" fmla="*/ 903 w 1806"/>
                    <a:gd name="T35" fmla="*/ 504 h 961"/>
                    <a:gd name="T36" fmla="*/ 677 w 1806"/>
                    <a:gd name="T37" fmla="*/ 391 h 961"/>
                    <a:gd name="T38" fmla="*/ 533 w 1806"/>
                    <a:gd name="T39" fmla="*/ 89 h 961"/>
                    <a:gd name="T40" fmla="*/ 523 w 1806"/>
                    <a:gd name="T41" fmla="*/ 77 h 961"/>
                    <a:gd name="T42" fmla="*/ 477 w 1806"/>
                    <a:gd name="T43" fmla="*/ 24 h 961"/>
                    <a:gd name="T44" fmla="*/ 426 w 1806"/>
                    <a:gd name="T45" fmla="*/ 0 h 961"/>
                    <a:gd name="T46" fmla="*/ 426 w 1806"/>
                    <a:gd name="T47" fmla="*/ 5 h 961"/>
                    <a:gd name="T48" fmla="*/ 495 w 1806"/>
                    <a:gd name="T49" fmla="*/ 112 h 961"/>
                    <a:gd name="T50" fmla="*/ 639 w 1806"/>
                    <a:gd name="T51" fmla="*/ 414 h 961"/>
                    <a:gd name="T52" fmla="*/ 639 w 1806"/>
                    <a:gd name="T53" fmla="*/ 512 h 961"/>
                    <a:gd name="T54" fmla="*/ 646 w 1806"/>
                    <a:gd name="T55" fmla="*/ 522 h 961"/>
                    <a:gd name="T56" fmla="*/ 683 w 1806"/>
                    <a:gd name="T57" fmla="*/ 560 h 961"/>
                    <a:gd name="T58" fmla="*/ 683 w 1806"/>
                    <a:gd name="T59" fmla="*/ 451 h 961"/>
                    <a:gd name="T60" fmla="*/ 903 w 1806"/>
                    <a:gd name="T61" fmla="*/ 548 h 961"/>
                    <a:gd name="T62" fmla="*/ 1123 w 1806"/>
                    <a:gd name="T63" fmla="*/ 451 h 961"/>
                    <a:gd name="T64" fmla="*/ 1123 w 1806"/>
                    <a:gd name="T65" fmla="*/ 560 h 961"/>
                    <a:gd name="T66" fmla="*/ 1160 w 1806"/>
                    <a:gd name="T67" fmla="*/ 522 h 961"/>
                    <a:gd name="T68" fmla="*/ 1167 w 1806"/>
                    <a:gd name="T69" fmla="*/ 512 h 961"/>
                    <a:gd name="T70" fmla="*/ 1167 w 1806"/>
                    <a:gd name="T71" fmla="*/ 414 h 961"/>
                    <a:gd name="T72" fmla="*/ 1311 w 1806"/>
                    <a:gd name="T73" fmla="*/ 112 h 961"/>
                    <a:gd name="T74" fmla="*/ 1380 w 1806"/>
                    <a:gd name="T75" fmla="*/ 3 h 961"/>
                    <a:gd name="T76" fmla="*/ 1380 w 1806"/>
                    <a:gd name="T77" fmla="*/ 0 h 961"/>
                    <a:gd name="T78" fmla="*/ 1329 w 1806"/>
                    <a:gd name="T79" fmla="*/ 24 h 96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</a:cxnLst>
                  <a:rect l="0" t="0" r="r" b="b"/>
                  <a:pathLst>
                    <a:path w="1806" h="961">
                      <a:moveTo>
                        <a:pt x="1195" y="548"/>
                      </a:moveTo>
                      <a:cubicBezTo>
                        <a:pt x="1195" y="548"/>
                        <a:pt x="1195" y="548"/>
                        <a:pt x="1195" y="548"/>
                      </a:cubicBezTo>
                      <a:cubicBezTo>
                        <a:pt x="1195" y="548"/>
                        <a:pt x="1447" y="551"/>
                        <a:pt x="1583" y="614"/>
                      </a:cubicBezTo>
                      <a:cubicBezTo>
                        <a:pt x="1693" y="664"/>
                        <a:pt x="1773" y="857"/>
                        <a:pt x="1801" y="931"/>
                      </a:cubicBezTo>
                      <a:cubicBezTo>
                        <a:pt x="1806" y="945"/>
                        <a:pt x="1796" y="961"/>
                        <a:pt x="1780" y="961"/>
                      </a:cubicBezTo>
                      <a:cubicBezTo>
                        <a:pt x="26" y="961"/>
                        <a:pt x="26" y="961"/>
                        <a:pt x="26" y="961"/>
                      </a:cubicBezTo>
                      <a:cubicBezTo>
                        <a:pt x="10" y="961"/>
                        <a:pt x="0" y="945"/>
                        <a:pt x="5" y="931"/>
                      </a:cubicBezTo>
                      <a:cubicBezTo>
                        <a:pt x="33" y="857"/>
                        <a:pt x="113" y="664"/>
                        <a:pt x="223" y="614"/>
                      </a:cubicBezTo>
                      <a:cubicBezTo>
                        <a:pt x="359" y="551"/>
                        <a:pt x="611" y="548"/>
                        <a:pt x="611" y="548"/>
                      </a:cubicBezTo>
                      <a:cubicBezTo>
                        <a:pt x="611" y="548"/>
                        <a:pt x="611" y="548"/>
                        <a:pt x="611" y="548"/>
                      </a:cubicBezTo>
                      <a:cubicBezTo>
                        <a:pt x="611" y="548"/>
                        <a:pt x="805" y="709"/>
                        <a:pt x="897" y="782"/>
                      </a:cubicBezTo>
                      <a:cubicBezTo>
                        <a:pt x="901" y="784"/>
                        <a:pt x="906" y="784"/>
                        <a:pt x="909" y="781"/>
                      </a:cubicBezTo>
                      <a:cubicBezTo>
                        <a:pt x="1034" y="681"/>
                        <a:pt x="1195" y="548"/>
                        <a:pt x="1195" y="548"/>
                      </a:cubicBezTo>
                      <a:close/>
                      <a:moveTo>
                        <a:pt x="1329" y="24"/>
                      </a:moveTo>
                      <a:cubicBezTo>
                        <a:pt x="1322" y="43"/>
                        <a:pt x="1308" y="65"/>
                        <a:pt x="1283" y="77"/>
                      </a:cubicBezTo>
                      <a:cubicBezTo>
                        <a:pt x="1278" y="80"/>
                        <a:pt x="1274" y="84"/>
                        <a:pt x="1273" y="89"/>
                      </a:cubicBezTo>
                      <a:cubicBezTo>
                        <a:pt x="1232" y="192"/>
                        <a:pt x="1157" y="365"/>
                        <a:pt x="1129" y="391"/>
                      </a:cubicBezTo>
                      <a:cubicBezTo>
                        <a:pt x="1084" y="430"/>
                        <a:pt x="968" y="504"/>
                        <a:pt x="903" y="504"/>
                      </a:cubicBezTo>
                      <a:cubicBezTo>
                        <a:pt x="838" y="504"/>
                        <a:pt x="722" y="430"/>
                        <a:pt x="677" y="391"/>
                      </a:cubicBezTo>
                      <a:cubicBezTo>
                        <a:pt x="649" y="365"/>
                        <a:pt x="574" y="192"/>
                        <a:pt x="533" y="89"/>
                      </a:cubicBezTo>
                      <a:cubicBezTo>
                        <a:pt x="532" y="84"/>
                        <a:pt x="528" y="80"/>
                        <a:pt x="523" y="77"/>
                      </a:cubicBezTo>
                      <a:cubicBezTo>
                        <a:pt x="498" y="65"/>
                        <a:pt x="484" y="43"/>
                        <a:pt x="477" y="24"/>
                      </a:cubicBezTo>
                      <a:cubicBezTo>
                        <a:pt x="426" y="0"/>
                        <a:pt x="426" y="0"/>
                        <a:pt x="426" y="0"/>
                      </a:cubicBezTo>
                      <a:cubicBezTo>
                        <a:pt x="426" y="2"/>
                        <a:pt x="426" y="4"/>
                        <a:pt x="426" y="5"/>
                      </a:cubicBezTo>
                      <a:cubicBezTo>
                        <a:pt x="431" y="33"/>
                        <a:pt x="446" y="83"/>
                        <a:pt x="495" y="112"/>
                      </a:cubicBezTo>
                      <a:cubicBezTo>
                        <a:pt x="517" y="168"/>
                        <a:pt x="594" y="359"/>
                        <a:pt x="639" y="414"/>
                      </a:cubicBezTo>
                      <a:cubicBezTo>
                        <a:pt x="639" y="512"/>
                        <a:pt x="639" y="512"/>
                        <a:pt x="639" y="512"/>
                      </a:cubicBezTo>
                      <a:cubicBezTo>
                        <a:pt x="646" y="522"/>
                        <a:pt x="646" y="522"/>
                        <a:pt x="646" y="522"/>
                      </a:cubicBezTo>
                      <a:cubicBezTo>
                        <a:pt x="648" y="524"/>
                        <a:pt x="660" y="540"/>
                        <a:pt x="683" y="560"/>
                      </a:cubicBezTo>
                      <a:cubicBezTo>
                        <a:pt x="683" y="451"/>
                        <a:pt x="683" y="451"/>
                        <a:pt x="683" y="451"/>
                      </a:cubicBezTo>
                      <a:cubicBezTo>
                        <a:pt x="742" y="494"/>
                        <a:pt x="838" y="548"/>
                        <a:pt x="903" y="548"/>
                      </a:cubicBezTo>
                      <a:cubicBezTo>
                        <a:pt x="968" y="548"/>
                        <a:pt x="1064" y="494"/>
                        <a:pt x="1123" y="451"/>
                      </a:cubicBezTo>
                      <a:cubicBezTo>
                        <a:pt x="1123" y="560"/>
                        <a:pt x="1123" y="560"/>
                        <a:pt x="1123" y="560"/>
                      </a:cubicBezTo>
                      <a:cubicBezTo>
                        <a:pt x="1146" y="540"/>
                        <a:pt x="1158" y="524"/>
                        <a:pt x="1160" y="522"/>
                      </a:cubicBezTo>
                      <a:cubicBezTo>
                        <a:pt x="1167" y="512"/>
                        <a:pt x="1167" y="512"/>
                        <a:pt x="1167" y="512"/>
                      </a:cubicBezTo>
                      <a:cubicBezTo>
                        <a:pt x="1167" y="414"/>
                        <a:pt x="1167" y="414"/>
                        <a:pt x="1167" y="414"/>
                      </a:cubicBezTo>
                      <a:cubicBezTo>
                        <a:pt x="1212" y="358"/>
                        <a:pt x="1289" y="168"/>
                        <a:pt x="1311" y="112"/>
                      </a:cubicBezTo>
                      <a:cubicBezTo>
                        <a:pt x="1363" y="82"/>
                        <a:pt x="1377" y="26"/>
                        <a:pt x="1380" y="3"/>
                      </a:cubicBezTo>
                      <a:cubicBezTo>
                        <a:pt x="1380" y="2"/>
                        <a:pt x="1380" y="1"/>
                        <a:pt x="1380" y="0"/>
                      </a:cubicBezTo>
                      <a:lnTo>
                        <a:pt x="1329" y="24"/>
                      </a:lnTo>
                      <a:close/>
                    </a:path>
                  </a:pathLst>
                </a:custGeom>
                <a:solidFill>
                  <a:schemeClr val="accent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</p:grpSp>
        </p:grpSp>
        <p:sp>
          <p:nvSpPr>
            <p:cNvPr id="93" name="TextBox 92">
              <a:extLst>
                <a:ext uri="{FF2B5EF4-FFF2-40B4-BE49-F238E27FC236}">
                  <a16:creationId xmlns:a16="http://schemas.microsoft.com/office/drawing/2014/main" id="{FE3F9CE0-E3EA-361D-CEDF-9C685DA57678}"/>
                </a:ext>
              </a:extLst>
            </p:cNvPr>
            <p:cNvSpPr txBox="1"/>
            <p:nvPr/>
          </p:nvSpPr>
          <p:spPr>
            <a:xfrm>
              <a:off x="6581095" y="3961109"/>
              <a:ext cx="419071" cy="16882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ct val="114000"/>
                </a:lnSpc>
              </a:pPr>
              <a:r>
                <a:rPr lang="en-US" sz="1050">
                  <a:solidFill>
                    <a:schemeClr val="accent1"/>
                  </a:solidFill>
                  <a:latin typeface="+mn-lt"/>
                </a:rPr>
                <a:t>Client</a:t>
              </a:r>
            </a:p>
          </p:txBody>
        </p:sp>
      </p:grpSp>
      <p:cxnSp>
        <p:nvCxnSpPr>
          <p:cNvPr id="98" name="Straight Arrow Connector 97">
            <a:extLst>
              <a:ext uri="{FF2B5EF4-FFF2-40B4-BE49-F238E27FC236}">
                <a16:creationId xmlns:a16="http://schemas.microsoft.com/office/drawing/2014/main" id="{CE0A7A93-A772-8DE9-C404-35A716E96DA6}"/>
              </a:ext>
            </a:extLst>
          </p:cNvPr>
          <p:cNvCxnSpPr>
            <a:cxnSpLocks/>
          </p:cNvCxnSpPr>
          <p:nvPr/>
        </p:nvCxnSpPr>
        <p:spPr>
          <a:xfrm>
            <a:off x="5262948" y="2319138"/>
            <a:ext cx="0" cy="1183837"/>
          </a:xfrm>
          <a:prstGeom prst="straightConnector1">
            <a:avLst/>
          </a:prstGeom>
          <a:ln cap="rnd">
            <a:solidFill>
              <a:srgbClr val="445064"/>
            </a:solidFill>
            <a:prstDash val="sysDot"/>
            <a:headEnd type="triangle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00" name="Straight Arrow Connector 99">
            <a:extLst>
              <a:ext uri="{FF2B5EF4-FFF2-40B4-BE49-F238E27FC236}">
                <a16:creationId xmlns:a16="http://schemas.microsoft.com/office/drawing/2014/main" id="{7121BF8E-2DB3-21E8-A132-80F92794A4D4}"/>
              </a:ext>
            </a:extLst>
          </p:cNvPr>
          <p:cNvCxnSpPr>
            <a:cxnSpLocks/>
          </p:cNvCxnSpPr>
          <p:nvPr/>
        </p:nvCxnSpPr>
        <p:spPr>
          <a:xfrm flipV="1">
            <a:off x="6551420" y="2371534"/>
            <a:ext cx="0" cy="1183837"/>
          </a:xfrm>
          <a:prstGeom prst="straightConnector1">
            <a:avLst/>
          </a:prstGeom>
          <a:ln cap="rnd">
            <a:solidFill>
              <a:srgbClr val="445064"/>
            </a:solidFill>
            <a:prstDash val="sysDot"/>
            <a:headEnd type="triangle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101" name="Textfeld 12">
            <a:extLst>
              <a:ext uri="{FF2B5EF4-FFF2-40B4-BE49-F238E27FC236}">
                <a16:creationId xmlns:a16="http://schemas.microsoft.com/office/drawing/2014/main" id="{0B875EB1-83F3-D177-0833-E636AA8544E6}"/>
              </a:ext>
            </a:extLst>
          </p:cNvPr>
          <p:cNvSpPr txBox="1"/>
          <p:nvPr/>
        </p:nvSpPr>
        <p:spPr>
          <a:xfrm>
            <a:off x="5384171" y="2209584"/>
            <a:ext cx="1068945" cy="19300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>
              <a:lnSpc>
                <a:spcPct val="113999"/>
              </a:lnSpc>
            </a:pPr>
            <a:r>
              <a:rPr lang="de-DE" sz="1200" b="1">
                <a:solidFill>
                  <a:schemeClr val="tx1">
                    <a:lumMod val="65000"/>
                    <a:lumOff val="35000"/>
                  </a:schemeClr>
                </a:solidFill>
                <a:latin typeface="Arial"/>
                <a:cs typeface="Arial"/>
              </a:rPr>
              <a:t>TFX Serving</a:t>
            </a:r>
            <a:endParaRPr lang="de-DE" sz="1200" b="1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102" name="Textfeld 12">
            <a:extLst>
              <a:ext uri="{FF2B5EF4-FFF2-40B4-BE49-F238E27FC236}">
                <a16:creationId xmlns:a16="http://schemas.microsoft.com/office/drawing/2014/main" id="{03A35C62-D858-384F-78AD-40F92FF9B519}"/>
              </a:ext>
            </a:extLst>
          </p:cNvPr>
          <p:cNvSpPr txBox="1"/>
          <p:nvPr/>
        </p:nvSpPr>
        <p:spPr>
          <a:xfrm>
            <a:off x="4556883" y="2836629"/>
            <a:ext cx="685026" cy="33618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>
              <a:lnSpc>
                <a:spcPct val="113999"/>
              </a:lnSpc>
            </a:pPr>
            <a:r>
              <a:rPr lang="de-DE" sz="1000" b="1">
                <a:solidFill>
                  <a:schemeClr val="tx1">
                    <a:lumMod val="65000"/>
                    <a:lumOff val="35000"/>
                  </a:schemeClr>
                </a:solidFill>
                <a:latin typeface="Arial"/>
                <a:cs typeface="Arial"/>
              </a:rPr>
              <a:t>REST API </a:t>
            </a:r>
            <a:r>
              <a:rPr lang="de-DE" sz="1000" b="1" err="1">
                <a:solidFill>
                  <a:schemeClr val="tx1">
                    <a:lumMod val="65000"/>
                    <a:lumOff val="35000"/>
                  </a:schemeClr>
                </a:solidFill>
                <a:latin typeface="Arial"/>
                <a:cs typeface="Arial"/>
              </a:rPr>
              <a:t>request</a:t>
            </a:r>
            <a:endParaRPr lang="de-DE" sz="1000" b="1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103" name="Textfeld 12">
            <a:extLst>
              <a:ext uri="{FF2B5EF4-FFF2-40B4-BE49-F238E27FC236}">
                <a16:creationId xmlns:a16="http://schemas.microsoft.com/office/drawing/2014/main" id="{D4C318F1-8510-B0C8-0C87-06AD0123C366}"/>
              </a:ext>
            </a:extLst>
          </p:cNvPr>
          <p:cNvSpPr txBox="1"/>
          <p:nvPr/>
        </p:nvSpPr>
        <p:spPr>
          <a:xfrm>
            <a:off x="6655350" y="2831175"/>
            <a:ext cx="685026" cy="33618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>
              <a:lnSpc>
                <a:spcPct val="113999"/>
              </a:lnSpc>
            </a:pPr>
            <a:r>
              <a:rPr lang="de-DE" sz="1000" b="1">
                <a:solidFill>
                  <a:schemeClr val="tx1">
                    <a:lumMod val="65000"/>
                    <a:lumOff val="35000"/>
                  </a:schemeClr>
                </a:solidFill>
                <a:latin typeface="Arial"/>
                <a:cs typeface="Arial"/>
              </a:rPr>
              <a:t>JSON</a:t>
            </a:r>
          </a:p>
          <a:p>
            <a:pPr>
              <a:lnSpc>
                <a:spcPct val="113999"/>
              </a:lnSpc>
            </a:pPr>
            <a:r>
              <a:rPr lang="de-DE" sz="1000" b="1">
                <a:solidFill>
                  <a:schemeClr val="tx1">
                    <a:lumMod val="65000"/>
                    <a:lumOff val="35000"/>
                  </a:schemeClr>
                </a:solidFill>
                <a:latin typeface="Arial"/>
                <a:cs typeface="Arial"/>
              </a:rPr>
              <a:t>response</a:t>
            </a:r>
            <a:endParaRPr lang="de-DE" sz="1000" b="1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105" name="TextBox 104">
            <a:extLst>
              <a:ext uri="{FF2B5EF4-FFF2-40B4-BE49-F238E27FC236}">
                <a16:creationId xmlns:a16="http://schemas.microsoft.com/office/drawing/2014/main" id="{EFD409A4-EF06-4B4C-1DAC-A9A3D4AEAAD1}"/>
              </a:ext>
            </a:extLst>
          </p:cNvPr>
          <p:cNvSpPr txBox="1"/>
          <p:nvPr/>
        </p:nvSpPr>
        <p:spPr>
          <a:xfrm>
            <a:off x="6268659" y="3632096"/>
            <a:ext cx="685026" cy="16882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14000"/>
              </a:lnSpc>
            </a:pPr>
            <a:r>
              <a:rPr lang="en-US" sz="1050">
                <a:solidFill>
                  <a:schemeClr val="accent1"/>
                </a:solidFill>
                <a:latin typeface="+mn-lt"/>
              </a:rPr>
              <a:t>Prediction</a:t>
            </a:r>
          </a:p>
        </p:txBody>
      </p:sp>
      <p:sp>
        <p:nvSpPr>
          <p:cNvPr id="107" name="Textfeld 12">
            <a:extLst>
              <a:ext uri="{FF2B5EF4-FFF2-40B4-BE49-F238E27FC236}">
                <a16:creationId xmlns:a16="http://schemas.microsoft.com/office/drawing/2014/main" id="{59020953-825A-4FDC-D955-A9F5D25D71B2}"/>
              </a:ext>
            </a:extLst>
          </p:cNvPr>
          <p:cNvSpPr txBox="1"/>
          <p:nvPr/>
        </p:nvSpPr>
        <p:spPr>
          <a:xfrm>
            <a:off x="5846736" y="1620048"/>
            <a:ext cx="632777" cy="403508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>
              <a:lnSpc>
                <a:spcPct val="113999"/>
              </a:lnSpc>
            </a:pPr>
            <a:r>
              <a:rPr lang="de-DE" sz="1200" b="1">
                <a:solidFill>
                  <a:schemeClr val="tx1">
                    <a:lumMod val="65000"/>
                    <a:lumOff val="35000"/>
                  </a:schemeClr>
                </a:solidFill>
                <a:latin typeface="Arial"/>
                <a:cs typeface="Arial"/>
              </a:rPr>
              <a:t>TFX Pipeline</a:t>
            </a:r>
            <a:endParaRPr lang="de-DE" sz="1200" b="1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pic>
        <p:nvPicPr>
          <p:cNvPr id="108" name="Picture 2">
            <a:extLst>
              <a:ext uri="{FF2B5EF4-FFF2-40B4-BE49-F238E27FC236}">
                <a16:creationId xmlns:a16="http://schemas.microsoft.com/office/drawing/2014/main" id="{A5392612-014D-86B7-A22A-4DD0C2ED95B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40376" y="1319392"/>
            <a:ext cx="609446" cy="4341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Oval 14">
            <a:extLst>
              <a:ext uri="{FF2B5EF4-FFF2-40B4-BE49-F238E27FC236}">
                <a16:creationId xmlns:a16="http://schemas.microsoft.com/office/drawing/2014/main" id="{BEA9550C-BC2F-BA93-E6A2-48E4E3ABDA06}"/>
              </a:ext>
            </a:extLst>
          </p:cNvPr>
          <p:cNvSpPr/>
          <p:nvPr/>
        </p:nvSpPr>
        <p:spPr>
          <a:xfrm>
            <a:off x="5774559" y="2473971"/>
            <a:ext cx="106678" cy="106678"/>
          </a:xfrm>
          <a:prstGeom prst="ellipse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4000"/>
              </a:lnSpc>
            </a:pPr>
            <a:endParaRPr lang="en-US"/>
          </a:p>
        </p:txBody>
      </p:sp>
      <p:sp>
        <p:nvSpPr>
          <p:cNvPr id="109" name="Textfeld 12">
            <a:extLst>
              <a:ext uri="{FF2B5EF4-FFF2-40B4-BE49-F238E27FC236}">
                <a16:creationId xmlns:a16="http://schemas.microsoft.com/office/drawing/2014/main" id="{0EEC089B-C4CD-0B36-47E7-56A4DE0B3B9E}"/>
              </a:ext>
            </a:extLst>
          </p:cNvPr>
          <p:cNvSpPr txBox="1"/>
          <p:nvPr/>
        </p:nvSpPr>
        <p:spPr>
          <a:xfrm>
            <a:off x="5387137" y="2730172"/>
            <a:ext cx="881522" cy="128625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>
              <a:lnSpc>
                <a:spcPct val="113999"/>
              </a:lnSpc>
            </a:pPr>
            <a:r>
              <a:rPr lang="de-DE" sz="800" b="1">
                <a:solidFill>
                  <a:schemeClr val="tx1">
                    <a:lumMod val="65000"/>
                    <a:lumOff val="35000"/>
                  </a:schemeClr>
                </a:solidFill>
                <a:latin typeface="Arial"/>
                <a:cs typeface="Arial"/>
              </a:rPr>
              <a:t>port=8888</a:t>
            </a:r>
            <a:endParaRPr lang="de-DE" sz="800" b="1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cxnSp>
        <p:nvCxnSpPr>
          <p:cNvPr id="50" name="Straight Connector 49">
            <a:extLst>
              <a:ext uri="{FF2B5EF4-FFF2-40B4-BE49-F238E27FC236}">
                <a16:creationId xmlns:a16="http://schemas.microsoft.com/office/drawing/2014/main" id="{F66AA9DF-6222-0562-208F-3E3722D8D6B3}"/>
              </a:ext>
            </a:extLst>
          </p:cNvPr>
          <p:cNvCxnSpPr>
            <a:stCxn id="15" idx="4"/>
            <a:endCxn id="109" idx="0"/>
          </p:cNvCxnSpPr>
          <p:nvPr/>
        </p:nvCxnSpPr>
        <p:spPr>
          <a:xfrm>
            <a:off x="5827898" y="2580649"/>
            <a:ext cx="0" cy="149523"/>
          </a:xfrm>
          <a:prstGeom prst="line">
            <a:avLst/>
          </a:prstGeom>
          <a:ln w="22225" cap="rnd"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0" name="Rectangle: Rounded Corners 109">
            <a:extLst>
              <a:ext uri="{FF2B5EF4-FFF2-40B4-BE49-F238E27FC236}">
                <a16:creationId xmlns:a16="http://schemas.microsoft.com/office/drawing/2014/main" id="{2EC672DB-9609-984F-3E32-711EB55CB805}"/>
              </a:ext>
            </a:extLst>
          </p:cNvPr>
          <p:cNvSpPr/>
          <p:nvPr/>
        </p:nvSpPr>
        <p:spPr>
          <a:xfrm>
            <a:off x="1603466" y="1414080"/>
            <a:ext cx="1391645" cy="534753"/>
          </a:xfrm>
          <a:prstGeom prst="round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4000"/>
              </a:lnSpc>
            </a:pPr>
            <a:endParaRPr lang="en-US">
              <a:solidFill>
                <a:schemeClr val="tx1"/>
              </a:solidFill>
            </a:endParaRPr>
          </a:p>
        </p:txBody>
      </p:sp>
      <p:sp>
        <p:nvSpPr>
          <p:cNvPr id="112" name="Textfeld 12">
            <a:extLst>
              <a:ext uri="{FF2B5EF4-FFF2-40B4-BE49-F238E27FC236}">
                <a16:creationId xmlns:a16="http://schemas.microsoft.com/office/drawing/2014/main" id="{CDE7C4AE-2523-4668-BBBE-897A590384F9}"/>
              </a:ext>
            </a:extLst>
          </p:cNvPr>
          <p:cNvSpPr txBox="1"/>
          <p:nvPr/>
        </p:nvSpPr>
        <p:spPr>
          <a:xfrm>
            <a:off x="1999295" y="2091941"/>
            <a:ext cx="863204" cy="19300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>
              <a:lnSpc>
                <a:spcPct val="113999"/>
              </a:lnSpc>
            </a:pPr>
            <a:r>
              <a:rPr lang="de-DE" sz="1200" b="1">
                <a:solidFill>
                  <a:schemeClr val="tx1">
                    <a:lumMod val="65000"/>
                    <a:lumOff val="35000"/>
                  </a:schemeClr>
                </a:solidFill>
                <a:latin typeface="Arial"/>
                <a:cs typeface="Arial"/>
              </a:rPr>
              <a:t>File System</a:t>
            </a:r>
            <a:endParaRPr lang="de-DE" sz="1200" b="1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grpSp>
        <p:nvGrpSpPr>
          <p:cNvPr id="39" name="Group 38">
            <a:extLst>
              <a:ext uri="{FF2B5EF4-FFF2-40B4-BE49-F238E27FC236}">
                <a16:creationId xmlns:a16="http://schemas.microsoft.com/office/drawing/2014/main" id="{2F6307D7-EA94-AAFE-73DC-E1AF8D1EBF15}"/>
              </a:ext>
            </a:extLst>
          </p:cNvPr>
          <p:cNvGrpSpPr>
            <a:grpSpLocks noChangeAspect="1"/>
          </p:cNvGrpSpPr>
          <p:nvPr/>
        </p:nvGrpSpPr>
        <p:grpSpPr>
          <a:xfrm flipH="1">
            <a:off x="1601681" y="1967338"/>
            <a:ext cx="398690" cy="398306"/>
            <a:chOff x="5273675" y="2606675"/>
            <a:chExt cx="1646238" cy="1644650"/>
          </a:xfrm>
        </p:grpSpPr>
        <p:sp>
          <p:nvSpPr>
            <p:cNvPr id="40" name="AutoShape 3">
              <a:extLst>
                <a:ext uri="{FF2B5EF4-FFF2-40B4-BE49-F238E27FC236}">
                  <a16:creationId xmlns:a16="http://schemas.microsoft.com/office/drawing/2014/main" id="{860F3A36-A2B9-148E-AC67-91DC87860F24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5273675" y="2606675"/>
              <a:ext cx="1646238" cy="16446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" name="Freeform 18">
              <a:extLst>
                <a:ext uri="{FF2B5EF4-FFF2-40B4-BE49-F238E27FC236}">
                  <a16:creationId xmlns:a16="http://schemas.microsoft.com/office/drawing/2014/main" id="{B86E9AD6-5360-6750-FCF5-AFD1050BA8D3}"/>
                </a:ext>
              </a:extLst>
            </p:cNvPr>
            <p:cNvSpPr>
              <a:spLocks/>
            </p:cNvSpPr>
            <p:nvPr/>
          </p:nvSpPr>
          <p:spPr bwMode="auto">
            <a:xfrm>
              <a:off x="5459413" y="2854324"/>
              <a:ext cx="1274763" cy="1149350"/>
            </a:xfrm>
            <a:custGeom>
              <a:avLst/>
              <a:gdLst>
                <a:gd name="connsiteX0" fmla="*/ 169714 w 1274763"/>
                <a:gd name="connsiteY0" fmla="*/ 522288 h 1149350"/>
                <a:gd name="connsiteX1" fmla="*/ 153987 w 1274763"/>
                <a:gd name="connsiteY1" fmla="*/ 538163 h 1149350"/>
                <a:gd name="connsiteX2" fmla="*/ 169714 w 1274763"/>
                <a:gd name="connsiteY2" fmla="*/ 554038 h 1149350"/>
                <a:gd name="connsiteX3" fmla="*/ 368448 w 1274763"/>
                <a:gd name="connsiteY3" fmla="*/ 554038 h 1149350"/>
                <a:gd name="connsiteX4" fmla="*/ 384175 w 1274763"/>
                <a:gd name="connsiteY4" fmla="*/ 538163 h 1149350"/>
                <a:gd name="connsiteX5" fmla="*/ 368448 w 1274763"/>
                <a:gd name="connsiteY5" fmla="*/ 522288 h 1149350"/>
                <a:gd name="connsiteX6" fmla="*/ 169714 w 1274763"/>
                <a:gd name="connsiteY6" fmla="*/ 522288 h 1149350"/>
                <a:gd name="connsiteX7" fmla="*/ 169697 w 1274763"/>
                <a:gd name="connsiteY7" fmla="*/ 398463 h 1149350"/>
                <a:gd name="connsiteX8" fmla="*/ 153987 w 1274763"/>
                <a:gd name="connsiteY8" fmla="*/ 414338 h 1149350"/>
                <a:gd name="connsiteX9" fmla="*/ 169697 w 1274763"/>
                <a:gd name="connsiteY9" fmla="*/ 430213 h 1149350"/>
                <a:gd name="connsiteX10" fmla="*/ 536740 w 1274763"/>
                <a:gd name="connsiteY10" fmla="*/ 430213 h 1149350"/>
                <a:gd name="connsiteX11" fmla="*/ 552450 w 1274763"/>
                <a:gd name="connsiteY11" fmla="*/ 414338 h 1149350"/>
                <a:gd name="connsiteX12" fmla="*/ 536740 w 1274763"/>
                <a:gd name="connsiteY12" fmla="*/ 398463 h 1149350"/>
                <a:gd name="connsiteX13" fmla="*/ 169697 w 1274763"/>
                <a:gd name="connsiteY13" fmla="*/ 398463 h 1149350"/>
                <a:gd name="connsiteX14" fmla="*/ 69060 w 1274763"/>
                <a:gd name="connsiteY14" fmla="*/ 288925 h 1149350"/>
                <a:gd name="connsiteX15" fmla="*/ 1204114 w 1274763"/>
                <a:gd name="connsiteY15" fmla="*/ 288925 h 1149350"/>
                <a:gd name="connsiteX16" fmla="*/ 1211262 w 1274763"/>
                <a:gd name="connsiteY16" fmla="*/ 296067 h 1149350"/>
                <a:gd name="connsiteX17" fmla="*/ 1211262 w 1274763"/>
                <a:gd name="connsiteY17" fmla="*/ 1080296 h 1149350"/>
                <a:gd name="connsiteX18" fmla="*/ 1204114 w 1274763"/>
                <a:gd name="connsiteY18" fmla="*/ 1087438 h 1149350"/>
                <a:gd name="connsiteX19" fmla="*/ 69060 w 1274763"/>
                <a:gd name="connsiteY19" fmla="*/ 1087438 h 1149350"/>
                <a:gd name="connsiteX20" fmla="*/ 61912 w 1274763"/>
                <a:gd name="connsiteY20" fmla="*/ 1080296 h 1149350"/>
                <a:gd name="connsiteX21" fmla="*/ 61912 w 1274763"/>
                <a:gd name="connsiteY21" fmla="*/ 296067 h 1149350"/>
                <a:gd name="connsiteX22" fmla="*/ 69060 w 1274763"/>
                <a:gd name="connsiteY22" fmla="*/ 288925 h 1149350"/>
                <a:gd name="connsiteX23" fmla="*/ 30162 w 1274763"/>
                <a:gd name="connsiteY23" fmla="*/ 257175 h 1149350"/>
                <a:gd name="connsiteX24" fmla="*/ 30162 w 1274763"/>
                <a:gd name="connsiteY24" fmla="*/ 1117600 h 1149350"/>
                <a:gd name="connsiteX25" fmla="*/ 1243012 w 1274763"/>
                <a:gd name="connsiteY25" fmla="*/ 1117600 h 1149350"/>
                <a:gd name="connsiteX26" fmla="*/ 1243012 w 1274763"/>
                <a:gd name="connsiteY26" fmla="*/ 257175 h 1149350"/>
                <a:gd name="connsiteX27" fmla="*/ 1215837 w 1274763"/>
                <a:gd name="connsiteY27" fmla="*/ 257175 h 1149350"/>
                <a:gd name="connsiteX28" fmla="*/ 60913 w 1274763"/>
                <a:gd name="connsiteY28" fmla="*/ 257175 h 1149350"/>
                <a:gd name="connsiteX29" fmla="*/ 30162 w 1274763"/>
                <a:gd name="connsiteY29" fmla="*/ 257175 h 1149350"/>
                <a:gd name="connsiteX30" fmla="*/ 77787 w 1274763"/>
                <a:gd name="connsiteY30" fmla="*/ 31750 h 1149350"/>
                <a:gd name="connsiteX31" fmla="*/ 77787 w 1274763"/>
                <a:gd name="connsiteY31" fmla="*/ 225425 h 1149350"/>
                <a:gd name="connsiteX32" fmla="*/ 1200150 w 1274763"/>
                <a:gd name="connsiteY32" fmla="*/ 225425 h 1149350"/>
                <a:gd name="connsiteX33" fmla="*/ 1200150 w 1274763"/>
                <a:gd name="connsiteY33" fmla="*/ 136420 h 1149350"/>
                <a:gd name="connsiteX34" fmla="*/ 552880 w 1274763"/>
                <a:gd name="connsiteY34" fmla="*/ 135708 h 1149350"/>
                <a:gd name="connsiteX35" fmla="*/ 541450 w 1274763"/>
                <a:gd name="connsiteY35" fmla="*/ 130724 h 1149350"/>
                <a:gd name="connsiteX36" fmla="*/ 445717 w 1274763"/>
                <a:gd name="connsiteY36" fmla="*/ 31750 h 1149350"/>
                <a:gd name="connsiteX37" fmla="*/ 77787 w 1274763"/>
                <a:gd name="connsiteY37" fmla="*/ 31750 h 1149350"/>
                <a:gd name="connsiteX38" fmla="*/ 62166 w 1274763"/>
                <a:gd name="connsiteY38" fmla="*/ 0 h 1149350"/>
                <a:gd name="connsiteX39" fmla="*/ 453027 w 1274763"/>
                <a:gd name="connsiteY39" fmla="*/ 0 h 1149350"/>
                <a:gd name="connsiteX40" fmla="*/ 463745 w 1274763"/>
                <a:gd name="connsiteY40" fmla="*/ 4283 h 1149350"/>
                <a:gd name="connsiteX41" fmla="*/ 560210 w 1274763"/>
                <a:gd name="connsiteY41" fmla="*/ 104227 h 1149350"/>
                <a:gd name="connsiteX42" fmla="*/ 1216170 w 1274763"/>
                <a:gd name="connsiteY42" fmla="*/ 104941 h 1149350"/>
                <a:gd name="connsiteX43" fmla="*/ 1231890 w 1274763"/>
                <a:gd name="connsiteY43" fmla="*/ 120646 h 1149350"/>
                <a:gd name="connsiteX44" fmla="*/ 1231890 w 1274763"/>
                <a:gd name="connsiteY44" fmla="*/ 225587 h 1149350"/>
                <a:gd name="connsiteX45" fmla="*/ 1259043 w 1274763"/>
                <a:gd name="connsiteY45" fmla="*/ 225587 h 1149350"/>
                <a:gd name="connsiteX46" fmla="*/ 1274763 w 1274763"/>
                <a:gd name="connsiteY46" fmla="*/ 241292 h 1149350"/>
                <a:gd name="connsiteX47" fmla="*/ 1274763 w 1274763"/>
                <a:gd name="connsiteY47" fmla="*/ 1133645 h 1149350"/>
                <a:gd name="connsiteX48" fmla="*/ 1259043 w 1274763"/>
                <a:gd name="connsiteY48" fmla="*/ 1149350 h 1149350"/>
                <a:gd name="connsiteX49" fmla="*/ 15720 w 1274763"/>
                <a:gd name="connsiteY49" fmla="*/ 1149350 h 1149350"/>
                <a:gd name="connsiteX50" fmla="*/ 0 w 1274763"/>
                <a:gd name="connsiteY50" fmla="*/ 1133645 h 1149350"/>
                <a:gd name="connsiteX51" fmla="*/ 0 w 1274763"/>
                <a:gd name="connsiteY51" fmla="*/ 241292 h 1149350"/>
                <a:gd name="connsiteX52" fmla="*/ 15720 w 1274763"/>
                <a:gd name="connsiteY52" fmla="*/ 225587 h 1149350"/>
                <a:gd name="connsiteX53" fmla="*/ 46446 w 1274763"/>
                <a:gd name="connsiteY53" fmla="*/ 225587 h 1149350"/>
                <a:gd name="connsiteX54" fmla="*/ 46446 w 1274763"/>
                <a:gd name="connsiteY54" fmla="*/ 15706 h 1149350"/>
                <a:gd name="connsiteX55" fmla="*/ 62166 w 1274763"/>
                <a:gd name="connsiteY55" fmla="*/ 0 h 11493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</a:cxnLst>
              <a:rect l="l" t="t" r="r" b="b"/>
              <a:pathLst>
                <a:path w="1274763" h="1149350">
                  <a:moveTo>
                    <a:pt x="169714" y="522288"/>
                  </a:moveTo>
                  <a:cubicBezTo>
                    <a:pt x="161136" y="522288"/>
                    <a:pt x="153987" y="529504"/>
                    <a:pt x="153987" y="538163"/>
                  </a:cubicBezTo>
                  <a:cubicBezTo>
                    <a:pt x="153987" y="546822"/>
                    <a:pt x="161136" y="554038"/>
                    <a:pt x="169714" y="554038"/>
                  </a:cubicBezTo>
                  <a:cubicBezTo>
                    <a:pt x="169714" y="554038"/>
                    <a:pt x="169714" y="554038"/>
                    <a:pt x="368448" y="554038"/>
                  </a:cubicBezTo>
                  <a:cubicBezTo>
                    <a:pt x="377027" y="554038"/>
                    <a:pt x="384175" y="546822"/>
                    <a:pt x="384175" y="538163"/>
                  </a:cubicBezTo>
                  <a:cubicBezTo>
                    <a:pt x="384175" y="529504"/>
                    <a:pt x="377027" y="522288"/>
                    <a:pt x="368448" y="522288"/>
                  </a:cubicBezTo>
                  <a:cubicBezTo>
                    <a:pt x="368448" y="522288"/>
                    <a:pt x="368448" y="522288"/>
                    <a:pt x="169714" y="522288"/>
                  </a:cubicBezTo>
                  <a:close/>
                  <a:moveTo>
                    <a:pt x="169697" y="398463"/>
                  </a:moveTo>
                  <a:cubicBezTo>
                    <a:pt x="161128" y="398463"/>
                    <a:pt x="153987" y="405679"/>
                    <a:pt x="153987" y="414338"/>
                  </a:cubicBezTo>
                  <a:cubicBezTo>
                    <a:pt x="153987" y="422997"/>
                    <a:pt x="161128" y="430213"/>
                    <a:pt x="169697" y="430213"/>
                  </a:cubicBezTo>
                  <a:cubicBezTo>
                    <a:pt x="169697" y="430213"/>
                    <a:pt x="169697" y="430213"/>
                    <a:pt x="536740" y="430213"/>
                  </a:cubicBezTo>
                  <a:cubicBezTo>
                    <a:pt x="545309" y="430213"/>
                    <a:pt x="552450" y="422997"/>
                    <a:pt x="552450" y="414338"/>
                  </a:cubicBezTo>
                  <a:cubicBezTo>
                    <a:pt x="552450" y="405679"/>
                    <a:pt x="545309" y="398463"/>
                    <a:pt x="536740" y="398463"/>
                  </a:cubicBezTo>
                  <a:cubicBezTo>
                    <a:pt x="536740" y="398463"/>
                    <a:pt x="536740" y="398463"/>
                    <a:pt x="169697" y="398463"/>
                  </a:cubicBezTo>
                  <a:close/>
                  <a:moveTo>
                    <a:pt x="69060" y="288925"/>
                  </a:moveTo>
                  <a:cubicBezTo>
                    <a:pt x="69060" y="288925"/>
                    <a:pt x="69060" y="288925"/>
                    <a:pt x="1204114" y="288925"/>
                  </a:cubicBezTo>
                  <a:cubicBezTo>
                    <a:pt x="1208403" y="288925"/>
                    <a:pt x="1211262" y="292496"/>
                    <a:pt x="1211262" y="296067"/>
                  </a:cubicBezTo>
                  <a:cubicBezTo>
                    <a:pt x="1211262" y="296067"/>
                    <a:pt x="1211262" y="296067"/>
                    <a:pt x="1211262" y="1080296"/>
                  </a:cubicBezTo>
                  <a:cubicBezTo>
                    <a:pt x="1211262" y="1084581"/>
                    <a:pt x="1208403" y="1087438"/>
                    <a:pt x="1204114" y="1087438"/>
                  </a:cubicBezTo>
                  <a:cubicBezTo>
                    <a:pt x="1204114" y="1087438"/>
                    <a:pt x="1204114" y="1087438"/>
                    <a:pt x="69060" y="1087438"/>
                  </a:cubicBezTo>
                  <a:cubicBezTo>
                    <a:pt x="64771" y="1087438"/>
                    <a:pt x="61912" y="1084581"/>
                    <a:pt x="61912" y="1080296"/>
                  </a:cubicBezTo>
                  <a:cubicBezTo>
                    <a:pt x="61912" y="1080296"/>
                    <a:pt x="61912" y="1080296"/>
                    <a:pt x="61912" y="296067"/>
                  </a:cubicBezTo>
                  <a:cubicBezTo>
                    <a:pt x="61912" y="292496"/>
                    <a:pt x="64771" y="288925"/>
                    <a:pt x="69060" y="288925"/>
                  </a:cubicBezTo>
                  <a:close/>
                  <a:moveTo>
                    <a:pt x="30162" y="257175"/>
                  </a:moveTo>
                  <a:cubicBezTo>
                    <a:pt x="30162" y="257175"/>
                    <a:pt x="30162" y="257175"/>
                    <a:pt x="30162" y="1117600"/>
                  </a:cubicBezTo>
                  <a:cubicBezTo>
                    <a:pt x="30162" y="1117600"/>
                    <a:pt x="30162" y="1117600"/>
                    <a:pt x="1243012" y="1117600"/>
                  </a:cubicBezTo>
                  <a:cubicBezTo>
                    <a:pt x="1243012" y="1117600"/>
                    <a:pt x="1243012" y="1117600"/>
                    <a:pt x="1243012" y="257175"/>
                  </a:cubicBezTo>
                  <a:cubicBezTo>
                    <a:pt x="1243012" y="257175"/>
                    <a:pt x="1243012" y="257175"/>
                    <a:pt x="1215837" y="257175"/>
                  </a:cubicBezTo>
                  <a:cubicBezTo>
                    <a:pt x="1215837" y="257175"/>
                    <a:pt x="1215837" y="257175"/>
                    <a:pt x="60913" y="257175"/>
                  </a:cubicBezTo>
                  <a:cubicBezTo>
                    <a:pt x="60913" y="257175"/>
                    <a:pt x="60913" y="257175"/>
                    <a:pt x="30162" y="257175"/>
                  </a:cubicBezTo>
                  <a:close/>
                  <a:moveTo>
                    <a:pt x="77787" y="31750"/>
                  </a:moveTo>
                  <a:cubicBezTo>
                    <a:pt x="77787" y="31750"/>
                    <a:pt x="77787" y="31750"/>
                    <a:pt x="77787" y="225425"/>
                  </a:cubicBezTo>
                  <a:cubicBezTo>
                    <a:pt x="77787" y="225425"/>
                    <a:pt x="77787" y="225425"/>
                    <a:pt x="1200150" y="225425"/>
                  </a:cubicBezTo>
                  <a:cubicBezTo>
                    <a:pt x="1200150" y="225425"/>
                    <a:pt x="1200150" y="225425"/>
                    <a:pt x="1200150" y="136420"/>
                  </a:cubicBezTo>
                  <a:cubicBezTo>
                    <a:pt x="1200150" y="136420"/>
                    <a:pt x="1200150" y="136420"/>
                    <a:pt x="552880" y="135708"/>
                  </a:cubicBezTo>
                  <a:cubicBezTo>
                    <a:pt x="548594" y="135708"/>
                    <a:pt x="544307" y="133572"/>
                    <a:pt x="541450" y="130724"/>
                  </a:cubicBezTo>
                  <a:cubicBezTo>
                    <a:pt x="541450" y="130724"/>
                    <a:pt x="541450" y="130724"/>
                    <a:pt x="445717" y="31750"/>
                  </a:cubicBezTo>
                  <a:cubicBezTo>
                    <a:pt x="445717" y="31750"/>
                    <a:pt x="445717" y="31750"/>
                    <a:pt x="77787" y="31750"/>
                  </a:cubicBezTo>
                  <a:close/>
                  <a:moveTo>
                    <a:pt x="62166" y="0"/>
                  </a:moveTo>
                  <a:cubicBezTo>
                    <a:pt x="62166" y="0"/>
                    <a:pt x="62166" y="0"/>
                    <a:pt x="453027" y="0"/>
                  </a:cubicBezTo>
                  <a:cubicBezTo>
                    <a:pt x="457314" y="0"/>
                    <a:pt x="460887" y="1428"/>
                    <a:pt x="463745" y="4283"/>
                  </a:cubicBezTo>
                  <a:cubicBezTo>
                    <a:pt x="463745" y="4283"/>
                    <a:pt x="463745" y="4283"/>
                    <a:pt x="560210" y="104227"/>
                  </a:cubicBezTo>
                  <a:cubicBezTo>
                    <a:pt x="560210" y="104227"/>
                    <a:pt x="560210" y="104227"/>
                    <a:pt x="1216170" y="104941"/>
                  </a:cubicBezTo>
                  <a:cubicBezTo>
                    <a:pt x="1224744" y="104941"/>
                    <a:pt x="1231890" y="112080"/>
                    <a:pt x="1231890" y="120646"/>
                  </a:cubicBezTo>
                  <a:cubicBezTo>
                    <a:pt x="1231890" y="120646"/>
                    <a:pt x="1231890" y="120646"/>
                    <a:pt x="1231890" y="225587"/>
                  </a:cubicBezTo>
                  <a:cubicBezTo>
                    <a:pt x="1231890" y="225587"/>
                    <a:pt x="1231890" y="225587"/>
                    <a:pt x="1259043" y="225587"/>
                  </a:cubicBezTo>
                  <a:cubicBezTo>
                    <a:pt x="1267618" y="225587"/>
                    <a:pt x="1274763" y="232726"/>
                    <a:pt x="1274763" y="241292"/>
                  </a:cubicBezTo>
                  <a:cubicBezTo>
                    <a:pt x="1274763" y="241292"/>
                    <a:pt x="1274763" y="241292"/>
                    <a:pt x="1274763" y="1133645"/>
                  </a:cubicBezTo>
                  <a:cubicBezTo>
                    <a:pt x="1274763" y="1142925"/>
                    <a:pt x="1267618" y="1149350"/>
                    <a:pt x="1259043" y="1149350"/>
                  </a:cubicBezTo>
                  <a:cubicBezTo>
                    <a:pt x="1259043" y="1149350"/>
                    <a:pt x="1259043" y="1149350"/>
                    <a:pt x="15720" y="1149350"/>
                  </a:cubicBezTo>
                  <a:cubicBezTo>
                    <a:pt x="7146" y="1149350"/>
                    <a:pt x="0" y="1142925"/>
                    <a:pt x="0" y="1133645"/>
                  </a:cubicBezTo>
                  <a:cubicBezTo>
                    <a:pt x="0" y="1133645"/>
                    <a:pt x="0" y="1133645"/>
                    <a:pt x="0" y="241292"/>
                  </a:cubicBezTo>
                  <a:cubicBezTo>
                    <a:pt x="0" y="232726"/>
                    <a:pt x="7146" y="225587"/>
                    <a:pt x="15720" y="225587"/>
                  </a:cubicBezTo>
                  <a:cubicBezTo>
                    <a:pt x="15720" y="225587"/>
                    <a:pt x="15720" y="225587"/>
                    <a:pt x="46446" y="225587"/>
                  </a:cubicBezTo>
                  <a:cubicBezTo>
                    <a:pt x="46446" y="225587"/>
                    <a:pt x="46446" y="225587"/>
                    <a:pt x="46446" y="15706"/>
                  </a:cubicBezTo>
                  <a:cubicBezTo>
                    <a:pt x="46446" y="6425"/>
                    <a:pt x="53592" y="0"/>
                    <a:pt x="62166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/>
            </a:p>
          </p:txBody>
        </p:sp>
      </p:grpSp>
      <p:cxnSp>
        <p:nvCxnSpPr>
          <p:cNvPr id="42" name="Straight Arrow Connector 41">
            <a:extLst>
              <a:ext uri="{FF2B5EF4-FFF2-40B4-BE49-F238E27FC236}">
                <a16:creationId xmlns:a16="http://schemas.microsoft.com/office/drawing/2014/main" id="{CAA8254C-F986-D1F2-996E-6DA96FA90A52}"/>
              </a:ext>
            </a:extLst>
          </p:cNvPr>
          <p:cNvCxnSpPr>
            <a:cxnSpLocks/>
          </p:cNvCxnSpPr>
          <p:nvPr/>
        </p:nvCxnSpPr>
        <p:spPr>
          <a:xfrm flipH="1">
            <a:off x="2906986" y="1681456"/>
            <a:ext cx="2104836" cy="0"/>
          </a:xfrm>
          <a:prstGeom prst="straightConnector1">
            <a:avLst/>
          </a:prstGeom>
          <a:ln cap="rnd">
            <a:solidFill>
              <a:srgbClr val="445064"/>
            </a:solidFill>
            <a:prstDash val="sysDot"/>
            <a:headEnd type="none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45" name="Textfeld 12">
            <a:extLst>
              <a:ext uri="{FF2B5EF4-FFF2-40B4-BE49-F238E27FC236}">
                <a16:creationId xmlns:a16="http://schemas.microsoft.com/office/drawing/2014/main" id="{27C19F3C-DA97-644A-17D9-A53B3735AA3B}"/>
              </a:ext>
            </a:extLst>
          </p:cNvPr>
          <p:cNvSpPr txBox="1"/>
          <p:nvPr/>
        </p:nvSpPr>
        <p:spPr>
          <a:xfrm>
            <a:off x="3722634" y="1442175"/>
            <a:ext cx="473538" cy="160750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>
              <a:lnSpc>
                <a:spcPct val="113999"/>
              </a:lnSpc>
            </a:pPr>
            <a:r>
              <a:rPr lang="de-DE" sz="1000" b="1">
                <a:solidFill>
                  <a:schemeClr val="tx1">
                    <a:lumMod val="65000"/>
                    <a:lumOff val="35000"/>
                  </a:schemeClr>
                </a:solidFill>
                <a:latin typeface="Arial"/>
                <a:cs typeface="Arial"/>
              </a:rPr>
              <a:t>Volume</a:t>
            </a:r>
            <a:endParaRPr lang="de-DE" sz="1000" b="1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grpSp>
        <p:nvGrpSpPr>
          <p:cNvPr id="46" name="Group 65">
            <a:extLst>
              <a:ext uri="{FF2B5EF4-FFF2-40B4-BE49-F238E27FC236}">
                <a16:creationId xmlns:a16="http://schemas.microsoft.com/office/drawing/2014/main" id="{236514B0-3689-0222-43D5-207C3E8C14EE}"/>
              </a:ext>
            </a:extLst>
          </p:cNvPr>
          <p:cNvGrpSpPr>
            <a:grpSpLocks noChangeAspect="1"/>
          </p:cNvGrpSpPr>
          <p:nvPr/>
        </p:nvGrpSpPr>
        <p:grpSpPr bwMode="auto">
          <a:xfrm rot="5400000">
            <a:off x="1618295" y="1480168"/>
            <a:ext cx="401676" cy="402576"/>
            <a:chOff x="4374" y="1589"/>
            <a:chExt cx="446" cy="447"/>
          </a:xfrm>
        </p:grpSpPr>
        <p:sp>
          <p:nvSpPr>
            <p:cNvPr id="47" name="AutoShape 64">
              <a:extLst>
                <a:ext uri="{FF2B5EF4-FFF2-40B4-BE49-F238E27FC236}">
                  <a16:creationId xmlns:a16="http://schemas.microsoft.com/office/drawing/2014/main" id="{6C3F5287-D0EC-1002-23DB-4024F68D4174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4374" y="1589"/>
              <a:ext cx="446" cy="44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" name="Freeform 66">
              <a:extLst>
                <a:ext uri="{FF2B5EF4-FFF2-40B4-BE49-F238E27FC236}">
                  <a16:creationId xmlns:a16="http://schemas.microsoft.com/office/drawing/2014/main" id="{32A44077-9E90-D5FA-9925-DC31097C8CF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416" y="1677"/>
              <a:ext cx="363" cy="286"/>
            </a:xfrm>
            <a:custGeom>
              <a:avLst/>
              <a:gdLst>
                <a:gd name="T0" fmla="*/ 161 w 826"/>
                <a:gd name="T1" fmla="*/ 543 h 650"/>
                <a:gd name="T2" fmla="*/ 177 w 826"/>
                <a:gd name="T3" fmla="*/ 650 h 650"/>
                <a:gd name="T4" fmla="*/ 193 w 826"/>
                <a:gd name="T5" fmla="*/ 543 h 650"/>
                <a:gd name="T6" fmla="*/ 32 w 826"/>
                <a:gd name="T7" fmla="*/ 123 h 650"/>
                <a:gd name="T8" fmla="*/ 48 w 826"/>
                <a:gd name="T9" fmla="*/ 16 h 650"/>
                <a:gd name="T10" fmla="*/ 16 w 826"/>
                <a:gd name="T11" fmla="*/ 16 h 650"/>
                <a:gd name="T12" fmla="*/ 32 w 826"/>
                <a:gd name="T13" fmla="*/ 123 h 650"/>
                <a:gd name="T14" fmla="*/ 209 w 826"/>
                <a:gd name="T15" fmla="*/ 119 h 650"/>
                <a:gd name="T16" fmla="*/ 82 w 826"/>
                <a:gd name="T17" fmla="*/ 119 h 650"/>
                <a:gd name="T18" fmla="*/ 146 w 826"/>
                <a:gd name="T19" fmla="*/ 87 h 650"/>
                <a:gd name="T20" fmla="*/ 146 w 826"/>
                <a:gd name="T21" fmla="*/ 151 h 650"/>
                <a:gd name="T22" fmla="*/ 146 w 826"/>
                <a:gd name="T23" fmla="*/ 87 h 650"/>
                <a:gd name="T24" fmla="*/ 0 w 826"/>
                <a:gd name="T25" fmla="*/ 549 h 650"/>
                <a:gd name="T26" fmla="*/ 127 w 826"/>
                <a:gd name="T27" fmla="*/ 549 h 650"/>
                <a:gd name="T28" fmla="*/ 64 w 826"/>
                <a:gd name="T29" fmla="*/ 581 h 650"/>
                <a:gd name="T30" fmla="*/ 64 w 826"/>
                <a:gd name="T31" fmla="*/ 517 h 650"/>
                <a:gd name="T32" fmla="*/ 64 w 826"/>
                <a:gd name="T33" fmla="*/ 581 h 650"/>
                <a:gd name="T34" fmla="*/ 181 w 826"/>
                <a:gd name="T35" fmla="*/ 344 h 650"/>
                <a:gd name="T36" fmla="*/ 190 w 826"/>
                <a:gd name="T37" fmla="*/ 363 h 650"/>
                <a:gd name="T38" fmla="*/ 197 w 826"/>
                <a:gd name="T39" fmla="*/ 334 h 650"/>
                <a:gd name="T40" fmla="*/ 684 w 826"/>
                <a:gd name="T41" fmla="*/ 344 h 650"/>
                <a:gd name="T42" fmla="*/ 471 w 826"/>
                <a:gd name="T43" fmla="*/ 54 h 650"/>
                <a:gd name="T44" fmla="*/ 471 w 826"/>
                <a:gd name="T45" fmla="*/ 634 h 650"/>
                <a:gd name="T46" fmla="*/ 684 w 826"/>
                <a:gd name="T47" fmla="*/ 344 h 650"/>
                <a:gd name="T48" fmla="*/ 619 w 826"/>
                <a:gd name="T49" fmla="*/ 54 h 650"/>
                <a:gd name="T50" fmla="*/ 619 w 826"/>
                <a:gd name="T51" fmla="*/ 634 h 650"/>
                <a:gd name="T52" fmla="*/ 826 w 826"/>
                <a:gd name="T53" fmla="*/ 344 h 650"/>
                <a:gd name="T54" fmla="*/ 537 w 826"/>
                <a:gd name="T55" fmla="*/ 344 h 650"/>
                <a:gd name="T56" fmla="*/ 328 w 826"/>
                <a:gd name="T57" fmla="*/ 54 h 650"/>
                <a:gd name="T58" fmla="*/ 328 w 826"/>
                <a:gd name="T59" fmla="*/ 634 h 650"/>
                <a:gd name="T60" fmla="*/ 537 w 826"/>
                <a:gd name="T61" fmla="*/ 344 h 650"/>
                <a:gd name="T62" fmla="*/ 274 w 826"/>
                <a:gd name="T63" fmla="*/ 430 h 650"/>
                <a:gd name="T64" fmla="*/ 322 w 826"/>
                <a:gd name="T65" fmla="*/ 374 h 650"/>
                <a:gd name="T66" fmla="*/ 300 w 826"/>
                <a:gd name="T67" fmla="*/ 303 h 650"/>
                <a:gd name="T68" fmla="*/ 274 w 826"/>
                <a:gd name="T69" fmla="*/ 260 h 650"/>
                <a:gd name="T70" fmla="*/ 224 w 826"/>
                <a:gd name="T71" fmla="*/ 205 h 650"/>
                <a:gd name="T72" fmla="*/ 157 w 826"/>
                <a:gd name="T73" fmla="*/ 219 h 650"/>
                <a:gd name="T74" fmla="*/ 109 w 826"/>
                <a:gd name="T75" fmla="*/ 217 h 650"/>
                <a:gd name="T76" fmla="*/ 88 w 826"/>
                <a:gd name="T77" fmla="*/ 260 h 650"/>
                <a:gd name="T78" fmla="*/ 42 w 826"/>
                <a:gd name="T79" fmla="*/ 312 h 650"/>
                <a:gd name="T80" fmla="*/ 63 w 826"/>
                <a:gd name="T81" fmla="*/ 383 h 650"/>
                <a:gd name="T82" fmla="*/ 87 w 826"/>
                <a:gd name="T83" fmla="*/ 428 h 650"/>
                <a:gd name="T84" fmla="*/ 135 w 826"/>
                <a:gd name="T85" fmla="*/ 483 h 650"/>
                <a:gd name="T86" fmla="*/ 207 w 826"/>
                <a:gd name="T87" fmla="*/ 470 h 650"/>
                <a:gd name="T88" fmla="*/ 253 w 826"/>
                <a:gd name="T89" fmla="*/ 472 h 650"/>
                <a:gd name="T90" fmla="*/ 212 w 826"/>
                <a:gd name="T91" fmla="*/ 400 h 650"/>
                <a:gd name="T92" fmla="*/ 149 w 826"/>
                <a:gd name="T93" fmla="*/ 289 h 650"/>
                <a:gd name="T94" fmla="*/ 235 w 826"/>
                <a:gd name="T95" fmla="*/ 312 h 650"/>
                <a:gd name="T96" fmla="*/ 288 w 826"/>
                <a:gd name="T97" fmla="*/ 54 h 650"/>
                <a:gd name="T98" fmla="*/ 253 w 826"/>
                <a:gd name="T99" fmla="*/ 119 h 650"/>
                <a:gd name="T100" fmla="*/ 307 w 826"/>
                <a:gd name="T101" fmla="*/ 204 h 650"/>
                <a:gd name="T102" fmla="*/ 320 w 826"/>
                <a:gd name="T103" fmla="*/ 247 h 650"/>
                <a:gd name="T104" fmla="*/ 334 w 826"/>
                <a:gd name="T105" fmla="*/ 271 h 650"/>
                <a:gd name="T106" fmla="*/ 364 w 826"/>
                <a:gd name="T107" fmla="*/ 305 h 650"/>
                <a:gd name="T108" fmla="*/ 361 w 826"/>
                <a:gd name="T109" fmla="*/ 405 h 650"/>
                <a:gd name="T110" fmla="*/ 320 w 826"/>
                <a:gd name="T111" fmla="*/ 442 h 650"/>
                <a:gd name="T112" fmla="*/ 305 w 826"/>
                <a:gd name="T113" fmla="*/ 488 h 650"/>
                <a:gd name="T114" fmla="*/ 274 w 826"/>
                <a:gd name="T115" fmla="*/ 511 h 650"/>
                <a:gd name="T116" fmla="*/ 242 w 826"/>
                <a:gd name="T117" fmla="*/ 525 h 650"/>
                <a:gd name="T118" fmla="*/ 237 w 826"/>
                <a:gd name="T119" fmla="*/ 543 h 650"/>
                <a:gd name="T120" fmla="*/ 288 w 826"/>
                <a:gd name="T121" fmla="*/ 634 h 650"/>
                <a:gd name="T122" fmla="*/ 288 w 826"/>
                <a:gd name="T123" fmla="*/ 54 h 6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826" h="650">
                  <a:moveTo>
                    <a:pt x="177" y="527"/>
                  </a:moveTo>
                  <a:cubicBezTo>
                    <a:pt x="169" y="527"/>
                    <a:pt x="161" y="534"/>
                    <a:pt x="161" y="543"/>
                  </a:cubicBezTo>
                  <a:cubicBezTo>
                    <a:pt x="161" y="635"/>
                    <a:pt x="161" y="635"/>
                    <a:pt x="161" y="635"/>
                  </a:cubicBezTo>
                  <a:cubicBezTo>
                    <a:pt x="161" y="643"/>
                    <a:pt x="169" y="650"/>
                    <a:pt x="177" y="650"/>
                  </a:cubicBezTo>
                  <a:cubicBezTo>
                    <a:pt x="186" y="650"/>
                    <a:pt x="193" y="643"/>
                    <a:pt x="193" y="635"/>
                  </a:cubicBezTo>
                  <a:cubicBezTo>
                    <a:pt x="193" y="543"/>
                    <a:pt x="193" y="543"/>
                    <a:pt x="193" y="543"/>
                  </a:cubicBezTo>
                  <a:cubicBezTo>
                    <a:pt x="193" y="534"/>
                    <a:pt x="186" y="527"/>
                    <a:pt x="177" y="527"/>
                  </a:cubicBezTo>
                  <a:close/>
                  <a:moveTo>
                    <a:pt x="32" y="123"/>
                  </a:moveTo>
                  <a:cubicBezTo>
                    <a:pt x="41" y="123"/>
                    <a:pt x="48" y="116"/>
                    <a:pt x="48" y="108"/>
                  </a:cubicBezTo>
                  <a:cubicBezTo>
                    <a:pt x="48" y="16"/>
                    <a:pt x="48" y="16"/>
                    <a:pt x="48" y="16"/>
                  </a:cubicBezTo>
                  <a:cubicBezTo>
                    <a:pt x="48" y="7"/>
                    <a:pt x="41" y="0"/>
                    <a:pt x="32" y="0"/>
                  </a:cubicBezTo>
                  <a:cubicBezTo>
                    <a:pt x="23" y="0"/>
                    <a:pt x="16" y="7"/>
                    <a:pt x="16" y="16"/>
                  </a:cubicBezTo>
                  <a:cubicBezTo>
                    <a:pt x="16" y="108"/>
                    <a:pt x="16" y="108"/>
                    <a:pt x="16" y="108"/>
                  </a:cubicBezTo>
                  <a:cubicBezTo>
                    <a:pt x="16" y="116"/>
                    <a:pt x="23" y="123"/>
                    <a:pt x="32" y="123"/>
                  </a:cubicBezTo>
                  <a:close/>
                  <a:moveTo>
                    <a:pt x="146" y="182"/>
                  </a:moveTo>
                  <a:cubicBezTo>
                    <a:pt x="181" y="182"/>
                    <a:pt x="209" y="154"/>
                    <a:pt x="209" y="119"/>
                  </a:cubicBezTo>
                  <a:cubicBezTo>
                    <a:pt x="209" y="84"/>
                    <a:pt x="181" y="55"/>
                    <a:pt x="146" y="55"/>
                  </a:cubicBezTo>
                  <a:cubicBezTo>
                    <a:pt x="110" y="55"/>
                    <a:pt x="82" y="84"/>
                    <a:pt x="82" y="119"/>
                  </a:cubicBezTo>
                  <a:cubicBezTo>
                    <a:pt x="82" y="154"/>
                    <a:pt x="110" y="182"/>
                    <a:pt x="146" y="182"/>
                  </a:cubicBezTo>
                  <a:close/>
                  <a:moveTo>
                    <a:pt x="146" y="87"/>
                  </a:moveTo>
                  <a:cubicBezTo>
                    <a:pt x="163" y="87"/>
                    <a:pt x="177" y="101"/>
                    <a:pt x="177" y="119"/>
                  </a:cubicBezTo>
                  <a:cubicBezTo>
                    <a:pt x="177" y="136"/>
                    <a:pt x="163" y="151"/>
                    <a:pt x="146" y="151"/>
                  </a:cubicBezTo>
                  <a:cubicBezTo>
                    <a:pt x="128" y="151"/>
                    <a:pt x="114" y="136"/>
                    <a:pt x="114" y="119"/>
                  </a:cubicBezTo>
                  <a:cubicBezTo>
                    <a:pt x="114" y="101"/>
                    <a:pt x="128" y="87"/>
                    <a:pt x="146" y="87"/>
                  </a:cubicBezTo>
                  <a:close/>
                  <a:moveTo>
                    <a:pt x="64" y="485"/>
                  </a:moveTo>
                  <a:cubicBezTo>
                    <a:pt x="29" y="485"/>
                    <a:pt x="0" y="514"/>
                    <a:pt x="0" y="549"/>
                  </a:cubicBezTo>
                  <a:cubicBezTo>
                    <a:pt x="0" y="584"/>
                    <a:pt x="29" y="613"/>
                    <a:pt x="64" y="613"/>
                  </a:cubicBezTo>
                  <a:cubicBezTo>
                    <a:pt x="99" y="613"/>
                    <a:pt x="127" y="584"/>
                    <a:pt x="127" y="549"/>
                  </a:cubicBezTo>
                  <a:cubicBezTo>
                    <a:pt x="127" y="514"/>
                    <a:pt x="99" y="485"/>
                    <a:pt x="64" y="485"/>
                  </a:cubicBezTo>
                  <a:close/>
                  <a:moveTo>
                    <a:pt x="64" y="581"/>
                  </a:moveTo>
                  <a:cubicBezTo>
                    <a:pt x="46" y="581"/>
                    <a:pt x="32" y="566"/>
                    <a:pt x="32" y="549"/>
                  </a:cubicBezTo>
                  <a:cubicBezTo>
                    <a:pt x="32" y="531"/>
                    <a:pt x="46" y="517"/>
                    <a:pt x="64" y="517"/>
                  </a:cubicBezTo>
                  <a:cubicBezTo>
                    <a:pt x="81" y="517"/>
                    <a:pt x="96" y="531"/>
                    <a:pt x="96" y="549"/>
                  </a:cubicBezTo>
                  <a:cubicBezTo>
                    <a:pt x="96" y="566"/>
                    <a:pt x="81" y="581"/>
                    <a:pt x="64" y="581"/>
                  </a:cubicBezTo>
                  <a:close/>
                  <a:moveTo>
                    <a:pt x="182" y="325"/>
                  </a:moveTo>
                  <a:cubicBezTo>
                    <a:pt x="181" y="331"/>
                    <a:pt x="181" y="337"/>
                    <a:pt x="181" y="344"/>
                  </a:cubicBezTo>
                  <a:cubicBezTo>
                    <a:pt x="181" y="351"/>
                    <a:pt x="182" y="358"/>
                    <a:pt x="182" y="365"/>
                  </a:cubicBezTo>
                  <a:cubicBezTo>
                    <a:pt x="184" y="365"/>
                    <a:pt x="187" y="364"/>
                    <a:pt x="190" y="363"/>
                  </a:cubicBezTo>
                  <a:cubicBezTo>
                    <a:pt x="190" y="362"/>
                    <a:pt x="190" y="362"/>
                    <a:pt x="190" y="362"/>
                  </a:cubicBezTo>
                  <a:cubicBezTo>
                    <a:pt x="200" y="357"/>
                    <a:pt x="203" y="344"/>
                    <a:pt x="197" y="334"/>
                  </a:cubicBezTo>
                  <a:cubicBezTo>
                    <a:pt x="194" y="329"/>
                    <a:pt x="188" y="325"/>
                    <a:pt x="182" y="325"/>
                  </a:cubicBezTo>
                  <a:close/>
                  <a:moveTo>
                    <a:pt x="684" y="344"/>
                  </a:moveTo>
                  <a:cubicBezTo>
                    <a:pt x="684" y="184"/>
                    <a:pt x="644" y="54"/>
                    <a:pt x="585" y="54"/>
                  </a:cubicBezTo>
                  <a:cubicBezTo>
                    <a:pt x="471" y="54"/>
                    <a:pt x="471" y="54"/>
                    <a:pt x="471" y="54"/>
                  </a:cubicBezTo>
                  <a:cubicBezTo>
                    <a:pt x="531" y="54"/>
                    <a:pt x="571" y="184"/>
                    <a:pt x="571" y="344"/>
                  </a:cubicBezTo>
                  <a:cubicBezTo>
                    <a:pt x="571" y="504"/>
                    <a:pt x="531" y="634"/>
                    <a:pt x="471" y="634"/>
                  </a:cubicBezTo>
                  <a:cubicBezTo>
                    <a:pt x="585" y="634"/>
                    <a:pt x="585" y="634"/>
                    <a:pt x="585" y="634"/>
                  </a:cubicBezTo>
                  <a:cubicBezTo>
                    <a:pt x="644" y="634"/>
                    <a:pt x="684" y="504"/>
                    <a:pt x="684" y="344"/>
                  </a:cubicBezTo>
                  <a:close/>
                  <a:moveTo>
                    <a:pt x="730" y="54"/>
                  </a:moveTo>
                  <a:cubicBezTo>
                    <a:pt x="619" y="54"/>
                    <a:pt x="619" y="54"/>
                    <a:pt x="619" y="54"/>
                  </a:cubicBezTo>
                  <a:cubicBezTo>
                    <a:pt x="676" y="54"/>
                    <a:pt x="716" y="184"/>
                    <a:pt x="716" y="344"/>
                  </a:cubicBezTo>
                  <a:cubicBezTo>
                    <a:pt x="716" y="504"/>
                    <a:pt x="676" y="634"/>
                    <a:pt x="619" y="634"/>
                  </a:cubicBezTo>
                  <a:cubicBezTo>
                    <a:pt x="730" y="634"/>
                    <a:pt x="730" y="634"/>
                    <a:pt x="730" y="634"/>
                  </a:cubicBezTo>
                  <a:cubicBezTo>
                    <a:pt x="787" y="634"/>
                    <a:pt x="826" y="504"/>
                    <a:pt x="826" y="344"/>
                  </a:cubicBezTo>
                  <a:cubicBezTo>
                    <a:pt x="826" y="184"/>
                    <a:pt x="787" y="54"/>
                    <a:pt x="730" y="54"/>
                  </a:cubicBezTo>
                  <a:close/>
                  <a:moveTo>
                    <a:pt x="537" y="344"/>
                  </a:moveTo>
                  <a:cubicBezTo>
                    <a:pt x="537" y="184"/>
                    <a:pt x="497" y="54"/>
                    <a:pt x="439" y="54"/>
                  </a:cubicBezTo>
                  <a:cubicBezTo>
                    <a:pt x="328" y="54"/>
                    <a:pt x="328" y="54"/>
                    <a:pt x="328" y="54"/>
                  </a:cubicBezTo>
                  <a:cubicBezTo>
                    <a:pt x="386" y="54"/>
                    <a:pt x="426" y="184"/>
                    <a:pt x="426" y="344"/>
                  </a:cubicBezTo>
                  <a:cubicBezTo>
                    <a:pt x="426" y="504"/>
                    <a:pt x="386" y="634"/>
                    <a:pt x="328" y="634"/>
                  </a:cubicBezTo>
                  <a:cubicBezTo>
                    <a:pt x="439" y="634"/>
                    <a:pt x="439" y="634"/>
                    <a:pt x="439" y="634"/>
                  </a:cubicBezTo>
                  <a:cubicBezTo>
                    <a:pt x="497" y="634"/>
                    <a:pt x="537" y="504"/>
                    <a:pt x="537" y="344"/>
                  </a:cubicBezTo>
                  <a:close/>
                  <a:moveTo>
                    <a:pt x="277" y="454"/>
                  </a:moveTo>
                  <a:cubicBezTo>
                    <a:pt x="274" y="430"/>
                    <a:pt x="274" y="430"/>
                    <a:pt x="274" y="430"/>
                  </a:cubicBezTo>
                  <a:cubicBezTo>
                    <a:pt x="286" y="416"/>
                    <a:pt x="295" y="400"/>
                    <a:pt x="300" y="383"/>
                  </a:cubicBezTo>
                  <a:cubicBezTo>
                    <a:pt x="322" y="374"/>
                    <a:pt x="322" y="374"/>
                    <a:pt x="322" y="374"/>
                  </a:cubicBezTo>
                  <a:cubicBezTo>
                    <a:pt x="326" y="354"/>
                    <a:pt x="326" y="333"/>
                    <a:pt x="321" y="314"/>
                  </a:cubicBezTo>
                  <a:cubicBezTo>
                    <a:pt x="300" y="303"/>
                    <a:pt x="300" y="303"/>
                    <a:pt x="300" y="303"/>
                  </a:cubicBezTo>
                  <a:cubicBezTo>
                    <a:pt x="297" y="297"/>
                    <a:pt x="294" y="289"/>
                    <a:pt x="290" y="281"/>
                  </a:cubicBezTo>
                  <a:cubicBezTo>
                    <a:pt x="285" y="273"/>
                    <a:pt x="280" y="266"/>
                    <a:pt x="274" y="260"/>
                  </a:cubicBezTo>
                  <a:cubicBezTo>
                    <a:pt x="277" y="236"/>
                    <a:pt x="277" y="236"/>
                    <a:pt x="277" y="236"/>
                  </a:cubicBezTo>
                  <a:cubicBezTo>
                    <a:pt x="261" y="221"/>
                    <a:pt x="243" y="210"/>
                    <a:pt x="224" y="205"/>
                  </a:cubicBezTo>
                  <a:cubicBezTo>
                    <a:pt x="204" y="219"/>
                    <a:pt x="204" y="219"/>
                    <a:pt x="204" y="219"/>
                  </a:cubicBezTo>
                  <a:cubicBezTo>
                    <a:pt x="188" y="215"/>
                    <a:pt x="173" y="216"/>
                    <a:pt x="157" y="219"/>
                  </a:cubicBezTo>
                  <a:cubicBezTo>
                    <a:pt x="138" y="205"/>
                    <a:pt x="138" y="205"/>
                    <a:pt x="138" y="205"/>
                  </a:cubicBezTo>
                  <a:cubicBezTo>
                    <a:pt x="128" y="208"/>
                    <a:pt x="118" y="212"/>
                    <a:pt x="109" y="217"/>
                  </a:cubicBezTo>
                  <a:cubicBezTo>
                    <a:pt x="100" y="223"/>
                    <a:pt x="92" y="228"/>
                    <a:pt x="85" y="236"/>
                  </a:cubicBezTo>
                  <a:cubicBezTo>
                    <a:pt x="88" y="260"/>
                    <a:pt x="88" y="260"/>
                    <a:pt x="88" y="260"/>
                  </a:cubicBezTo>
                  <a:cubicBezTo>
                    <a:pt x="77" y="273"/>
                    <a:pt x="68" y="287"/>
                    <a:pt x="63" y="302"/>
                  </a:cubicBezTo>
                  <a:cubicBezTo>
                    <a:pt x="42" y="312"/>
                    <a:pt x="42" y="312"/>
                    <a:pt x="42" y="312"/>
                  </a:cubicBezTo>
                  <a:cubicBezTo>
                    <a:pt x="37" y="332"/>
                    <a:pt x="37" y="352"/>
                    <a:pt x="41" y="375"/>
                  </a:cubicBezTo>
                  <a:cubicBezTo>
                    <a:pt x="63" y="383"/>
                    <a:pt x="63" y="383"/>
                    <a:pt x="63" y="383"/>
                  </a:cubicBezTo>
                  <a:cubicBezTo>
                    <a:pt x="65" y="391"/>
                    <a:pt x="68" y="400"/>
                    <a:pt x="73" y="407"/>
                  </a:cubicBezTo>
                  <a:cubicBezTo>
                    <a:pt x="77" y="415"/>
                    <a:pt x="82" y="422"/>
                    <a:pt x="87" y="428"/>
                  </a:cubicBezTo>
                  <a:cubicBezTo>
                    <a:pt x="84" y="452"/>
                    <a:pt x="84" y="452"/>
                    <a:pt x="84" y="452"/>
                  </a:cubicBezTo>
                  <a:cubicBezTo>
                    <a:pt x="100" y="466"/>
                    <a:pt x="117" y="476"/>
                    <a:pt x="135" y="483"/>
                  </a:cubicBezTo>
                  <a:cubicBezTo>
                    <a:pt x="154" y="469"/>
                    <a:pt x="154" y="469"/>
                    <a:pt x="154" y="469"/>
                  </a:cubicBezTo>
                  <a:cubicBezTo>
                    <a:pt x="172" y="473"/>
                    <a:pt x="189" y="473"/>
                    <a:pt x="207" y="470"/>
                  </a:cubicBezTo>
                  <a:cubicBezTo>
                    <a:pt x="227" y="483"/>
                    <a:pt x="227" y="483"/>
                    <a:pt x="227" y="483"/>
                  </a:cubicBezTo>
                  <a:cubicBezTo>
                    <a:pt x="235" y="480"/>
                    <a:pt x="244" y="476"/>
                    <a:pt x="253" y="472"/>
                  </a:cubicBezTo>
                  <a:cubicBezTo>
                    <a:pt x="261" y="467"/>
                    <a:pt x="269" y="460"/>
                    <a:pt x="277" y="454"/>
                  </a:cubicBezTo>
                  <a:close/>
                  <a:moveTo>
                    <a:pt x="212" y="400"/>
                  </a:moveTo>
                  <a:cubicBezTo>
                    <a:pt x="182" y="418"/>
                    <a:pt x="144" y="407"/>
                    <a:pt x="126" y="376"/>
                  </a:cubicBezTo>
                  <a:cubicBezTo>
                    <a:pt x="108" y="346"/>
                    <a:pt x="118" y="306"/>
                    <a:pt x="149" y="289"/>
                  </a:cubicBezTo>
                  <a:cubicBezTo>
                    <a:pt x="157" y="284"/>
                    <a:pt x="165" y="281"/>
                    <a:pt x="173" y="281"/>
                  </a:cubicBezTo>
                  <a:cubicBezTo>
                    <a:pt x="197" y="278"/>
                    <a:pt x="222" y="289"/>
                    <a:pt x="235" y="312"/>
                  </a:cubicBezTo>
                  <a:cubicBezTo>
                    <a:pt x="253" y="344"/>
                    <a:pt x="243" y="383"/>
                    <a:pt x="212" y="400"/>
                  </a:cubicBezTo>
                  <a:close/>
                  <a:moveTo>
                    <a:pt x="288" y="54"/>
                  </a:moveTo>
                  <a:cubicBezTo>
                    <a:pt x="273" y="54"/>
                    <a:pt x="258" y="62"/>
                    <a:pt x="245" y="78"/>
                  </a:cubicBezTo>
                  <a:cubicBezTo>
                    <a:pt x="250" y="91"/>
                    <a:pt x="253" y="104"/>
                    <a:pt x="253" y="119"/>
                  </a:cubicBezTo>
                  <a:cubicBezTo>
                    <a:pt x="253" y="135"/>
                    <a:pt x="249" y="151"/>
                    <a:pt x="243" y="165"/>
                  </a:cubicBezTo>
                  <a:cubicBezTo>
                    <a:pt x="266" y="173"/>
                    <a:pt x="289" y="187"/>
                    <a:pt x="307" y="204"/>
                  </a:cubicBezTo>
                  <a:cubicBezTo>
                    <a:pt x="322" y="219"/>
                    <a:pt x="322" y="219"/>
                    <a:pt x="322" y="219"/>
                  </a:cubicBezTo>
                  <a:cubicBezTo>
                    <a:pt x="320" y="247"/>
                    <a:pt x="320" y="247"/>
                    <a:pt x="320" y="247"/>
                  </a:cubicBezTo>
                  <a:cubicBezTo>
                    <a:pt x="323" y="251"/>
                    <a:pt x="325" y="255"/>
                    <a:pt x="328" y="260"/>
                  </a:cubicBezTo>
                  <a:cubicBezTo>
                    <a:pt x="330" y="264"/>
                    <a:pt x="332" y="268"/>
                    <a:pt x="334" y="271"/>
                  </a:cubicBezTo>
                  <a:cubicBezTo>
                    <a:pt x="360" y="284"/>
                    <a:pt x="360" y="284"/>
                    <a:pt x="360" y="284"/>
                  </a:cubicBezTo>
                  <a:cubicBezTo>
                    <a:pt x="364" y="305"/>
                    <a:pt x="364" y="305"/>
                    <a:pt x="364" y="305"/>
                  </a:cubicBezTo>
                  <a:cubicBezTo>
                    <a:pt x="370" y="329"/>
                    <a:pt x="370" y="356"/>
                    <a:pt x="365" y="382"/>
                  </a:cubicBezTo>
                  <a:cubicBezTo>
                    <a:pt x="361" y="405"/>
                    <a:pt x="361" y="405"/>
                    <a:pt x="361" y="405"/>
                  </a:cubicBezTo>
                  <a:cubicBezTo>
                    <a:pt x="334" y="417"/>
                    <a:pt x="334" y="417"/>
                    <a:pt x="334" y="417"/>
                  </a:cubicBezTo>
                  <a:cubicBezTo>
                    <a:pt x="330" y="426"/>
                    <a:pt x="326" y="434"/>
                    <a:pt x="320" y="442"/>
                  </a:cubicBezTo>
                  <a:cubicBezTo>
                    <a:pt x="324" y="473"/>
                    <a:pt x="324" y="473"/>
                    <a:pt x="324" y="473"/>
                  </a:cubicBezTo>
                  <a:cubicBezTo>
                    <a:pt x="305" y="488"/>
                    <a:pt x="305" y="488"/>
                    <a:pt x="305" y="488"/>
                  </a:cubicBezTo>
                  <a:cubicBezTo>
                    <a:pt x="297" y="495"/>
                    <a:pt x="287" y="503"/>
                    <a:pt x="275" y="510"/>
                  </a:cubicBezTo>
                  <a:cubicBezTo>
                    <a:pt x="274" y="511"/>
                    <a:pt x="274" y="511"/>
                    <a:pt x="274" y="511"/>
                  </a:cubicBezTo>
                  <a:cubicBezTo>
                    <a:pt x="272" y="511"/>
                    <a:pt x="272" y="511"/>
                    <a:pt x="272" y="511"/>
                  </a:cubicBezTo>
                  <a:cubicBezTo>
                    <a:pt x="261" y="517"/>
                    <a:pt x="250" y="522"/>
                    <a:pt x="242" y="525"/>
                  </a:cubicBezTo>
                  <a:cubicBezTo>
                    <a:pt x="235" y="528"/>
                    <a:pt x="235" y="528"/>
                    <a:pt x="235" y="528"/>
                  </a:cubicBezTo>
                  <a:cubicBezTo>
                    <a:pt x="237" y="533"/>
                    <a:pt x="237" y="538"/>
                    <a:pt x="237" y="543"/>
                  </a:cubicBezTo>
                  <a:cubicBezTo>
                    <a:pt x="237" y="600"/>
                    <a:pt x="237" y="600"/>
                    <a:pt x="237" y="600"/>
                  </a:cubicBezTo>
                  <a:cubicBezTo>
                    <a:pt x="252" y="622"/>
                    <a:pt x="269" y="634"/>
                    <a:pt x="288" y="634"/>
                  </a:cubicBezTo>
                  <a:cubicBezTo>
                    <a:pt x="346" y="634"/>
                    <a:pt x="395" y="504"/>
                    <a:pt x="395" y="344"/>
                  </a:cubicBezTo>
                  <a:cubicBezTo>
                    <a:pt x="395" y="184"/>
                    <a:pt x="346" y="54"/>
                    <a:pt x="288" y="54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accent1"/>
                </a:solidFill>
              </a:endParaRPr>
            </a:p>
          </p:txBody>
        </p:sp>
      </p:grpSp>
      <p:sp>
        <p:nvSpPr>
          <p:cNvPr id="49" name="Textfeld 12">
            <a:extLst>
              <a:ext uri="{FF2B5EF4-FFF2-40B4-BE49-F238E27FC236}">
                <a16:creationId xmlns:a16="http://schemas.microsoft.com/office/drawing/2014/main" id="{E4F042DB-1B7F-8F67-24C1-735535E77A9C}"/>
              </a:ext>
            </a:extLst>
          </p:cNvPr>
          <p:cNvSpPr txBox="1"/>
          <p:nvPr/>
        </p:nvSpPr>
        <p:spPr>
          <a:xfrm>
            <a:off x="1999295" y="1584955"/>
            <a:ext cx="952207" cy="19300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>
              <a:lnSpc>
                <a:spcPct val="113999"/>
              </a:lnSpc>
            </a:pPr>
            <a:r>
              <a:rPr lang="de-DE" sz="1200" b="1">
                <a:solidFill>
                  <a:schemeClr val="tx1">
                    <a:lumMod val="65000"/>
                    <a:lumOff val="35000"/>
                  </a:schemeClr>
                </a:solidFill>
                <a:latin typeface="Arial"/>
                <a:cs typeface="Arial"/>
              </a:rPr>
              <a:t>ML Metadata</a:t>
            </a:r>
            <a:endParaRPr lang="de-DE" sz="1200" b="1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cxnSp>
        <p:nvCxnSpPr>
          <p:cNvPr id="54" name="Straight Arrow Connector 53">
            <a:extLst>
              <a:ext uri="{FF2B5EF4-FFF2-40B4-BE49-F238E27FC236}">
                <a16:creationId xmlns:a16="http://schemas.microsoft.com/office/drawing/2014/main" id="{8508CA8A-6CFD-4009-0AEA-B34C5E76B31A}"/>
              </a:ext>
            </a:extLst>
          </p:cNvPr>
          <p:cNvCxnSpPr>
            <a:cxnSpLocks/>
            <a:endCxn id="82" idx="0"/>
          </p:cNvCxnSpPr>
          <p:nvPr/>
        </p:nvCxnSpPr>
        <p:spPr>
          <a:xfrm rot="10800000" flipV="1">
            <a:off x="3809775" y="1947558"/>
            <a:ext cx="1201617" cy="2240227"/>
          </a:xfrm>
          <a:prstGeom prst="bentConnector2">
            <a:avLst/>
          </a:prstGeom>
          <a:ln cap="rnd">
            <a:solidFill>
              <a:srgbClr val="445064"/>
            </a:solidFill>
            <a:prstDash val="sysDot"/>
            <a:headEnd type="triangle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82" name="TextBox 81">
            <a:extLst>
              <a:ext uri="{FF2B5EF4-FFF2-40B4-BE49-F238E27FC236}">
                <a16:creationId xmlns:a16="http://schemas.microsoft.com/office/drawing/2014/main" id="{20F16156-2A23-0A6E-3171-B5DADB8B302D}"/>
              </a:ext>
            </a:extLst>
          </p:cNvPr>
          <p:cNvSpPr txBox="1"/>
          <p:nvPr/>
        </p:nvSpPr>
        <p:spPr>
          <a:xfrm>
            <a:off x="3638517" y="4187786"/>
            <a:ext cx="342513" cy="16882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14000"/>
              </a:lnSpc>
            </a:pPr>
            <a:r>
              <a:rPr lang="en-US" sz="1050">
                <a:solidFill>
                  <a:schemeClr val="accent1"/>
                </a:solidFill>
                <a:latin typeface="+mn-lt"/>
              </a:rPr>
              <a:t>Label</a:t>
            </a:r>
          </a:p>
        </p:txBody>
      </p:sp>
      <p:sp>
        <p:nvSpPr>
          <p:cNvPr id="91" name="Textfeld 12">
            <a:extLst>
              <a:ext uri="{FF2B5EF4-FFF2-40B4-BE49-F238E27FC236}">
                <a16:creationId xmlns:a16="http://schemas.microsoft.com/office/drawing/2014/main" id="{442A6E86-592F-E6F2-1DE7-B1056DE52A6A}"/>
              </a:ext>
            </a:extLst>
          </p:cNvPr>
          <p:cNvSpPr txBox="1"/>
          <p:nvPr/>
        </p:nvSpPr>
        <p:spPr>
          <a:xfrm>
            <a:off x="3152793" y="2801836"/>
            <a:ext cx="590441" cy="687048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>
              <a:lnSpc>
                <a:spcPct val="113999"/>
              </a:lnSpc>
            </a:pPr>
            <a:r>
              <a:rPr lang="de-DE" sz="1000" b="1">
                <a:solidFill>
                  <a:schemeClr val="tx1">
                    <a:lumMod val="65000"/>
                    <a:lumOff val="35000"/>
                  </a:schemeClr>
                </a:solidFill>
                <a:latin typeface="Arial"/>
                <a:cs typeface="Arial"/>
              </a:rPr>
              <a:t>Active Learning / Model retraining</a:t>
            </a:r>
          </a:p>
        </p:txBody>
      </p:sp>
      <p:sp>
        <p:nvSpPr>
          <p:cNvPr id="52" name="Fußzeilenplatzhalter 4">
            <a:extLst>
              <a:ext uri="{FF2B5EF4-FFF2-40B4-BE49-F238E27FC236}">
                <a16:creationId xmlns:a16="http://schemas.microsoft.com/office/drawing/2014/main" id="{865B887F-4FA4-B5A8-4FAC-E7CDCE62A0F6}"/>
              </a:ext>
            </a:extLst>
          </p:cNvPr>
          <p:cNvSpPr txBox="1">
            <a:spLocks/>
          </p:cNvSpPr>
          <p:nvPr/>
        </p:nvSpPr>
        <p:spPr>
          <a:xfrm>
            <a:off x="311162" y="4854985"/>
            <a:ext cx="7829538" cy="28851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1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r>
              <a:rPr lang="en-US" dirty="0">
                <a:latin typeface="Arial"/>
                <a:cs typeface="Arial"/>
              </a:rPr>
              <a:t>◻︎ Outline | ◻︎ Organizational</a:t>
            </a:r>
            <a:r>
              <a:rPr lang="en-US" b="1" dirty="0">
                <a:latin typeface="Arial"/>
                <a:cs typeface="Arial"/>
              </a:rPr>
              <a:t> </a:t>
            </a:r>
            <a:r>
              <a:rPr lang="en-US" dirty="0">
                <a:latin typeface="Arial"/>
                <a:cs typeface="Arial"/>
              </a:rPr>
              <a:t>structure</a:t>
            </a:r>
            <a:r>
              <a:rPr lang="en-US" b="1" dirty="0">
                <a:latin typeface="Arial"/>
                <a:cs typeface="Arial"/>
              </a:rPr>
              <a:t> </a:t>
            </a:r>
            <a:r>
              <a:rPr lang="en-US" dirty="0">
                <a:latin typeface="Arial"/>
                <a:cs typeface="Arial"/>
              </a:rPr>
              <a:t>| ◻︎ Research Topics | ◼︎ </a:t>
            </a:r>
            <a:r>
              <a:rPr lang="en-US" b="1" dirty="0">
                <a:latin typeface="Arial"/>
                <a:cs typeface="Arial"/>
              </a:rPr>
              <a:t>ML Pipeline</a:t>
            </a:r>
            <a:r>
              <a:rPr lang="en-US" dirty="0">
                <a:latin typeface="Arial"/>
                <a:cs typeface="Arial"/>
              </a:rPr>
              <a:t>  | ◻︎ Next steps</a:t>
            </a:r>
          </a:p>
        </p:txBody>
      </p:sp>
    </p:spTree>
    <p:extLst>
      <p:ext uri="{BB962C8B-B14F-4D97-AF65-F5344CB8AC3E}">
        <p14:creationId xmlns:p14="http://schemas.microsoft.com/office/powerpoint/2010/main" val="30409514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 advTm="20000"/>
    </mc:Choice>
    <mc:Fallback xmlns="">
      <p:transition spd="slow" advClick="0" advTm="20000"/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853D1E8D-CE0D-41DB-8AF3-A336ED5E678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678773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853D1E8D-CE0D-41DB-8AF3-A336ED5E67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B520AB9D-23F1-469D-B3D7-1C4B6110A38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197898" y="1208989"/>
            <a:ext cx="5400000" cy="289438"/>
          </a:xfrm>
        </p:spPr>
        <p:txBody>
          <a:bodyPr>
            <a:spAutoFit/>
          </a:bodyPr>
          <a:lstStyle/>
          <a:p>
            <a:r>
              <a:rPr lang="en-US" sz="1800" dirty="0"/>
              <a:t>First achievements and organizational structure</a:t>
            </a:r>
            <a:endParaRPr lang="en-US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F623D925-8B03-4C79-B8CE-4001D099571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2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15F679E-5B33-42AE-B85D-5377D376EE0A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1906496" y="4854985"/>
            <a:ext cx="7829538" cy="288515"/>
          </a:xfrm>
        </p:spPr>
        <p:txBody>
          <a:bodyPr/>
          <a:lstStyle/>
          <a:p>
            <a:r>
              <a:rPr lang="en-US" dirty="0">
                <a:latin typeface="Arial"/>
                <a:cs typeface="Arial"/>
              </a:rPr>
              <a:t>◼︎ </a:t>
            </a:r>
            <a:r>
              <a:rPr lang="en-US" b="1" dirty="0">
                <a:latin typeface="Arial"/>
                <a:cs typeface="Arial"/>
              </a:rPr>
              <a:t>Outline</a:t>
            </a:r>
            <a:r>
              <a:rPr lang="en-US" dirty="0">
                <a:latin typeface="Arial"/>
                <a:cs typeface="Arial"/>
              </a:rPr>
              <a:t> | ◻︎ Organizational structure | ◻︎ Research Topics | ◻︎ ML Pipeline  | ◻︎ Next steps</a:t>
            </a:r>
          </a:p>
        </p:txBody>
      </p:sp>
      <p:pic>
        <p:nvPicPr>
          <p:cNvPr id="8" name="Grafik 2" descr="countdown.gif">
            <a:extLst>
              <a:ext uri="{FF2B5EF4-FFF2-40B4-BE49-F238E27FC236}">
                <a16:creationId xmlns:a16="http://schemas.microsoft.com/office/drawing/2014/main" id="{9F18EF32-707B-47E4-B94B-5CA81854BA99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85113" y="4575685"/>
            <a:ext cx="1258887" cy="571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0" name="Inhaltsplatzhalter 5">
            <a:extLst>
              <a:ext uri="{FF2B5EF4-FFF2-40B4-BE49-F238E27FC236}">
                <a16:creationId xmlns:a16="http://schemas.microsoft.com/office/drawing/2014/main" id="{F10B800B-7BDD-437C-BD95-BADA97344C22}"/>
              </a:ext>
            </a:extLst>
          </p:cNvPr>
          <p:cNvSpPr txBox="1">
            <a:spLocks/>
          </p:cNvSpPr>
          <p:nvPr/>
        </p:nvSpPr>
        <p:spPr>
          <a:xfrm>
            <a:off x="4197898" y="2028387"/>
            <a:ext cx="5400000" cy="289438"/>
          </a:xfrm>
          <a:prstGeom prst="rect">
            <a:avLst/>
          </a:prstGeom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rtl="0" eaLnBrk="0" fontAlgn="base" hangingPunct="0">
              <a:lnSpc>
                <a:spcPct val="114000"/>
              </a:lnSpc>
              <a:spcBef>
                <a:spcPct val="0"/>
              </a:spcBef>
              <a:spcAft>
                <a:spcPct val="0"/>
              </a:spcAft>
              <a:defRPr lang="de-DE" sz="14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6213" indent="-176213" algn="l" rtl="0" eaLnBrk="0" fontAlgn="base" hangingPunct="0">
              <a:lnSpc>
                <a:spcPct val="114000"/>
              </a:lnSpc>
              <a:spcBef>
                <a:spcPct val="0"/>
              </a:spcBef>
              <a:spcAft>
                <a:spcPct val="0"/>
              </a:spcAft>
              <a:buFont typeface="Arial" charset="0"/>
              <a:buChar char="•"/>
              <a:defRPr lang="de-DE" sz="14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363" indent="-184150" algn="l" rtl="0" eaLnBrk="0" fontAlgn="base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8163" indent="-177800" algn="l" rtl="0" eaLnBrk="0" fontAlgn="base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4375" indent="-176213" algn="l" rtl="0" eaLnBrk="0" fontAlgn="base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800" dirty="0"/>
              <a:t>Research topics and ML techniques</a:t>
            </a:r>
          </a:p>
        </p:txBody>
      </p:sp>
      <p:sp>
        <p:nvSpPr>
          <p:cNvPr id="41" name="Inhaltsplatzhalter 5">
            <a:extLst>
              <a:ext uri="{FF2B5EF4-FFF2-40B4-BE49-F238E27FC236}">
                <a16:creationId xmlns:a16="http://schemas.microsoft.com/office/drawing/2014/main" id="{0955CCD9-F60B-41E8-A854-4D9A8F7A333F}"/>
              </a:ext>
            </a:extLst>
          </p:cNvPr>
          <p:cNvSpPr txBox="1">
            <a:spLocks/>
          </p:cNvSpPr>
          <p:nvPr/>
        </p:nvSpPr>
        <p:spPr>
          <a:xfrm>
            <a:off x="4197898" y="2847785"/>
            <a:ext cx="5400000" cy="289438"/>
          </a:xfrm>
          <a:prstGeom prst="rect">
            <a:avLst/>
          </a:prstGeom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rtl="0" eaLnBrk="0" fontAlgn="base" hangingPunct="0">
              <a:lnSpc>
                <a:spcPct val="114000"/>
              </a:lnSpc>
              <a:spcBef>
                <a:spcPct val="0"/>
              </a:spcBef>
              <a:spcAft>
                <a:spcPct val="0"/>
              </a:spcAft>
              <a:defRPr lang="de-DE" sz="14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6213" indent="-176213" algn="l" rtl="0" eaLnBrk="0" fontAlgn="base" hangingPunct="0">
              <a:lnSpc>
                <a:spcPct val="114000"/>
              </a:lnSpc>
              <a:spcBef>
                <a:spcPct val="0"/>
              </a:spcBef>
              <a:spcAft>
                <a:spcPct val="0"/>
              </a:spcAft>
              <a:buFont typeface="Arial" charset="0"/>
              <a:buChar char="•"/>
              <a:defRPr lang="de-DE" sz="14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363" indent="-184150" algn="l" rtl="0" eaLnBrk="0" fontAlgn="base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8163" indent="-177800" algn="l" rtl="0" eaLnBrk="0" fontAlgn="base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4375" indent="-176213" algn="l" rtl="0" eaLnBrk="0" fontAlgn="base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800" dirty="0"/>
              <a:t>ML pipeline and TFX</a:t>
            </a:r>
          </a:p>
        </p:txBody>
      </p:sp>
      <p:sp>
        <p:nvSpPr>
          <p:cNvPr id="42" name="Inhaltsplatzhalter 5">
            <a:extLst>
              <a:ext uri="{FF2B5EF4-FFF2-40B4-BE49-F238E27FC236}">
                <a16:creationId xmlns:a16="http://schemas.microsoft.com/office/drawing/2014/main" id="{933A2EF2-9442-40E2-A60D-D4FF7B689FC5}"/>
              </a:ext>
            </a:extLst>
          </p:cNvPr>
          <p:cNvSpPr txBox="1">
            <a:spLocks/>
          </p:cNvSpPr>
          <p:nvPr/>
        </p:nvSpPr>
        <p:spPr>
          <a:xfrm>
            <a:off x="4197898" y="3667182"/>
            <a:ext cx="5400000" cy="289438"/>
          </a:xfrm>
          <a:prstGeom prst="rect">
            <a:avLst/>
          </a:prstGeom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rtl="0" eaLnBrk="0" fontAlgn="base" hangingPunct="0">
              <a:lnSpc>
                <a:spcPct val="114000"/>
              </a:lnSpc>
              <a:spcBef>
                <a:spcPct val="0"/>
              </a:spcBef>
              <a:spcAft>
                <a:spcPct val="0"/>
              </a:spcAft>
              <a:defRPr lang="de-DE" sz="14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6213" indent="-176213" algn="l" rtl="0" eaLnBrk="0" fontAlgn="base" hangingPunct="0">
              <a:lnSpc>
                <a:spcPct val="114000"/>
              </a:lnSpc>
              <a:spcBef>
                <a:spcPct val="0"/>
              </a:spcBef>
              <a:spcAft>
                <a:spcPct val="0"/>
              </a:spcAft>
              <a:buFont typeface="Arial" charset="0"/>
              <a:buChar char="•"/>
              <a:defRPr lang="de-DE" sz="14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363" indent="-184150" algn="l" rtl="0" eaLnBrk="0" fontAlgn="base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8163" indent="-177800" algn="l" rtl="0" eaLnBrk="0" fontAlgn="base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4375" indent="-176213" algn="l" rtl="0" eaLnBrk="0" fontAlgn="base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800" dirty="0"/>
              <a:t>Next steps</a:t>
            </a:r>
          </a:p>
        </p:txBody>
      </p:sp>
      <p:grpSp>
        <p:nvGrpSpPr>
          <p:cNvPr id="46" name="Group 45">
            <a:extLst>
              <a:ext uri="{FF2B5EF4-FFF2-40B4-BE49-F238E27FC236}">
                <a16:creationId xmlns:a16="http://schemas.microsoft.com/office/drawing/2014/main" id="{304C997D-C381-4BD8-8CD1-0A0C5C008BA0}"/>
              </a:ext>
            </a:extLst>
          </p:cNvPr>
          <p:cNvGrpSpPr>
            <a:grpSpLocks noChangeAspect="1"/>
          </p:cNvGrpSpPr>
          <p:nvPr/>
        </p:nvGrpSpPr>
        <p:grpSpPr>
          <a:xfrm>
            <a:off x="3202686" y="944638"/>
            <a:ext cx="818141" cy="818141"/>
            <a:chOff x="5273675" y="2606675"/>
            <a:chExt cx="1644650" cy="1644650"/>
          </a:xfrm>
        </p:grpSpPr>
        <p:sp>
          <p:nvSpPr>
            <p:cNvPr id="47" name="AutoShape 3">
              <a:extLst>
                <a:ext uri="{FF2B5EF4-FFF2-40B4-BE49-F238E27FC236}">
                  <a16:creationId xmlns:a16="http://schemas.microsoft.com/office/drawing/2014/main" id="{6ED4E34C-4EEB-432F-B776-682D5780922E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5273675" y="2606675"/>
              <a:ext cx="1644650" cy="16446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D4DF33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grpSp>
          <p:nvGrpSpPr>
            <p:cNvPr id="48" name="Group 47">
              <a:extLst>
                <a:ext uri="{FF2B5EF4-FFF2-40B4-BE49-F238E27FC236}">
                  <a16:creationId xmlns:a16="http://schemas.microsoft.com/office/drawing/2014/main" id="{FB8C8925-6CEC-498B-B7F3-CC1CB356F841}"/>
                </a:ext>
              </a:extLst>
            </p:cNvPr>
            <p:cNvGrpSpPr/>
            <p:nvPr/>
          </p:nvGrpSpPr>
          <p:grpSpPr>
            <a:xfrm>
              <a:off x="5443086" y="2924175"/>
              <a:ext cx="1305829" cy="1009650"/>
              <a:chOff x="5445551" y="2967038"/>
              <a:chExt cx="1305829" cy="1009650"/>
            </a:xfrm>
          </p:grpSpPr>
          <p:sp>
            <p:nvSpPr>
              <p:cNvPr id="49" name="Freeform 5">
                <a:extLst>
                  <a:ext uri="{FF2B5EF4-FFF2-40B4-BE49-F238E27FC236}">
                    <a16:creationId xmlns:a16="http://schemas.microsoft.com/office/drawing/2014/main" id="{AD0C6E4A-2609-4EE6-A3D9-79862FBA8D0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45551" y="2967038"/>
                <a:ext cx="1305829" cy="1009650"/>
              </a:xfrm>
              <a:custGeom>
                <a:avLst/>
                <a:gdLst>
                  <a:gd name="connsiteX0" fmla="*/ 752057 w 1305829"/>
                  <a:gd name="connsiteY0" fmla="*/ 24218 h 1009650"/>
                  <a:gd name="connsiteX1" fmla="*/ 788431 w 1305829"/>
                  <a:gd name="connsiteY1" fmla="*/ 34246 h 1009650"/>
                  <a:gd name="connsiteX2" fmla="*/ 826851 w 1305829"/>
                  <a:gd name="connsiteY2" fmla="*/ 55733 h 1009650"/>
                  <a:gd name="connsiteX3" fmla="*/ 886614 w 1305829"/>
                  <a:gd name="connsiteY3" fmla="*/ 55733 h 1009650"/>
                  <a:gd name="connsiteX4" fmla="*/ 925034 w 1305829"/>
                  <a:gd name="connsiteY4" fmla="*/ 31381 h 1009650"/>
                  <a:gd name="connsiteX5" fmla="*/ 925745 w 1305829"/>
                  <a:gd name="connsiteY5" fmla="*/ 31381 h 1009650"/>
                  <a:gd name="connsiteX6" fmla="*/ 930726 w 1305829"/>
                  <a:gd name="connsiteY6" fmla="*/ 34962 h 1009650"/>
                  <a:gd name="connsiteX7" fmla="*/ 930726 w 1305829"/>
                  <a:gd name="connsiteY7" fmla="*/ 35678 h 1009650"/>
                  <a:gd name="connsiteX8" fmla="*/ 931437 w 1305829"/>
                  <a:gd name="connsiteY8" fmla="*/ 191820 h 1009650"/>
                  <a:gd name="connsiteX9" fmla="*/ 927880 w 1305829"/>
                  <a:gd name="connsiteY9" fmla="*/ 198982 h 1009650"/>
                  <a:gd name="connsiteX10" fmla="*/ 876654 w 1305829"/>
                  <a:gd name="connsiteY10" fmla="*/ 228348 h 1009650"/>
                  <a:gd name="connsiteX11" fmla="*/ 826851 w 1305829"/>
                  <a:gd name="connsiteY11" fmla="*/ 224051 h 1009650"/>
                  <a:gd name="connsiteX12" fmla="*/ 792700 w 1305829"/>
                  <a:gd name="connsiteY12" fmla="*/ 205429 h 1009650"/>
                  <a:gd name="connsiteX13" fmla="*/ 705900 w 1305829"/>
                  <a:gd name="connsiteY13" fmla="*/ 203996 h 1009650"/>
                  <a:gd name="connsiteX14" fmla="*/ 698074 w 1305829"/>
                  <a:gd name="connsiteY14" fmla="*/ 208294 h 1009650"/>
                  <a:gd name="connsiteX15" fmla="*/ 698074 w 1305829"/>
                  <a:gd name="connsiteY15" fmla="*/ 39976 h 1009650"/>
                  <a:gd name="connsiteX16" fmla="*/ 715150 w 1305829"/>
                  <a:gd name="connsiteY16" fmla="*/ 31381 h 1009650"/>
                  <a:gd name="connsiteX17" fmla="*/ 752057 w 1305829"/>
                  <a:gd name="connsiteY17" fmla="*/ 24218 h 1009650"/>
                  <a:gd name="connsiteX18" fmla="*/ 651404 w 1305829"/>
                  <a:gd name="connsiteY18" fmla="*/ 0 h 1009650"/>
                  <a:gd name="connsiteX19" fmla="*/ 666387 w 1305829"/>
                  <a:gd name="connsiteY19" fmla="*/ 14984 h 1009650"/>
                  <a:gd name="connsiteX20" fmla="*/ 666387 w 1305829"/>
                  <a:gd name="connsiteY20" fmla="*/ 376032 h 1009650"/>
                  <a:gd name="connsiteX21" fmla="*/ 682085 w 1305829"/>
                  <a:gd name="connsiteY21" fmla="*/ 380314 h 1009650"/>
                  <a:gd name="connsiteX22" fmla="*/ 697782 w 1305829"/>
                  <a:gd name="connsiteY22" fmla="*/ 388162 h 1009650"/>
                  <a:gd name="connsiteX23" fmla="*/ 723468 w 1305829"/>
                  <a:gd name="connsiteY23" fmla="*/ 413850 h 1009650"/>
                  <a:gd name="connsiteX24" fmla="*/ 868311 w 1305829"/>
                  <a:gd name="connsiteY24" fmla="*/ 663586 h 1009650"/>
                  <a:gd name="connsiteX25" fmla="*/ 901847 w 1305829"/>
                  <a:gd name="connsiteY25" fmla="*/ 618634 h 1009650"/>
                  <a:gd name="connsiteX26" fmla="*/ 966776 w 1305829"/>
                  <a:gd name="connsiteY26" fmla="*/ 587238 h 1009650"/>
                  <a:gd name="connsiteX27" fmla="*/ 1030279 w 1305829"/>
                  <a:gd name="connsiteY27" fmla="*/ 617920 h 1009650"/>
                  <a:gd name="connsiteX28" fmla="*/ 1285003 w 1305829"/>
                  <a:gd name="connsiteY28" fmla="*/ 944005 h 1009650"/>
                  <a:gd name="connsiteX29" fmla="*/ 1304268 w 1305829"/>
                  <a:gd name="connsiteY29" fmla="*/ 1009650 h 1009650"/>
                  <a:gd name="connsiteX30" fmla="*/ 1287857 w 1305829"/>
                  <a:gd name="connsiteY30" fmla="*/ 1009650 h 1009650"/>
                  <a:gd name="connsiteX31" fmla="*/ 1285805 w 1305829"/>
                  <a:gd name="connsiteY31" fmla="*/ 1009650 h 1009650"/>
                  <a:gd name="connsiteX32" fmla="*/ 1272160 w 1305829"/>
                  <a:gd name="connsiteY32" fmla="*/ 1009650 h 1009650"/>
                  <a:gd name="connsiteX33" fmla="*/ 1273587 w 1305829"/>
                  <a:gd name="connsiteY33" fmla="*/ 1004655 h 1009650"/>
                  <a:gd name="connsiteX34" fmla="*/ 1273587 w 1305829"/>
                  <a:gd name="connsiteY34" fmla="*/ 1001088 h 1009650"/>
                  <a:gd name="connsiteX35" fmla="*/ 1274300 w 1305829"/>
                  <a:gd name="connsiteY35" fmla="*/ 998234 h 1009650"/>
                  <a:gd name="connsiteX36" fmla="*/ 1274300 w 1305829"/>
                  <a:gd name="connsiteY36" fmla="*/ 994666 h 1009650"/>
                  <a:gd name="connsiteX37" fmla="*/ 1274300 w 1305829"/>
                  <a:gd name="connsiteY37" fmla="*/ 991098 h 1009650"/>
                  <a:gd name="connsiteX38" fmla="*/ 1260743 w 1305829"/>
                  <a:gd name="connsiteY38" fmla="*/ 965411 h 1009650"/>
                  <a:gd name="connsiteX39" fmla="*/ 1006019 w 1305829"/>
                  <a:gd name="connsiteY39" fmla="*/ 637186 h 1009650"/>
                  <a:gd name="connsiteX40" fmla="*/ 1002452 w 1305829"/>
                  <a:gd name="connsiteY40" fmla="*/ 633618 h 1009650"/>
                  <a:gd name="connsiteX41" fmla="*/ 1002452 w 1305829"/>
                  <a:gd name="connsiteY41" fmla="*/ 632904 h 1009650"/>
                  <a:gd name="connsiteX42" fmla="*/ 1000311 w 1305829"/>
                  <a:gd name="connsiteY42" fmla="*/ 631477 h 1009650"/>
                  <a:gd name="connsiteX43" fmla="*/ 983901 w 1305829"/>
                  <a:gd name="connsiteY43" fmla="*/ 621488 h 1009650"/>
                  <a:gd name="connsiteX44" fmla="*/ 966776 w 1305829"/>
                  <a:gd name="connsiteY44" fmla="*/ 618634 h 1009650"/>
                  <a:gd name="connsiteX45" fmla="*/ 927533 w 1305829"/>
                  <a:gd name="connsiteY45" fmla="*/ 637899 h 1009650"/>
                  <a:gd name="connsiteX46" fmla="*/ 918971 w 1305829"/>
                  <a:gd name="connsiteY46" fmla="*/ 649316 h 1009650"/>
                  <a:gd name="connsiteX47" fmla="*/ 865457 w 1305829"/>
                  <a:gd name="connsiteY47" fmla="*/ 719956 h 1009650"/>
                  <a:gd name="connsiteX48" fmla="*/ 809803 w 1305829"/>
                  <a:gd name="connsiteY48" fmla="*/ 625056 h 1009650"/>
                  <a:gd name="connsiteX49" fmla="*/ 697782 w 1305829"/>
                  <a:gd name="connsiteY49" fmla="*/ 432401 h 1009650"/>
                  <a:gd name="connsiteX50" fmla="*/ 696355 w 1305829"/>
                  <a:gd name="connsiteY50" fmla="*/ 429547 h 1009650"/>
                  <a:gd name="connsiteX51" fmla="*/ 682085 w 1305829"/>
                  <a:gd name="connsiteY51" fmla="*/ 415277 h 1009650"/>
                  <a:gd name="connsiteX52" fmla="*/ 681371 w 1305829"/>
                  <a:gd name="connsiteY52" fmla="*/ 414563 h 1009650"/>
                  <a:gd name="connsiteX53" fmla="*/ 666387 w 1305829"/>
                  <a:gd name="connsiteY53" fmla="*/ 408141 h 1009650"/>
                  <a:gd name="connsiteX54" fmla="*/ 654258 w 1305829"/>
                  <a:gd name="connsiteY54" fmla="*/ 406714 h 1009650"/>
                  <a:gd name="connsiteX55" fmla="*/ 636420 w 1305829"/>
                  <a:gd name="connsiteY55" fmla="*/ 409568 h 1009650"/>
                  <a:gd name="connsiteX56" fmla="*/ 620723 w 1305829"/>
                  <a:gd name="connsiteY56" fmla="*/ 418844 h 1009650"/>
                  <a:gd name="connsiteX57" fmla="*/ 615728 w 1305829"/>
                  <a:gd name="connsiteY57" fmla="*/ 424553 h 1009650"/>
                  <a:gd name="connsiteX58" fmla="*/ 609306 w 1305829"/>
                  <a:gd name="connsiteY58" fmla="*/ 433829 h 1009650"/>
                  <a:gd name="connsiteX59" fmla="*/ 605025 w 1305829"/>
                  <a:gd name="connsiteY59" fmla="*/ 444532 h 1009650"/>
                  <a:gd name="connsiteX60" fmla="*/ 494431 w 1305829"/>
                  <a:gd name="connsiteY60" fmla="*/ 690701 h 1009650"/>
                  <a:gd name="connsiteX61" fmla="*/ 477307 w 1305829"/>
                  <a:gd name="connsiteY61" fmla="*/ 728518 h 1009650"/>
                  <a:gd name="connsiteX62" fmla="*/ 469458 w 1305829"/>
                  <a:gd name="connsiteY62" fmla="*/ 724237 h 1009650"/>
                  <a:gd name="connsiteX63" fmla="*/ 410236 w 1305829"/>
                  <a:gd name="connsiteY63" fmla="*/ 686419 h 1009650"/>
                  <a:gd name="connsiteX64" fmla="*/ 409523 w 1305829"/>
                  <a:gd name="connsiteY64" fmla="*/ 686419 h 1009650"/>
                  <a:gd name="connsiteX65" fmla="*/ 400247 w 1305829"/>
                  <a:gd name="connsiteY65" fmla="*/ 681425 h 1009650"/>
                  <a:gd name="connsiteX66" fmla="*/ 382409 w 1305829"/>
                  <a:gd name="connsiteY66" fmla="*/ 678571 h 1009650"/>
                  <a:gd name="connsiteX67" fmla="*/ 348161 w 1305829"/>
                  <a:gd name="connsiteY67" fmla="*/ 691414 h 1009650"/>
                  <a:gd name="connsiteX68" fmla="*/ 70605 w 1305829"/>
                  <a:gd name="connsiteY68" fmla="*/ 941151 h 1009650"/>
                  <a:gd name="connsiteX69" fmla="*/ 45632 w 1305829"/>
                  <a:gd name="connsiteY69" fmla="*/ 963270 h 1009650"/>
                  <a:gd name="connsiteX70" fmla="*/ 31361 w 1305829"/>
                  <a:gd name="connsiteY70" fmla="*/ 998234 h 1009650"/>
                  <a:gd name="connsiteX71" fmla="*/ 33502 w 1305829"/>
                  <a:gd name="connsiteY71" fmla="*/ 1009650 h 1009650"/>
                  <a:gd name="connsiteX72" fmla="*/ 17091 w 1305829"/>
                  <a:gd name="connsiteY72" fmla="*/ 1009650 h 1009650"/>
                  <a:gd name="connsiteX73" fmla="*/ 1394 w 1305829"/>
                  <a:gd name="connsiteY73" fmla="*/ 1009650 h 1009650"/>
                  <a:gd name="connsiteX74" fmla="*/ 24940 w 1305829"/>
                  <a:gd name="connsiteY74" fmla="*/ 939724 h 1009650"/>
                  <a:gd name="connsiteX75" fmla="*/ 327469 w 1305829"/>
                  <a:gd name="connsiteY75" fmla="*/ 667868 h 1009650"/>
                  <a:gd name="connsiteX76" fmla="*/ 382409 w 1305829"/>
                  <a:gd name="connsiteY76" fmla="*/ 647175 h 1009650"/>
                  <a:gd name="connsiteX77" fmla="*/ 425934 w 1305829"/>
                  <a:gd name="connsiteY77" fmla="*/ 659305 h 1009650"/>
                  <a:gd name="connsiteX78" fmla="*/ 426647 w 1305829"/>
                  <a:gd name="connsiteY78" fmla="*/ 659305 h 1009650"/>
                  <a:gd name="connsiteX79" fmla="*/ 463036 w 1305829"/>
                  <a:gd name="connsiteY79" fmla="*/ 682852 h 1009650"/>
                  <a:gd name="connsiteX80" fmla="*/ 580766 w 1305829"/>
                  <a:gd name="connsiteY80" fmla="*/ 420985 h 1009650"/>
                  <a:gd name="connsiteX81" fmla="*/ 605025 w 1305829"/>
                  <a:gd name="connsiteY81" fmla="*/ 391017 h 1009650"/>
                  <a:gd name="connsiteX82" fmla="*/ 620723 w 1305829"/>
                  <a:gd name="connsiteY82" fmla="*/ 382454 h 1009650"/>
                  <a:gd name="connsiteX83" fmla="*/ 636420 w 1305829"/>
                  <a:gd name="connsiteY83" fmla="*/ 376746 h 1009650"/>
                  <a:gd name="connsiteX84" fmla="*/ 636420 w 1305829"/>
                  <a:gd name="connsiteY84" fmla="*/ 14984 h 1009650"/>
                  <a:gd name="connsiteX85" fmla="*/ 651404 w 1305829"/>
                  <a:gd name="connsiteY85" fmla="*/ 0 h 10096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</a:cxnLst>
                <a:rect l="l" t="t" r="r" b="b"/>
                <a:pathLst>
                  <a:path w="1305829" h="1009650">
                    <a:moveTo>
                      <a:pt x="752057" y="24218"/>
                    </a:moveTo>
                    <a:cubicBezTo>
                      <a:pt x="764241" y="24756"/>
                      <a:pt x="776336" y="28158"/>
                      <a:pt x="788431" y="34246"/>
                    </a:cubicBezTo>
                    <a:cubicBezTo>
                      <a:pt x="801238" y="41408"/>
                      <a:pt x="814044" y="48571"/>
                      <a:pt x="826851" y="55733"/>
                    </a:cubicBezTo>
                    <a:cubicBezTo>
                      <a:pt x="846772" y="65761"/>
                      <a:pt x="866693" y="65761"/>
                      <a:pt x="886614" y="55733"/>
                    </a:cubicBezTo>
                    <a:cubicBezTo>
                      <a:pt x="900132" y="48571"/>
                      <a:pt x="912227" y="39976"/>
                      <a:pt x="925034" y="31381"/>
                    </a:cubicBezTo>
                    <a:cubicBezTo>
                      <a:pt x="925034" y="31381"/>
                      <a:pt x="925034" y="31381"/>
                      <a:pt x="925745" y="31381"/>
                    </a:cubicBezTo>
                    <a:cubicBezTo>
                      <a:pt x="927880" y="29948"/>
                      <a:pt x="930726" y="32097"/>
                      <a:pt x="930726" y="34962"/>
                    </a:cubicBezTo>
                    <a:cubicBezTo>
                      <a:pt x="930726" y="34962"/>
                      <a:pt x="930726" y="34962"/>
                      <a:pt x="930726" y="35678"/>
                    </a:cubicBezTo>
                    <a:cubicBezTo>
                      <a:pt x="930726" y="87964"/>
                      <a:pt x="930726" y="139534"/>
                      <a:pt x="931437" y="191820"/>
                    </a:cubicBezTo>
                    <a:cubicBezTo>
                      <a:pt x="931437" y="194685"/>
                      <a:pt x="930014" y="197550"/>
                      <a:pt x="927880" y="198982"/>
                    </a:cubicBezTo>
                    <a:cubicBezTo>
                      <a:pt x="912227" y="210442"/>
                      <a:pt x="895864" y="222618"/>
                      <a:pt x="876654" y="228348"/>
                    </a:cubicBezTo>
                    <a:cubicBezTo>
                      <a:pt x="859579" y="233362"/>
                      <a:pt x="843215" y="231930"/>
                      <a:pt x="826851" y="224051"/>
                    </a:cubicBezTo>
                    <a:cubicBezTo>
                      <a:pt x="815467" y="219037"/>
                      <a:pt x="803372" y="211875"/>
                      <a:pt x="792700" y="205429"/>
                    </a:cubicBezTo>
                    <a:cubicBezTo>
                      <a:pt x="764241" y="188239"/>
                      <a:pt x="735071" y="188955"/>
                      <a:pt x="705900" y="203996"/>
                    </a:cubicBezTo>
                    <a:cubicBezTo>
                      <a:pt x="703766" y="205429"/>
                      <a:pt x="700920" y="206861"/>
                      <a:pt x="698074" y="208294"/>
                    </a:cubicBezTo>
                    <a:cubicBezTo>
                      <a:pt x="698074" y="208294"/>
                      <a:pt x="698074" y="208294"/>
                      <a:pt x="698074" y="39976"/>
                    </a:cubicBezTo>
                    <a:cubicBezTo>
                      <a:pt x="704478" y="36395"/>
                      <a:pt x="711592" y="32813"/>
                      <a:pt x="715150" y="31381"/>
                    </a:cubicBezTo>
                    <a:cubicBezTo>
                      <a:pt x="727601" y="26009"/>
                      <a:pt x="739873" y="23681"/>
                      <a:pt x="752057" y="24218"/>
                    </a:cubicBezTo>
                    <a:close/>
                    <a:moveTo>
                      <a:pt x="651404" y="0"/>
                    </a:moveTo>
                    <a:cubicBezTo>
                      <a:pt x="659252" y="0"/>
                      <a:pt x="666387" y="6422"/>
                      <a:pt x="666387" y="14984"/>
                    </a:cubicBezTo>
                    <a:cubicBezTo>
                      <a:pt x="666387" y="14984"/>
                      <a:pt x="666387" y="79916"/>
                      <a:pt x="666387" y="376032"/>
                    </a:cubicBezTo>
                    <a:cubicBezTo>
                      <a:pt x="672096" y="376746"/>
                      <a:pt x="677090" y="378173"/>
                      <a:pt x="682085" y="380314"/>
                    </a:cubicBezTo>
                    <a:cubicBezTo>
                      <a:pt x="687793" y="382454"/>
                      <a:pt x="692787" y="384595"/>
                      <a:pt x="697782" y="388162"/>
                    </a:cubicBezTo>
                    <a:cubicBezTo>
                      <a:pt x="708485" y="394584"/>
                      <a:pt x="717047" y="403147"/>
                      <a:pt x="723468" y="413850"/>
                    </a:cubicBezTo>
                    <a:cubicBezTo>
                      <a:pt x="723468" y="413850"/>
                      <a:pt x="723468" y="413850"/>
                      <a:pt x="868311" y="663586"/>
                    </a:cubicBezTo>
                    <a:cubicBezTo>
                      <a:pt x="868311" y="663586"/>
                      <a:pt x="868311" y="663586"/>
                      <a:pt x="901847" y="618634"/>
                    </a:cubicBezTo>
                    <a:cubicBezTo>
                      <a:pt x="916830" y="599368"/>
                      <a:pt x="941090" y="587238"/>
                      <a:pt x="966776" y="587238"/>
                    </a:cubicBezTo>
                    <a:cubicBezTo>
                      <a:pt x="992463" y="587238"/>
                      <a:pt x="1015295" y="598655"/>
                      <a:pt x="1030279" y="617920"/>
                    </a:cubicBezTo>
                    <a:cubicBezTo>
                      <a:pt x="1030279" y="617920"/>
                      <a:pt x="1030279" y="617920"/>
                      <a:pt x="1285003" y="944005"/>
                    </a:cubicBezTo>
                    <a:cubicBezTo>
                      <a:pt x="1302127" y="961843"/>
                      <a:pt x="1309262" y="986104"/>
                      <a:pt x="1304268" y="1009650"/>
                    </a:cubicBezTo>
                    <a:cubicBezTo>
                      <a:pt x="1304268" y="1009650"/>
                      <a:pt x="1304268" y="1009650"/>
                      <a:pt x="1287857" y="1009650"/>
                    </a:cubicBezTo>
                    <a:cubicBezTo>
                      <a:pt x="1287857" y="1009650"/>
                      <a:pt x="1287857" y="1009650"/>
                      <a:pt x="1285805" y="1009650"/>
                    </a:cubicBezTo>
                    <a:lnTo>
                      <a:pt x="1272160" y="1009650"/>
                    </a:lnTo>
                    <a:cubicBezTo>
                      <a:pt x="1272160" y="1007510"/>
                      <a:pt x="1272873" y="1006082"/>
                      <a:pt x="1273587" y="1004655"/>
                    </a:cubicBezTo>
                    <a:cubicBezTo>
                      <a:pt x="1273587" y="1003228"/>
                      <a:pt x="1273587" y="1002515"/>
                      <a:pt x="1273587" y="1001088"/>
                    </a:cubicBezTo>
                    <a:cubicBezTo>
                      <a:pt x="1274300" y="1000374"/>
                      <a:pt x="1274300" y="998947"/>
                      <a:pt x="1274300" y="998234"/>
                    </a:cubicBezTo>
                    <a:cubicBezTo>
                      <a:pt x="1274300" y="996807"/>
                      <a:pt x="1274300" y="996093"/>
                      <a:pt x="1274300" y="994666"/>
                    </a:cubicBezTo>
                    <a:cubicBezTo>
                      <a:pt x="1274300" y="993239"/>
                      <a:pt x="1274300" y="992525"/>
                      <a:pt x="1274300" y="991098"/>
                    </a:cubicBezTo>
                    <a:cubicBezTo>
                      <a:pt x="1272873" y="981822"/>
                      <a:pt x="1268592" y="972546"/>
                      <a:pt x="1260743" y="965411"/>
                    </a:cubicBezTo>
                    <a:cubicBezTo>
                      <a:pt x="1260743" y="965411"/>
                      <a:pt x="1260743" y="965411"/>
                      <a:pt x="1006019" y="637186"/>
                    </a:cubicBezTo>
                    <a:cubicBezTo>
                      <a:pt x="1004592" y="635759"/>
                      <a:pt x="1003879" y="634331"/>
                      <a:pt x="1002452" y="633618"/>
                    </a:cubicBezTo>
                    <a:cubicBezTo>
                      <a:pt x="1002452" y="633618"/>
                      <a:pt x="1002452" y="632904"/>
                      <a:pt x="1002452" y="632904"/>
                    </a:cubicBezTo>
                    <a:cubicBezTo>
                      <a:pt x="1001738" y="632904"/>
                      <a:pt x="1001025" y="632191"/>
                      <a:pt x="1000311" y="631477"/>
                    </a:cubicBezTo>
                    <a:cubicBezTo>
                      <a:pt x="995317" y="627196"/>
                      <a:pt x="989609" y="623628"/>
                      <a:pt x="983901" y="621488"/>
                    </a:cubicBezTo>
                    <a:cubicBezTo>
                      <a:pt x="978192" y="620061"/>
                      <a:pt x="972484" y="618634"/>
                      <a:pt x="966776" y="618634"/>
                    </a:cubicBezTo>
                    <a:cubicBezTo>
                      <a:pt x="951079" y="618634"/>
                      <a:pt x="936095" y="625769"/>
                      <a:pt x="927533" y="637899"/>
                    </a:cubicBezTo>
                    <a:cubicBezTo>
                      <a:pt x="927533" y="637899"/>
                      <a:pt x="927533" y="637899"/>
                      <a:pt x="918971" y="649316"/>
                    </a:cubicBezTo>
                    <a:cubicBezTo>
                      <a:pt x="918971" y="649316"/>
                      <a:pt x="918971" y="649316"/>
                      <a:pt x="865457" y="719956"/>
                    </a:cubicBezTo>
                    <a:cubicBezTo>
                      <a:pt x="865457" y="719956"/>
                      <a:pt x="865457" y="719956"/>
                      <a:pt x="809803" y="625056"/>
                    </a:cubicBezTo>
                    <a:cubicBezTo>
                      <a:pt x="809803" y="625056"/>
                      <a:pt x="809803" y="625056"/>
                      <a:pt x="697782" y="432401"/>
                    </a:cubicBezTo>
                    <a:cubicBezTo>
                      <a:pt x="697782" y="432401"/>
                      <a:pt x="697782" y="432401"/>
                      <a:pt x="696355" y="429547"/>
                    </a:cubicBezTo>
                    <a:cubicBezTo>
                      <a:pt x="692787" y="423839"/>
                      <a:pt x="687793" y="418844"/>
                      <a:pt x="682085" y="415277"/>
                    </a:cubicBezTo>
                    <a:cubicBezTo>
                      <a:pt x="682085" y="414563"/>
                      <a:pt x="682085" y="414563"/>
                      <a:pt x="681371" y="414563"/>
                    </a:cubicBezTo>
                    <a:cubicBezTo>
                      <a:pt x="677090" y="411709"/>
                      <a:pt x="672096" y="409568"/>
                      <a:pt x="666387" y="408141"/>
                    </a:cubicBezTo>
                    <a:cubicBezTo>
                      <a:pt x="662820" y="407428"/>
                      <a:pt x="658539" y="406714"/>
                      <a:pt x="654258" y="406714"/>
                    </a:cubicBezTo>
                    <a:cubicBezTo>
                      <a:pt x="647836" y="406714"/>
                      <a:pt x="641415" y="407428"/>
                      <a:pt x="636420" y="409568"/>
                    </a:cubicBezTo>
                    <a:cubicBezTo>
                      <a:pt x="629998" y="411709"/>
                      <a:pt x="625004" y="415277"/>
                      <a:pt x="620723" y="418844"/>
                    </a:cubicBezTo>
                    <a:cubicBezTo>
                      <a:pt x="618582" y="420985"/>
                      <a:pt x="617155" y="422412"/>
                      <a:pt x="615728" y="424553"/>
                    </a:cubicBezTo>
                    <a:cubicBezTo>
                      <a:pt x="612874" y="427407"/>
                      <a:pt x="610733" y="430261"/>
                      <a:pt x="609306" y="433829"/>
                    </a:cubicBezTo>
                    <a:cubicBezTo>
                      <a:pt x="609306" y="433829"/>
                      <a:pt x="609306" y="433829"/>
                      <a:pt x="605025" y="444532"/>
                    </a:cubicBezTo>
                    <a:cubicBezTo>
                      <a:pt x="605025" y="444532"/>
                      <a:pt x="605025" y="444532"/>
                      <a:pt x="494431" y="690701"/>
                    </a:cubicBezTo>
                    <a:cubicBezTo>
                      <a:pt x="494431" y="690701"/>
                      <a:pt x="494431" y="690701"/>
                      <a:pt x="477307" y="728518"/>
                    </a:cubicBezTo>
                    <a:cubicBezTo>
                      <a:pt x="477307" y="728518"/>
                      <a:pt x="477307" y="728518"/>
                      <a:pt x="469458" y="724237"/>
                    </a:cubicBezTo>
                    <a:cubicBezTo>
                      <a:pt x="469458" y="724237"/>
                      <a:pt x="469458" y="724237"/>
                      <a:pt x="410236" y="686419"/>
                    </a:cubicBezTo>
                    <a:cubicBezTo>
                      <a:pt x="410236" y="686419"/>
                      <a:pt x="410236" y="686419"/>
                      <a:pt x="409523" y="686419"/>
                    </a:cubicBezTo>
                    <a:cubicBezTo>
                      <a:pt x="406669" y="684279"/>
                      <a:pt x="403815" y="682852"/>
                      <a:pt x="400247" y="681425"/>
                    </a:cubicBezTo>
                    <a:cubicBezTo>
                      <a:pt x="394539" y="679998"/>
                      <a:pt x="388831" y="678571"/>
                      <a:pt x="382409" y="678571"/>
                    </a:cubicBezTo>
                    <a:cubicBezTo>
                      <a:pt x="369566" y="678571"/>
                      <a:pt x="357437" y="682852"/>
                      <a:pt x="348161" y="691414"/>
                    </a:cubicBezTo>
                    <a:cubicBezTo>
                      <a:pt x="348161" y="691414"/>
                      <a:pt x="348161" y="691414"/>
                      <a:pt x="70605" y="941151"/>
                    </a:cubicBezTo>
                    <a:cubicBezTo>
                      <a:pt x="70605" y="941151"/>
                      <a:pt x="70605" y="941151"/>
                      <a:pt x="45632" y="963270"/>
                    </a:cubicBezTo>
                    <a:cubicBezTo>
                      <a:pt x="35642" y="972546"/>
                      <a:pt x="30648" y="985390"/>
                      <a:pt x="31361" y="998234"/>
                    </a:cubicBezTo>
                    <a:cubicBezTo>
                      <a:pt x="31361" y="1002515"/>
                      <a:pt x="32075" y="1006082"/>
                      <a:pt x="33502" y="1009650"/>
                    </a:cubicBezTo>
                    <a:cubicBezTo>
                      <a:pt x="33502" y="1009650"/>
                      <a:pt x="33502" y="1009650"/>
                      <a:pt x="17091" y="1009650"/>
                    </a:cubicBezTo>
                    <a:cubicBezTo>
                      <a:pt x="17091" y="1009650"/>
                      <a:pt x="17091" y="1009650"/>
                      <a:pt x="1394" y="1009650"/>
                    </a:cubicBezTo>
                    <a:cubicBezTo>
                      <a:pt x="-3601" y="984676"/>
                      <a:pt x="4961" y="958276"/>
                      <a:pt x="24940" y="939724"/>
                    </a:cubicBezTo>
                    <a:cubicBezTo>
                      <a:pt x="24940" y="939724"/>
                      <a:pt x="24940" y="939724"/>
                      <a:pt x="327469" y="667868"/>
                    </a:cubicBezTo>
                    <a:cubicBezTo>
                      <a:pt x="342453" y="654310"/>
                      <a:pt x="361718" y="647175"/>
                      <a:pt x="382409" y="647175"/>
                    </a:cubicBezTo>
                    <a:cubicBezTo>
                      <a:pt x="398107" y="647175"/>
                      <a:pt x="413091" y="651456"/>
                      <a:pt x="425934" y="659305"/>
                    </a:cubicBezTo>
                    <a:cubicBezTo>
                      <a:pt x="425934" y="659305"/>
                      <a:pt x="425934" y="659305"/>
                      <a:pt x="426647" y="659305"/>
                    </a:cubicBezTo>
                    <a:cubicBezTo>
                      <a:pt x="426647" y="659305"/>
                      <a:pt x="426647" y="659305"/>
                      <a:pt x="463036" y="682852"/>
                    </a:cubicBezTo>
                    <a:cubicBezTo>
                      <a:pt x="463036" y="682852"/>
                      <a:pt x="463036" y="682852"/>
                      <a:pt x="580766" y="420985"/>
                    </a:cubicBezTo>
                    <a:cubicBezTo>
                      <a:pt x="586474" y="408855"/>
                      <a:pt x="594323" y="398865"/>
                      <a:pt x="605025" y="391017"/>
                    </a:cubicBezTo>
                    <a:cubicBezTo>
                      <a:pt x="609306" y="387449"/>
                      <a:pt x="615015" y="384595"/>
                      <a:pt x="620723" y="382454"/>
                    </a:cubicBezTo>
                    <a:cubicBezTo>
                      <a:pt x="625717" y="380314"/>
                      <a:pt x="630712" y="378173"/>
                      <a:pt x="636420" y="376746"/>
                    </a:cubicBezTo>
                    <a:cubicBezTo>
                      <a:pt x="636420" y="303252"/>
                      <a:pt x="636420" y="189800"/>
                      <a:pt x="636420" y="14984"/>
                    </a:cubicBezTo>
                    <a:cubicBezTo>
                      <a:pt x="636420" y="6422"/>
                      <a:pt x="642842" y="0"/>
                      <a:pt x="651404" y="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dirty="0"/>
              </a:p>
            </p:txBody>
          </p:sp>
          <p:sp>
            <p:nvSpPr>
              <p:cNvPr id="50" name="Freeform 7">
                <a:extLst>
                  <a:ext uri="{FF2B5EF4-FFF2-40B4-BE49-F238E27FC236}">
                    <a16:creationId xmlns:a16="http://schemas.microsoft.com/office/drawing/2014/main" id="{DD0FA0C2-8182-4825-A08D-574E709B4E2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02275" y="3405188"/>
                <a:ext cx="1192213" cy="571500"/>
              </a:xfrm>
              <a:custGeom>
                <a:avLst/>
                <a:gdLst>
                  <a:gd name="T0" fmla="*/ 1655 w 1670"/>
                  <a:gd name="T1" fmla="*/ 769 h 801"/>
                  <a:gd name="T2" fmla="*/ 1295 w 1670"/>
                  <a:gd name="T3" fmla="*/ 306 h 801"/>
                  <a:gd name="T4" fmla="*/ 1275 w 1670"/>
                  <a:gd name="T5" fmla="*/ 297 h 801"/>
                  <a:gd name="T6" fmla="*/ 1255 w 1670"/>
                  <a:gd name="T7" fmla="*/ 306 h 801"/>
                  <a:gd name="T8" fmla="*/ 1146 w 1670"/>
                  <a:gd name="T9" fmla="*/ 450 h 801"/>
                  <a:gd name="T10" fmla="*/ 1130 w 1670"/>
                  <a:gd name="T11" fmla="*/ 458 h 801"/>
                  <a:gd name="T12" fmla="*/ 1113 w 1670"/>
                  <a:gd name="T13" fmla="*/ 448 h 801"/>
                  <a:gd name="T14" fmla="*/ 898 w 1670"/>
                  <a:gd name="T15" fmla="*/ 80 h 801"/>
                  <a:gd name="T16" fmla="*/ 876 w 1670"/>
                  <a:gd name="T17" fmla="*/ 42 h 801"/>
                  <a:gd name="T18" fmla="*/ 858 w 1670"/>
                  <a:gd name="T19" fmla="*/ 11 h 801"/>
                  <a:gd name="T20" fmla="*/ 854 w 1670"/>
                  <a:gd name="T21" fmla="*/ 6 h 801"/>
                  <a:gd name="T22" fmla="*/ 837 w 1670"/>
                  <a:gd name="T23" fmla="*/ 0 h 801"/>
                  <a:gd name="T24" fmla="*/ 814 w 1670"/>
                  <a:gd name="T25" fmla="*/ 12 h 801"/>
                  <a:gd name="T26" fmla="*/ 812 w 1670"/>
                  <a:gd name="T27" fmla="*/ 18 h 801"/>
                  <a:gd name="T28" fmla="*/ 790 w 1670"/>
                  <a:gd name="T29" fmla="*/ 67 h 801"/>
                  <a:gd name="T30" fmla="*/ 768 w 1670"/>
                  <a:gd name="T31" fmla="*/ 116 h 801"/>
                  <a:gd name="T32" fmla="*/ 617 w 1670"/>
                  <a:gd name="T33" fmla="*/ 451 h 801"/>
                  <a:gd name="T34" fmla="*/ 599 w 1670"/>
                  <a:gd name="T35" fmla="*/ 463 h 801"/>
                  <a:gd name="T36" fmla="*/ 588 w 1670"/>
                  <a:gd name="T37" fmla="*/ 459 h 801"/>
                  <a:gd name="T38" fmla="*/ 471 w 1670"/>
                  <a:gd name="T39" fmla="*/ 385 h 801"/>
                  <a:gd name="T40" fmla="*/ 456 w 1670"/>
                  <a:gd name="T41" fmla="*/ 381 h 801"/>
                  <a:gd name="T42" fmla="*/ 437 w 1670"/>
                  <a:gd name="T43" fmla="*/ 388 h 801"/>
                  <a:gd name="T44" fmla="*/ 14 w 1670"/>
                  <a:gd name="T45" fmla="*/ 769 h 801"/>
                  <a:gd name="T46" fmla="*/ 32 w 1670"/>
                  <a:gd name="T47" fmla="*/ 801 h 801"/>
                  <a:gd name="T48" fmla="*/ 1637 w 1670"/>
                  <a:gd name="T49" fmla="*/ 801 h 801"/>
                  <a:gd name="T50" fmla="*/ 1655 w 1670"/>
                  <a:gd name="T51" fmla="*/ 769 h 8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1670" h="801">
                    <a:moveTo>
                      <a:pt x="1655" y="769"/>
                    </a:moveTo>
                    <a:cubicBezTo>
                      <a:pt x="1295" y="306"/>
                      <a:pt x="1295" y="306"/>
                      <a:pt x="1295" y="306"/>
                    </a:cubicBezTo>
                    <a:cubicBezTo>
                      <a:pt x="1290" y="300"/>
                      <a:pt x="1283" y="297"/>
                      <a:pt x="1275" y="297"/>
                    </a:cubicBezTo>
                    <a:cubicBezTo>
                      <a:pt x="1267" y="297"/>
                      <a:pt x="1259" y="300"/>
                      <a:pt x="1255" y="306"/>
                    </a:cubicBezTo>
                    <a:cubicBezTo>
                      <a:pt x="1146" y="450"/>
                      <a:pt x="1146" y="450"/>
                      <a:pt x="1146" y="450"/>
                    </a:cubicBezTo>
                    <a:cubicBezTo>
                      <a:pt x="1142" y="456"/>
                      <a:pt x="1136" y="458"/>
                      <a:pt x="1130" y="458"/>
                    </a:cubicBezTo>
                    <a:cubicBezTo>
                      <a:pt x="1123" y="458"/>
                      <a:pt x="1117" y="455"/>
                      <a:pt x="1113" y="448"/>
                    </a:cubicBezTo>
                    <a:cubicBezTo>
                      <a:pt x="898" y="80"/>
                      <a:pt x="898" y="80"/>
                      <a:pt x="898" y="80"/>
                    </a:cubicBezTo>
                    <a:cubicBezTo>
                      <a:pt x="876" y="42"/>
                      <a:pt x="876" y="42"/>
                      <a:pt x="876" y="42"/>
                    </a:cubicBezTo>
                    <a:cubicBezTo>
                      <a:pt x="858" y="11"/>
                      <a:pt x="858" y="11"/>
                      <a:pt x="858" y="11"/>
                    </a:cubicBezTo>
                    <a:cubicBezTo>
                      <a:pt x="857" y="9"/>
                      <a:pt x="856" y="7"/>
                      <a:pt x="854" y="6"/>
                    </a:cubicBezTo>
                    <a:cubicBezTo>
                      <a:pt x="850" y="2"/>
                      <a:pt x="843" y="0"/>
                      <a:pt x="837" y="0"/>
                    </a:cubicBezTo>
                    <a:cubicBezTo>
                      <a:pt x="827" y="0"/>
                      <a:pt x="818" y="4"/>
                      <a:pt x="814" y="12"/>
                    </a:cubicBezTo>
                    <a:cubicBezTo>
                      <a:pt x="812" y="18"/>
                      <a:pt x="812" y="18"/>
                      <a:pt x="812" y="18"/>
                    </a:cubicBezTo>
                    <a:cubicBezTo>
                      <a:pt x="790" y="67"/>
                      <a:pt x="790" y="67"/>
                      <a:pt x="790" y="67"/>
                    </a:cubicBezTo>
                    <a:cubicBezTo>
                      <a:pt x="768" y="116"/>
                      <a:pt x="768" y="116"/>
                      <a:pt x="768" y="116"/>
                    </a:cubicBezTo>
                    <a:cubicBezTo>
                      <a:pt x="617" y="451"/>
                      <a:pt x="617" y="451"/>
                      <a:pt x="617" y="451"/>
                    </a:cubicBezTo>
                    <a:cubicBezTo>
                      <a:pt x="614" y="458"/>
                      <a:pt x="607" y="463"/>
                      <a:pt x="599" y="463"/>
                    </a:cubicBezTo>
                    <a:cubicBezTo>
                      <a:pt x="595" y="463"/>
                      <a:pt x="592" y="462"/>
                      <a:pt x="588" y="459"/>
                    </a:cubicBezTo>
                    <a:cubicBezTo>
                      <a:pt x="471" y="385"/>
                      <a:pt x="471" y="385"/>
                      <a:pt x="471" y="385"/>
                    </a:cubicBezTo>
                    <a:cubicBezTo>
                      <a:pt x="467" y="383"/>
                      <a:pt x="462" y="381"/>
                      <a:pt x="456" y="381"/>
                    </a:cubicBezTo>
                    <a:cubicBezTo>
                      <a:pt x="449" y="381"/>
                      <a:pt x="442" y="383"/>
                      <a:pt x="437" y="388"/>
                    </a:cubicBezTo>
                    <a:cubicBezTo>
                      <a:pt x="14" y="769"/>
                      <a:pt x="14" y="769"/>
                      <a:pt x="14" y="769"/>
                    </a:cubicBezTo>
                    <a:cubicBezTo>
                      <a:pt x="0" y="781"/>
                      <a:pt x="11" y="801"/>
                      <a:pt x="32" y="801"/>
                    </a:cubicBezTo>
                    <a:cubicBezTo>
                      <a:pt x="1637" y="801"/>
                      <a:pt x="1637" y="801"/>
                      <a:pt x="1637" y="801"/>
                    </a:cubicBezTo>
                    <a:cubicBezTo>
                      <a:pt x="1658" y="801"/>
                      <a:pt x="1670" y="780"/>
                      <a:pt x="1655" y="769"/>
                    </a:cubicBez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</p:grpSp>
      </p:grpSp>
      <p:grpSp>
        <p:nvGrpSpPr>
          <p:cNvPr id="51" name="bcgIcons_FeetRightDirection">
            <a:extLst>
              <a:ext uri="{FF2B5EF4-FFF2-40B4-BE49-F238E27FC236}">
                <a16:creationId xmlns:a16="http://schemas.microsoft.com/office/drawing/2014/main" id="{8BD39911-AB90-4823-A0E2-790E1ECFCF51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3203064" y="3402830"/>
            <a:ext cx="817384" cy="818141"/>
            <a:chOff x="1682" y="0"/>
            <a:chExt cx="4316" cy="4320"/>
          </a:xfrm>
        </p:grpSpPr>
        <p:sp>
          <p:nvSpPr>
            <p:cNvPr id="52" name="AutoShape 33">
              <a:extLst>
                <a:ext uri="{FF2B5EF4-FFF2-40B4-BE49-F238E27FC236}">
                  <a16:creationId xmlns:a16="http://schemas.microsoft.com/office/drawing/2014/main" id="{4CC4E08E-70F0-46B6-BEBB-A13B08A1C656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1682" y="0"/>
              <a:ext cx="4316" cy="43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3" name="Freeform 35">
              <a:extLst>
                <a:ext uri="{FF2B5EF4-FFF2-40B4-BE49-F238E27FC236}">
                  <a16:creationId xmlns:a16="http://schemas.microsoft.com/office/drawing/2014/main" id="{999BF8BE-2C18-48A6-BDBE-9B650353BF8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145" y="1924"/>
              <a:ext cx="3222" cy="1942"/>
            </a:xfrm>
            <a:custGeom>
              <a:avLst/>
              <a:gdLst>
                <a:gd name="T0" fmla="*/ 152 w 1720"/>
                <a:gd name="T1" fmla="*/ 1036 h 1036"/>
                <a:gd name="T2" fmla="*/ 68 w 1720"/>
                <a:gd name="T3" fmla="*/ 1006 h 1036"/>
                <a:gd name="T4" fmla="*/ 2 w 1720"/>
                <a:gd name="T5" fmla="*/ 877 h 1036"/>
                <a:gd name="T6" fmla="*/ 139 w 1720"/>
                <a:gd name="T7" fmla="*/ 651 h 1036"/>
                <a:gd name="T8" fmla="*/ 163 w 1720"/>
                <a:gd name="T9" fmla="*/ 652 h 1036"/>
                <a:gd name="T10" fmla="*/ 371 w 1720"/>
                <a:gd name="T11" fmla="*/ 810 h 1036"/>
                <a:gd name="T12" fmla="*/ 378 w 1720"/>
                <a:gd name="T13" fmla="*/ 836 h 1036"/>
                <a:gd name="T14" fmla="*/ 194 w 1720"/>
                <a:gd name="T15" fmla="*/ 1030 h 1036"/>
                <a:gd name="T16" fmla="*/ 152 w 1720"/>
                <a:gd name="T17" fmla="*/ 1036 h 1036"/>
                <a:gd name="T18" fmla="*/ 149 w 1720"/>
                <a:gd name="T19" fmla="*/ 697 h 1036"/>
                <a:gd name="T20" fmla="*/ 46 w 1720"/>
                <a:gd name="T21" fmla="*/ 879 h 1036"/>
                <a:gd name="T22" fmla="*/ 95 w 1720"/>
                <a:gd name="T23" fmla="*/ 972 h 1036"/>
                <a:gd name="T24" fmla="*/ 182 w 1720"/>
                <a:gd name="T25" fmla="*/ 988 h 1036"/>
                <a:gd name="T26" fmla="*/ 330 w 1720"/>
                <a:gd name="T27" fmla="*/ 834 h 1036"/>
                <a:gd name="T28" fmla="*/ 149 w 1720"/>
                <a:gd name="T29" fmla="*/ 697 h 1036"/>
                <a:gd name="T30" fmla="*/ 445 w 1720"/>
                <a:gd name="T31" fmla="*/ 753 h 1036"/>
                <a:gd name="T32" fmla="*/ 425 w 1720"/>
                <a:gd name="T33" fmla="*/ 741 h 1036"/>
                <a:gd name="T34" fmla="*/ 254 w 1720"/>
                <a:gd name="T35" fmla="*/ 559 h 1036"/>
                <a:gd name="T36" fmla="*/ 245 w 1720"/>
                <a:gd name="T37" fmla="*/ 531 h 1036"/>
                <a:gd name="T38" fmla="*/ 635 w 1720"/>
                <a:gd name="T39" fmla="*/ 189 h 1036"/>
                <a:gd name="T40" fmla="*/ 802 w 1720"/>
                <a:gd name="T41" fmla="*/ 244 h 1036"/>
                <a:gd name="T42" fmla="*/ 675 w 1720"/>
                <a:gd name="T43" fmla="*/ 641 h 1036"/>
                <a:gd name="T44" fmla="*/ 451 w 1720"/>
                <a:gd name="T45" fmla="*/ 752 h 1036"/>
                <a:gd name="T46" fmla="*/ 445 w 1720"/>
                <a:gd name="T47" fmla="*/ 753 h 1036"/>
                <a:gd name="T48" fmla="*/ 293 w 1720"/>
                <a:gd name="T49" fmla="*/ 532 h 1036"/>
                <a:gd name="T50" fmla="*/ 457 w 1720"/>
                <a:gd name="T51" fmla="*/ 705 h 1036"/>
                <a:gd name="T52" fmla="*/ 645 w 1720"/>
                <a:gd name="T53" fmla="*/ 609 h 1036"/>
                <a:gd name="T54" fmla="*/ 768 w 1720"/>
                <a:gd name="T55" fmla="*/ 272 h 1036"/>
                <a:gd name="T56" fmla="*/ 641 w 1720"/>
                <a:gd name="T57" fmla="*/ 233 h 1036"/>
                <a:gd name="T58" fmla="*/ 293 w 1720"/>
                <a:gd name="T59" fmla="*/ 532 h 1036"/>
                <a:gd name="T60" fmla="*/ 1017 w 1720"/>
                <a:gd name="T61" fmla="*/ 925 h 1036"/>
                <a:gd name="T62" fmla="*/ 891 w 1720"/>
                <a:gd name="T63" fmla="*/ 858 h 1036"/>
                <a:gd name="T64" fmla="*/ 868 w 1720"/>
                <a:gd name="T65" fmla="*/ 732 h 1036"/>
                <a:gd name="T66" fmla="*/ 1063 w 1720"/>
                <a:gd name="T67" fmla="*/ 549 h 1036"/>
                <a:gd name="T68" fmla="*/ 1089 w 1720"/>
                <a:gd name="T69" fmla="*/ 556 h 1036"/>
                <a:gd name="T70" fmla="*/ 1246 w 1720"/>
                <a:gd name="T71" fmla="*/ 764 h 1036"/>
                <a:gd name="T72" fmla="*/ 1247 w 1720"/>
                <a:gd name="T73" fmla="*/ 788 h 1036"/>
                <a:gd name="T74" fmla="*/ 1021 w 1720"/>
                <a:gd name="T75" fmla="*/ 924 h 1036"/>
                <a:gd name="T76" fmla="*/ 1017 w 1720"/>
                <a:gd name="T77" fmla="*/ 925 h 1036"/>
                <a:gd name="T78" fmla="*/ 1065 w 1720"/>
                <a:gd name="T79" fmla="*/ 597 h 1036"/>
                <a:gd name="T80" fmla="*/ 911 w 1720"/>
                <a:gd name="T81" fmla="*/ 745 h 1036"/>
                <a:gd name="T82" fmla="*/ 926 w 1720"/>
                <a:gd name="T83" fmla="*/ 831 h 1036"/>
                <a:gd name="T84" fmla="*/ 1019 w 1720"/>
                <a:gd name="T85" fmla="*/ 881 h 1036"/>
                <a:gd name="T86" fmla="*/ 1201 w 1720"/>
                <a:gd name="T87" fmla="*/ 778 h 1036"/>
                <a:gd name="T88" fmla="*/ 1065 w 1720"/>
                <a:gd name="T89" fmla="*/ 597 h 1036"/>
                <a:gd name="T90" fmla="*/ 1358 w 1720"/>
                <a:gd name="T91" fmla="*/ 684 h 1036"/>
                <a:gd name="T92" fmla="*/ 1339 w 1720"/>
                <a:gd name="T93" fmla="*/ 674 h 1036"/>
                <a:gd name="T94" fmla="*/ 1158 w 1720"/>
                <a:gd name="T95" fmla="*/ 501 h 1036"/>
                <a:gd name="T96" fmla="*/ 1147 w 1720"/>
                <a:gd name="T97" fmla="*/ 476 h 1036"/>
                <a:gd name="T98" fmla="*/ 1259 w 1720"/>
                <a:gd name="T99" fmla="*/ 252 h 1036"/>
                <a:gd name="T100" fmla="*/ 1656 w 1720"/>
                <a:gd name="T101" fmla="*/ 126 h 1036"/>
                <a:gd name="T102" fmla="*/ 1710 w 1720"/>
                <a:gd name="T103" fmla="*/ 294 h 1036"/>
                <a:gd name="T104" fmla="*/ 1367 w 1720"/>
                <a:gd name="T105" fmla="*/ 682 h 1036"/>
                <a:gd name="T106" fmla="*/ 1358 w 1720"/>
                <a:gd name="T107" fmla="*/ 684 h 1036"/>
                <a:gd name="T108" fmla="*/ 1194 w 1720"/>
                <a:gd name="T109" fmla="*/ 471 h 1036"/>
                <a:gd name="T110" fmla="*/ 1366 w 1720"/>
                <a:gd name="T111" fmla="*/ 634 h 1036"/>
                <a:gd name="T112" fmla="*/ 1667 w 1720"/>
                <a:gd name="T113" fmla="*/ 288 h 1036"/>
                <a:gd name="T114" fmla="*/ 1628 w 1720"/>
                <a:gd name="T115" fmla="*/ 160 h 1036"/>
                <a:gd name="T116" fmla="*/ 1291 w 1720"/>
                <a:gd name="T117" fmla="*/ 282 h 1036"/>
                <a:gd name="T118" fmla="*/ 1194 w 1720"/>
                <a:gd name="T119" fmla="*/ 471 h 10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720" h="1036">
                  <a:moveTo>
                    <a:pt x="152" y="1036"/>
                  </a:moveTo>
                  <a:cubicBezTo>
                    <a:pt x="122" y="1036"/>
                    <a:pt x="94" y="1026"/>
                    <a:pt x="68" y="1006"/>
                  </a:cubicBezTo>
                  <a:cubicBezTo>
                    <a:pt x="23" y="971"/>
                    <a:pt x="0" y="913"/>
                    <a:pt x="2" y="877"/>
                  </a:cubicBezTo>
                  <a:cubicBezTo>
                    <a:pt x="5" y="820"/>
                    <a:pt x="70" y="690"/>
                    <a:pt x="139" y="651"/>
                  </a:cubicBezTo>
                  <a:cubicBezTo>
                    <a:pt x="147" y="647"/>
                    <a:pt x="156" y="647"/>
                    <a:pt x="163" y="652"/>
                  </a:cubicBezTo>
                  <a:cubicBezTo>
                    <a:pt x="371" y="810"/>
                    <a:pt x="371" y="810"/>
                    <a:pt x="371" y="810"/>
                  </a:cubicBezTo>
                  <a:cubicBezTo>
                    <a:pt x="379" y="816"/>
                    <a:pt x="382" y="827"/>
                    <a:pt x="378" y="836"/>
                  </a:cubicBezTo>
                  <a:cubicBezTo>
                    <a:pt x="375" y="843"/>
                    <a:pt x="307" y="996"/>
                    <a:pt x="194" y="1030"/>
                  </a:cubicBezTo>
                  <a:cubicBezTo>
                    <a:pt x="180" y="1034"/>
                    <a:pt x="166" y="1036"/>
                    <a:pt x="152" y="1036"/>
                  </a:cubicBezTo>
                  <a:close/>
                  <a:moveTo>
                    <a:pt x="149" y="697"/>
                  </a:moveTo>
                  <a:cubicBezTo>
                    <a:pt x="99" y="736"/>
                    <a:pt x="48" y="837"/>
                    <a:pt x="46" y="879"/>
                  </a:cubicBezTo>
                  <a:cubicBezTo>
                    <a:pt x="45" y="901"/>
                    <a:pt x="61" y="945"/>
                    <a:pt x="95" y="972"/>
                  </a:cubicBezTo>
                  <a:cubicBezTo>
                    <a:pt x="121" y="992"/>
                    <a:pt x="150" y="997"/>
                    <a:pt x="182" y="988"/>
                  </a:cubicBezTo>
                  <a:cubicBezTo>
                    <a:pt x="256" y="965"/>
                    <a:pt x="311" y="871"/>
                    <a:pt x="330" y="834"/>
                  </a:cubicBezTo>
                  <a:lnTo>
                    <a:pt x="149" y="697"/>
                  </a:lnTo>
                  <a:close/>
                  <a:moveTo>
                    <a:pt x="445" y="753"/>
                  </a:moveTo>
                  <a:cubicBezTo>
                    <a:pt x="437" y="753"/>
                    <a:pt x="429" y="749"/>
                    <a:pt x="425" y="741"/>
                  </a:cubicBezTo>
                  <a:cubicBezTo>
                    <a:pt x="374" y="633"/>
                    <a:pt x="255" y="560"/>
                    <a:pt x="254" y="559"/>
                  </a:cubicBezTo>
                  <a:cubicBezTo>
                    <a:pt x="244" y="553"/>
                    <a:pt x="241" y="541"/>
                    <a:pt x="245" y="531"/>
                  </a:cubicBezTo>
                  <a:cubicBezTo>
                    <a:pt x="339" y="319"/>
                    <a:pt x="508" y="206"/>
                    <a:pt x="635" y="189"/>
                  </a:cubicBezTo>
                  <a:cubicBezTo>
                    <a:pt x="706" y="180"/>
                    <a:pt x="766" y="199"/>
                    <a:pt x="802" y="244"/>
                  </a:cubicBezTo>
                  <a:cubicBezTo>
                    <a:pt x="928" y="399"/>
                    <a:pt x="701" y="616"/>
                    <a:pt x="675" y="641"/>
                  </a:cubicBezTo>
                  <a:cubicBezTo>
                    <a:pt x="600" y="710"/>
                    <a:pt x="457" y="751"/>
                    <a:pt x="451" y="752"/>
                  </a:cubicBezTo>
                  <a:cubicBezTo>
                    <a:pt x="449" y="753"/>
                    <a:pt x="447" y="753"/>
                    <a:pt x="445" y="753"/>
                  </a:cubicBezTo>
                  <a:close/>
                  <a:moveTo>
                    <a:pt x="293" y="532"/>
                  </a:moveTo>
                  <a:cubicBezTo>
                    <a:pt x="328" y="556"/>
                    <a:pt x="409" y="618"/>
                    <a:pt x="457" y="705"/>
                  </a:cubicBezTo>
                  <a:cubicBezTo>
                    <a:pt x="496" y="692"/>
                    <a:pt x="592" y="658"/>
                    <a:pt x="645" y="609"/>
                  </a:cubicBezTo>
                  <a:cubicBezTo>
                    <a:pt x="654" y="600"/>
                    <a:pt x="870" y="397"/>
                    <a:pt x="768" y="272"/>
                  </a:cubicBezTo>
                  <a:cubicBezTo>
                    <a:pt x="742" y="239"/>
                    <a:pt x="696" y="225"/>
                    <a:pt x="641" y="233"/>
                  </a:cubicBezTo>
                  <a:cubicBezTo>
                    <a:pt x="530" y="248"/>
                    <a:pt x="381" y="346"/>
                    <a:pt x="293" y="532"/>
                  </a:cubicBezTo>
                  <a:close/>
                  <a:moveTo>
                    <a:pt x="1017" y="925"/>
                  </a:moveTo>
                  <a:cubicBezTo>
                    <a:pt x="980" y="925"/>
                    <a:pt x="926" y="902"/>
                    <a:pt x="891" y="858"/>
                  </a:cubicBezTo>
                  <a:cubicBezTo>
                    <a:pt x="863" y="821"/>
                    <a:pt x="855" y="777"/>
                    <a:pt x="868" y="732"/>
                  </a:cubicBezTo>
                  <a:cubicBezTo>
                    <a:pt x="903" y="619"/>
                    <a:pt x="1056" y="552"/>
                    <a:pt x="1063" y="549"/>
                  </a:cubicBezTo>
                  <a:cubicBezTo>
                    <a:pt x="1072" y="545"/>
                    <a:pt x="1083" y="548"/>
                    <a:pt x="1089" y="556"/>
                  </a:cubicBezTo>
                  <a:cubicBezTo>
                    <a:pt x="1246" y="764"/>
                    <a:pt x="1246" y="764"/>
                    <a:pt x="1246" y="764"/>
                  </a:cubicBezTo>
                  <a:cubicBezTo>
                    <a:pt x="1251" y="771"/>
                    <a:pt x="1252" y="780"/>
                    <a:pt x="1247" y="788"/>
                  </a:cubicBezTo>
                  <a:cubicBezTo>
                    <a:pt x="1208" y="857"/>
                    <a:pt x="1078" y="922"/>
                    <a:pt x="1021" y="924"/>
                  </a:cubicBezTo>
                  <a:cubicBezTo>
                    <a:pt x="1019" y="925"/>
                    <a:pt x="1018" y="925"/>
                    <a:pt x="1017" y="925"/>
                  </a:cubicBezTo>
                  <a:close/>
                  <a:moveTo>
                    <a:pt x="1065" y="597"/>
                  </a:moveTo>
                  <a:cubicBezTo>
                    <a:pt x="1027" y="616"/>
                    <a:pt x="933" y="670"/>
                    <a:pt x="911" y="745"/>
                  </a:cubicBezTo>
                  <a:cubicBezTo>
                    <a:pt x="901" y="776"/>
                    <a:pt x="906" y="805"/>
                    <a:pt x="926" y="831"/>
                  </a:cubicBezTo>
                  <a:cubicBezTo>
                    <a:pt x="953" y="865"/>
                    <a:pt x="997" y="882"/>
                    <a:pt x="1019" y="881"/>
                  </a:cubicBezTo>
                  <a:cubicBezTo>
                    <a:pt x="1061" y="878"/>
                    <a:pt x="1162" y="828"/>
                    <a:pt x="1201" y="778"/>
                  </a:cubicBezTo>
                  <a:lnTo>
                    <a:pt x="1065" y="597"/>
                  </a:lnTo>
                  <a:close/>
                  <a:moveTo>
                    <a:pt x="1358" y="684"/>
                  </a:moveTo>
                  <a:cubicBezTo>
                    <a:pt x="1351" y="684"/>
                    <a:pt x="1343" y="680"/>
                    <a:pt x="1339" y="674"/>
                  </a:cubicBezTo>
                  <a:cubicBezTo>
                    <a:pt x="1338" y="672"/>
                    <a:pt x="1265" y="553"/>
                    <a:pt x="1158" y="501"/>
                  </a:cubicBezTo>
                  <a:cubicBezTo>
                    <a:pt x="1149" y="497"/>
                    <a:pt x="1144" y="486"/>
                    <a:pt x="1147" y="476"/>
                  </a:cubicBezTo>
                  <a:cubicBezTo>
                    <a:pt x="1148" y="470"/>
                    <a:pt x="1189" y="327"/>
                    <a:pt x="1259" y="252"/>
                  </a:cubicBezTo>
                  <a:cubicBezTo>
                    <a:pt x="1283" y="226"/>
                    <a:pt x="1502" y="0"/>
                    <a:pt x="1656" y="126"/>
                  </a:cubicBezTo>
                  <a:cubicBezTo>
                    <a:pt x="1701" y="163"/>
                    <a:pt x="1720" y="222"/>
                    <a:pt x="1710" y="294"/>
                  </a:cubicBezTo>
                  <a:cubicBezTo>
                    <a:pt x="1693" y="420"/>
                    <a:pt x="1580" y="589"/>
                    <a:pt x="1367" y="682"/>
                  </a:cubicBezTo>
                  <a:cubicBezTo>
                    <a:pt x="1364" y="684"/>
                    <a:pt x="1361" y="684"/>
                    <a:pt x="1358" y="684"/>
                  </a:cubicBezTo>
                  <a:close/>
                  <a:moveTo>
                    <a:pt x="1194" y="471"/>
                  </a:moveTo>
                  <a:cubicBezTo>
                    <a:pt x="1280" y="518"/>
                    <a:pt x="1342" y="599"/>
                    <a:pt x="1366" y="634"/>
                  </a:cubicBezTo>
                  <a:cubicBezTo>
                    <a:pt x="1553" y="547"/>
                    <a:pt x="1651" y="399"/>
                    <a:pt x="1667" y="288"/>
                  </a:cubicBezTo>
                  <a:cubicBezTo>
                    <a:pt x="1674" y="232"/>
                    <a:pt x="1661" y="187"/>
                    <a:pt x="1628" y="160"/>
                  </a:cubicBezTo>
                  <a:cubicBezTo>
                    <a:pt x="1503" y="58"/>
                    <a:pt x="1300" y="273"/>
                    <a:pt x="1291" y="282"/>
                  </a:cubicBezTo>
                  <a:cubicBezTo>
                    <a:pt x="1242" y="335"/>
                    <a:pt x="1207" y="431"/>
                    <a:pt x="1194" y="471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4" name="Freeform 36">
              <a:extLst>
                <a:ext uri="{FF2B5EF4-FFF2-40B4-BE49-F238E27FC236}">
                  <a16:creationId xmlns:a16="http://schemas.microsoft.com/office/drawing/2014/main" id="{B0553ECC-6739-413B-9B8B-14A2B63BFFD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10" y="392"/>
              <a:ext cx="1739" cy="1607"/>
            </a:xfrm>
            <a:custGeom>
              <a:avLst/>
              <a:gdLst>
                <a:gd name="T0" fmla="*/ 377 w 928"/>
                <a:gd name="T1" fmla="*/ 656 h 857"/>
                <a:gd name="T2" fmla="*/ 194 w 928"/>
                <a:gd name="T3" fmla="*/ 850 h 857"/>
                <a:gd name="T4" fmla="*/ 152 w 928"/>
                <a:gd name="T5" fmla="*/ 857 h 857"/>
                <a:gd name="T6" fmla="*/ 68 w 928"/>
                <a:gd name="T7" fmla="*/ 827 h 857"/>
                <a:gd name="T8" fmla="*/ 2 w 928"/>
                <a:gd name="T9" fmla="*/ 697 h 857"/>
                <a:gd name="T10" fmla="*/ 139 w 928"/>
                <a:gd name="T11" fmla="*/ 471 h 857"/>
                <a:gd name="T12" fmla="*/ 163 w 928"/>
                <a:gd name="T13" fmla="*/ 473 h 857"/>
                <a:gd name="T14" fmla="*/ 370 w 928"/>
                <a:gd name="T15" fmla="*/ 630 h 857"/>
                <a:gd name="T16" fmla="*/ 377 w 928"/>
                <a:gd name="T17" fmla="*/ 656 h 857"/>
                <a:gd name="T18" fmla="*/ 802 w 928"/>
                <a:gd name="T19" fmla="*/ 64 h 857"/>
                <a:gd name="T20" fmla="*/ 635 w 928"/>
                <a:gd name="T21" fmla="*/ 10 h 857"/>
                <a:gd name="T22" fmla="*/ 245 w 928"/>
                <a:gd name="T23" fmla="*/ 352 h 857"/>
                <a:gd name="T24" fmla="*/ 254 w 928"/>
                <a:gd name="T25" fmla="*/ 379 h 857"/>
                <a:gd name="T26" fmla="*/ 425 w 928"/>
                <a:gd name="T27" fmla="*/ 561 h 857"/>
                <a:gd name="T28" fmla="*/ 445 w 928"/>
                <a:gd name="T29" fmla="*/ 574 h 857"/>
                <a:gd name="T30" fmla="*/ 451 w 928"/>
                <a:gd name="T31" fmla="*/ 573 h 857"/>
                <a:gd name="T32" fmla="*/ 675 w 928"/>
                <a:gd name="T33" fmla="*/ 461 h 857"/>
                <a:gd name="T34" fmla="*/ 802 w 928"/>
                <a:gd name="T35" fmla="*/ 64 h 8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928" h="857">
                  <a:moveTo>
                    <a:pt x="377" y="656"/>
                  </a:moveTo>
                  <a:cubicBezTo>
                    <a:pt x="374" y="663"/>
                    <a:pt x="307" y="816"/>
                    <a:pt x="194" y="850"/>
                  </a:cubicBezTo>
                  <a:cubicBezTo>
                    <a:pt x="180" y="854"/>
                    <a:pt x="166" y="857"/>
                    <a:pt x="152" y="857"/>
                  </a:cubicBezTo>
                  <a:cubicBezTo>
                    <a:pt x="122" y="857"/>
                    <a:pt x="93" y="846"/>
                    <a:pt x="68" y="827"/>
                  </a:cubicBezTo>
                  <a:cubicBezTo>
                    <a:pt x="23" y="791"/>
                    <a:pt x="0" y="733"/>
                    <a:pt x="2" y="697"/>
                  </a:cubicBezTo>
                  <a:cubicBezTo>
                    <a:pt x="5" y="640"/>
                    <a:pt x="70" y="511"/>
                    <a:pt x="139" y="471"/>
                  </a:cubicBezTo>
                  <a:cubicBezTo>
                    <a:pt x="147" y="467"/>
                    <a:pt x="156" y="467"/>
                    <a:pt x="163" y="473"/>
                  </a:cubicBezTo>
                  <a:cubicBezTo>
                    <a:pt x="370" y="630"/>
                    <a:pt x="370" y="630"/>
                    <a:pt x="370" y="630"/>
                  </a:cubicBezTo>
                  <a:cubicBezTo>
                    <a:pt x="379" y="636"/>
                    <a:pt x="381" y="647"/>
                    <a:pt x="377" y="656"/>
                  </a:cubicBezTo>
                  <a:close/>
                  <a:moveTo>
                    <a:pt x="802" y="64"/>
                  </a:moveTo>
                  <a:cubicBezTo>
                    <a:pt x="766" y="19"/>
                    <a:pt x="706" y="0"/>
                    <a:pt x="635" y="10"/>
                  </a:cubicBezTo>
                  <a:cubicBezTo>
                    <a:pt x="508" y="27"/>
                    <a:pt x="339" y="139"/>
                    <a:pt x="245" y="352"/>
                  </a:cubicBezTo>
                  <a:cubicBezTo>
                    <a:pt x="241" y="362"/>
                    <a:pt x="244" y="374"/>
                    <a:pt x="254" y="379"/>
                  </a:cubicBezTo>
                  <a:cubicBezTo>
                    <a:pt x="255" y="380"/>
                    <a:pt x="374" y="454"/>
                    <a:pt x="425" y="561"/>
                  </a:cubicBezTo>
                  <a:cubicBezTo>
                    <a:pt x="429" y="569"/>
                    <a:pt x="437" y="574"/>
                    <a:pt x="445" y="574"/>
                  </a:cubicBezTo>
                  <a:cubicBezTo>
                    <a:pt x="447" y="574"/>
                    <a:pt x="449" y="573"/>
                    <a:pt x="451" y="573"/>
                  </a:cubicBezTo>
                  <a:cubicBezTo>
                    <a:pt x="457" y="571"/>
                    <a:pt x="600" y="531"/>
                    <a:pt x="675" y="461"/>
                  </a:cubicBezTo>
                  <a:cubicBezTo>
                    <a:pt x="701" y="437"/>
                    <a:pt x="928" y="219"/>
                    <a:pt x="802" y="64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56" name="Group 55">
            <a:extLst>
              <a:ext uri="{FF2B5EF4-FFF2-40B4-BE49-F238E27FC236}">
                <a16:creationId xmlns:a16="http://schemas.microsoft.com/office/drawing/2014/main" id="{6EFA83FE-8881-4332-AA87-D116A3E122F4}"/>
              </a:ext>
            </a:extLst>
          </p:cNvPr>
          <p:cNvGrpSpPr>
            <a:grpSpLocks noChangeAspect="1"/>
          </p:cNvGrpSpPr>
          <p:nvPr/>
        </p:nvGrpSpPr>
        <p:grpSpPr>
          <a:xfrm>
            <a:off x="3202685" y="1764036"/>
            <a:ext cx="818141" cy="818141"/>
            <a:chOff x="5273675" y="2606675"/>
            <a:chExt cx="1644650" cy="1644650"/>
          </a:xfrm>
        </p:grpSpPr>
        <p:sp>
          <p:nvSpPr>
            <p:cNvPr id="57" name="AutoShape 51">
              <a:extLst>
                <a:ext uri="{FF2B5EF4-FFF2-40B4-BE49-F238E27FC236}">
                  <a16:creationId xmlns:a16="http://schemas.microsoft.com/office/drawing/2014/main" id="{A0EE0B35-EB2F-4F1D-8FD5-2D7425A69280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5273675" y="2606675"/>
              <a:ext cx="1644650" cy="16446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grpSp>
          <p:nvGrpSpPr>
            <p:cNvPr id="58" name="Group 57">
              <a:extLst>
                <a:ext uri="{FF2B5EF4-FFF2-40B4-BE49-F238E27FC236}">
                  <a16:creationId xmlns:a16="http://schemas.microsoft.com/office/drawing/2014/main" id="{FFF0A321-F610-466A-84BB-A9D5BEB15DF8}"/>
                </a:ext>
              </a:extLst>
            </p:cNvPr>
            <p:cNvGrpSpPr/>
            <p:nvPr/>
          </p:nvGrpSpPr>
          <p:grpSpPr>
            <a:xfrm>
              <a:off x="5646738" y="2889250"/>
              <a:ext cx="1102126" cy="1217613"/>
              <a:chOff x="5646738" y="2889250"/>
              <a:chExt cx="1102126" cy="1217613"/>
            </a:xfrm>
          </p:grpSpPr>
          <p:sp>
            <p:nvSpPr>
              <p:cNvPr id="59" name="Freeform 30">
                <a:extLst>
                  <a:ext uri="{FF2B5EF4-FFF2-40B4-BE49-F238E27FC236}">
                    <a16:creationId xmlns:a16="http://schemas.microsoft.com/office/drawing/2014/main" id="{DE310F39-8757-4759-BDE5-A2B47DB7258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46738" y="2889250"/>
                <a:ext cx="1102126" cy="1217613"/>
              </a:xfrm>
              <a:custGeom>
                <a:avLst/>
                <a:gdLst>
                  <a:gd name="connsiteX0" fmla="*/ 859623 w 1102126"/>
                  <a:gd name="connsiteY0" fmla="*/ 901700 h 1217613"/>
                  <a:gd name="connsiteX1" fmla="*/ 793750 w 1102126"/>
                  <a:gd name="connsiteY1" fmla="*/ 964565 h 1217613"/>
                  <a:gd name="connsiteX2" fmla="*/ 866784 w 1102126"/>
                  <a:gd name="connsiteY2" fmla="*/ 1041003 h 1217613"/>
                  <a:gd name="connsiteX3" fmla="*/ 898288 w 1102126"/>
                  <a:gd name="connsiteY3" fmla="*/ 1073865 h 1217613"/>
                  <a:gd name="connsiteX4" fmla="*/ 1004974 w 1102126"/>
                  <a:gd name="connsiteY4" fmla="*/ 1183878 h 1217613"/>
                  <a:gd name="connsiteX5" fmla="*/ 1048651 w 1102126"/>
                  <a:gd name="connsiteY5" fmla="*/ 1164590 h 1217613"/>
                  <a:gd name="connsiteX6" fmla="*/ 1069415 w 1102126"/>
                  <a:gd name="connsiteY6" fmla="*/ 1133872 h 1217613"/>
                  <a:gd name="connsiteX7" fmla="*/ 1070131 w 1102126"/>
                  <a:gd name="connsiteY7" fmla="*/ 1121013 h 1217613"/>
                  <a:gd name="connsiteX8" fmla="*/ 898288 w 1102126"/>
                  <a:gd name="connsiteY8" fmla="*/ 942420 h 1217613"/>
                  <a:gd name="connsiteX9" fmla="*/ 866784 w 1102126"/>
                  <a:gd name="connsiteY9" fmla="*/ 909558 h 1217613"/>
                  <a:gd name="connsiteX10" fmla="*/ 859623 w 1102126"/>
                  <a:gd name="connsiteY10" fmla="*/ 901700 h 1217613"/>
                  <a:gd name="connsiteX11" fmla="*/ 493356 w 1102126"/>
                  <a:gd name="connsiteY11" fmla="*/ 315913 h 1217613"/>
                  <a:gd name="connsiteX12" fmla="*/ 479099 w 1102126"/>
                  <a:gd name="connsiteY12" fmla="*/ 316628 h 1217613"/>
                  <a:gd name="connsiteX13" fmla="*/ 351501 w 1102126"/>
                  <a:gd name="connsiteY13" fmla="*/ 355947 h 1217613"/>
                  <a:gd name="connsiteX14" fmla="*/ 259545 w 1102126"/>
                  <a:gd name="connsiteY14" fmla="*/ 446023 h 1217613"/>
                  <a:gd name="connsiteX15" fmla="*/ 254555 w 1102126"/>
                  <a:gd name="connsiteY15" fmla="*/ 455316 h 1217613"/>
                  <a:gd name="connsiteX16" fmla="*/ 239585 w 1102126"/>
                  <a:gd name="connsiteY16" fmla="*/ 485342 h 1217613"/>
                  <a:gd name="connsiteX17" fmla="*/ 228180 w 1102126"/>
                  <a:gd name="connsiteY17" fmla="*/ 518941 h 1217613"/>
                  <a:gd name="connsiteX18" fmla="*/ 220339 w 1102126"/>
                  <a:gd name="connsiteY18" fmla="*/ 553256 h 1217613"/>
                  <a:gd name="connsiteX19" fmla="*/ 218200 w 1102126"/>
                  <a:gd name="connsiteY19" fmla="*/ 577562 h 1217613"/>
                  <a:gd name="connsiteX20" fmla="*/ 217487 w 1102126"/>
                  <a:gd name="connsiteY20" fmla="*/ 592575 h 1217613"/>
                  <a:gd name="connsiteX21" fmla="*/ 218913 w 1102126"/>
                  <a:gd name="connsiteY21" fmla="*/ 615451 h 1217613"/>
                  <a:gd name="connsiteX22" fmla="*/ 223903 w 1102126"/>
                  <a:gd name="connsiteY22" fmla="*/ 651195 h 1217613"/>
                  <a:gd name="connsiteX23" fmla="*/ 225328 w 1102126"/>
                  <a:gd name="connsiteY23" fmla="*/ 658344 h 1217613"/>
                  <a:gd name="connsiteX24" fmla="*/ 242437 w 1102126"/>
                  <a:gd name="connsiteY24" fmla="*/ 707672 h 1217613"/>
                  <a:gd name="connsiteX25" fmla="*/ 264535 w 1102126"/>
                  <a:gd name="connsiteY25" fmla="*/ 746990 h 1217613"/>
                  <a:gd name="connsiteX26" fmla="*/ 364332 w 1102126"/>
                  <a:gd name="connsiteY26" fmla="*/ 837066 h 1217613"/>
                  <a:gd name="connsiteX27" fmla="*/ 494069 w 1102126"/>
                  <a:gd name="connsiteY27" fmla="*/ 869951 h 1217613"/>
                  <a:gd name="connsiteX28" fmla="*/ 623805 w 1102126"/>
                  <a:gd name="connsiteY28" fmla="*/ 837066 h 1217613"/>
                  <a:gd name="connsiteX29" fmla="*/ 724316 w 1102126"/>
                  <a:gd name="connsiteY29" fmla="*/ 745561 h 1217613"/>
                  <a:gd name="connsiteX30" fmla="*/ 736434 w 1102126"/>
                  <a:gd name="connsiteY30" fmla="*/ 725544 h 1217613"/>
                  <a:gd name="connsiteX31" fmla="*/ 769937 w 1102126"/>
                  <a:gd name="connsiteY31" fmla="*/ 592575 h 1217613"/>
                  <a:gd name="connsiteX32" fmla="*/ 635924 w 1102126"/>
                  <a:gd name="connsiteY32" fmla="*/ 355947 h 1217613"/>
                  <a:gd name="connsiteX33" fmla="*/ 619528 w 1102126"/>
                  <a:gd name="connsiteY33" fmla="*/ 345938 h 1217613"/>
                  <a:gd name="connsiteX34" fmla="*/ 599569 w 1102126"/>
                  <a:gd name="connsiteY34" fmla="*/ 337360 h 1217613"/>
                  <a:gd name="connsiteX35" fmla="*/ 592440 w 1102126"/>
                  <a:gd name="connsiteY35" fmla="*/ 334500 h 1217613"/>
                  <a:gd name="connsiteX36" fmla="*/ 509038 w 1102126"/>
                  <a:gd name="connsiteY36" fmla="*/ 316628 h 1217613"/>
                  <a:gd name="connsiteX37" fmla="*/ 494069 w 1102126"/>
                  <a:gd name="connsiteY37" fmla="*/ 315913 h 1217613"/>
                  <a:gd name="connsiteX38" fmla="*/ 493356 w 1102126"/>
                  <a:gd name="connsiteY38" fmla="*/ 315913 h 1217613"/>
                  <a:gd name="connsiteX39" fmla="*/ 494232 w 1102126"/>
                  <a:gd name="connsiteY39" fmla="*/ 285750 h 1217613"/>
                  <a:gd name="connsiteX40" fmla="*/ 630626 w 1102126"/>
                  <a:gd name="connsiteY40" fmla="*/ 317865 h 1217613"/>
                  <a:gd name="connsiteX41" fmla="*/ 690611 w 1102126"/>
                  <a:gd name="connsiteY41" fmla="*/ 357116 h 1217613"/>
                  <a:gd name="connsiteX42" fmla="*/ 802012 w 1102126"/>
                  <a:gd name="connsiteY42" fmla="*/ 593339 h 1217613"/>
                  <a:gd name="connsiteX43" fmla="*/ 744883 w 1102126"/>
                  <a:gd name="connsiteY43" fmla="*/ 771755 h 1217613"/>
                  <a:gd name="connsiteX44" fmla="*/ 816294 w 1102126"/>
                  <a:gd name="connsiteY44" fmla="*/ 845976 h 1217613"/>
                  <a:gd name="connsiteX45" fmla="*/ 815580 w 1102126"/>
                  <a:gd name="connsiteY45" fmla="*/ 858108 h 1217613"/>
                  <a:gd name="connsiteX46" fmla="*/ 749168 w 1102126"/>
                  <a:gd name="connsiteY46" fmla="*/ 920911 h 1217613"/>
                  <a:gd name="connsiteX47" fmla="*/ 744883 w 1102126"/>
                  <a:gd name="connsiteY47" fmla="*/ 922338 h 1217613"/>
                  <a:gd name="connsiteX48" fmla="*/ 738456 w 1102126"/>
                  <a:gd name="connsiteY48" fmla="*/ 919484 h 1217613"/>
                  <a:gd name="connsiteX49" fmla="*/ 696324 w 1102126"/>
                  <a:gd name="connsiteY49" fmla="*/ 876664 h 1217613"/>
                  <a:gd name="connsiteX50" fmla="*/ 667760 w 1102126"/>
                  <a:gd name="connsiteY50" fmla="*/ 848117 h 1217613"/>
                  <a:gd name="connsiteX51" fmla="*/ 614916 w 1102126"/>
                  <a:gd name="connsiteY51" fmla="*/ 876664 h 1217613"/>
                  <a:gd name="connsiteX52" fmla="*/ 494232 w 1102126"/>
                  <a:gd name="connsiteY52" fmla="*/ 901642 h 1217613"/>
                  <a:gd name="connsiteX53" fmla="*/ 372833 w 1102126"/>
                  <a:gd name="connsiteY53" fmla="*/ 876664 h 1217613"/>
                  <a:gd name="connsiteX54" fmla="*/ 306421 w 1102126"/>
                  <a:gd name="connsiteY54" fmla="*/ 837412 h 1217613"/>
                  <a:gd name="connsiteX55" fmla="*/ 227155 w 1102126"/>
                  <a:gd name="connsiteY55" fmla="*/ 747491 h 1217613"/>
                  <a:gd name="connsiteX56" fmla="*/ 207875 w 1102126"/>
                  <a:gd name="connsiteY56" fmla="*/ 708239 h 1217613"/>
                  <a:gd name="connsiteX57" fmla="*/ 187165 w 1102126"/>
                  <a:gd name="connsiteY57" fmla="*/ 616176 h 1217613"/>
                  <a:gd name="connsiteX58" fmla="*/ 185737 w 1102126"/>
                  <a:gd name="connsiteY58" fmla="*/ 593339 h 1217613"/>
                  <a:gd name="connsiteX59" fmla="*/ 186451 w 1102126"/>
                  <a:gd name="connsiteY59" fmla="*/ 578352 h 1217613"/>
                  <a:gd name="connsiteX60" fmla="*/ 205018 w 1102126"/>
                  <a:gd name="connsiteY60" fmla="*/ 486290 h 1217613"/>
                  <a:gd name="connsiteX61" fmla="*/ 222871 w 1102126"/>
                  <a:gd name="connsiteY61" fmla="*/ 447038 h 1217613"/>
                  <a:gd name="connsiteX62" fmla="*/ 297138 w 1102126"/>
                  <a:gd name="connsiteY62" fmla="*/ 357116 h 1217613"/>
                  <a:gd name="connsiteX63" fmla="*/ 357837 w 1102126"/>
                  <a:gd name="connsiteY63" fmla="*/ 317865 h 1217613"/>
                  <a:gd name="connsiteX64" fmla="*/ 494232 w 1102126"/>
                  <a:gd name="connsiteY64" fmla="*/ 285750 h 1217613"/>
                  <a:gd name="connsiteX65" fmla="*/ 31750 w 1102126"/>
                  <a:gd name="connsiteY65" fmla="*/ 31750 h 1217613"/>
                  <a:gd name="connsiteX66" fmla="*/ 31750 w 1102126"/>
                  <a:gd name="connsiteY66" fmla="*/ 1160463 h 1217613"/>
                  <a:gd name="connsiteX67" fmla="*/ 866775 w 1102126"/>
                  <a:gd name="connsiteY67" fmla="*/ 1160463 h 1217613"/>
                  <a:gd name="connsiteX68" fmla="*/ 866775 w 1102126"/>
                  <a:gd name="connsiteY68" fmla="*/ 1085549 h 1217613"/>
                  <a:gd name="connsiteX69" fmla="*/ 761148 w 1102126"/>
                  <a:gd name="connsiteY69" fmla="*/ 974247 h 1217613"/>
                  <a:gd name="connsiteX70" fmla="*/ 761148 w 1102126"/>
                  <a:gd name="connsiteY70" fmla="*/ 952129 h 1217613"/>
                  <a:gd name="connsiteX71" fmla="*/ 772567 w 1102126"/>
                  <a:gd name="connsiteY71" fmla="*/ 941427 h 1217613"/>
                  <a:gd name="connsiteX72" fmla="*/ 841796 w 1102126"/>
                  <a:gd name="connsiteY72" fmla="*/ 875074 h 1217613"/>
                  <a:gd name="connsiteX73" fmla="*/ 849647 w 1102126"/>
                  <a:gd name="connsiteY73" fmla="*/ 867226 h 1217613"/>
                  <a:gd name="connsiteX74" fmla="*/ 861066 w 1102126"/>
                  <a:gd name="connsiteY74" fmla="*/ 862945 h 1217613"/>
                  <a:gd name="connsiteX75" fmla="*/ 866775 w 1102126"/>
                  <a:gd name="connsiteY75" fmla="*/ 865086 h 1217613"/>
                  <a:gd name="connsiteX76" fmla="*/ 866775 w 1102126"/>
                  <a:gd name="connsiteY76" fmla="*/ 31750 h 1217613"/>
                  <a:gd name="connsiteX77" fmla="*/ 31750 w 1102126"/>
                  <a:gd name="connsiteY77" fmla="*/ 31750 h 1217613"/>
                  <a:gd name="connsiteX78" fmla="*/ 15713 w 1102126"/>
                  <a:gd name="connsiteY78" fmla="*/ 0 h 1217613"/>
                  <a:gd name="connsiteX79" fmla="*/ 882777 w 1102126"/>
                  <a:gd name="connsiteY79" fmla="*/ 0 h 1217613"/>
                  <a:gd name="connsiteX80" fmla="*/ 898490 w 1102126"/>
                  <a:gd name="connsiteY80" fmla="*/ 15711 h 1217613"/>
                  <a:gd name="connsiteX81" fmla="*/ 898490 w 1102126"/>
                  <a:gd name="connsiteY81" fmla="*/ 896249 h 1217613"/>
                  <a:gd name="connsiteX82" fmla="*/ 1092758 w 1102126"/>
                  <a:gd name="connsiteY82" fmla="*/ 1100494 h 1217613"/>
                  <a:gd name="connsiteX83" fmla="*/ 1098472 w 1102126"/>
                  <a:gd name="connsiteY83" fmla="*/ 1144771 h 1217613"/>
                  <a:gd name="connsiteX84" fmla="*/ 1069903 w 1102126"/>
                  <a:gd name="connsiteY84" fmla="*/ 1188333 h 1217613"/>
                  <a:gd name="connsiteX85" fmla="*/ 1008480 w 1102126"/>
                  <a:gd name="connsiteY85" fmla="*/ 1217613 h 1217613"/>
                  <a:gd name="connsiteX86" fmla="*/ 981340 w 1102126"/>
                  <a:gd name="connsiteY86" fmla="*/ 1206901 h 1217613"/>
                  <a:gd name="connsiteX87" fmla="*/ 898490 w 1102126"/>
                  <a:gd name="connsiteY87" fmla="*/ 1119776 h 1217613"/>
                  <a:gd name="connsiteX88" fmla="*/ 898490 w 1102126"/>
                  <a:gd name="connsiteY88" fmla="*/ 1176907 h 1217613"/>
                  <a:gd name="connsiteX89" fmla="*/ 882777 w 1102126"/>
                  <a:gd name="connsiteY89" fmla="*/ 1192618 h 1217613"/>
                  <a:gd name="connsiteX90" fmla="*/ 15713 w 1102126"/>
                  <a:gd name="connsiteY90" fmla="*/ 1192618 h 1217613"/>
                  <a:gd name="connsiteX91" fmla="*/ 0 w 1102126"/>
                  <a:gd name="connsiteY91" fmla="*/ 1176907 h 1217613"/>
                  <a:gd name="connsiteX92" fmla="*/ 0 w 1102126"/>
                  <a:gd name="connsiteY92" fmla="*/ 15711 h 1217613"/>
                  <a:gd name="connsiteX93" fmla="*/ 15713 w 1102126"/>
                  <a:gd name="connsiteY93" fmla="*/ 0 h 12176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</a:cxnLst>
                <a:rect l="l" t="t" r="r" b="b"/>
                <a:pathLst>
                  <a:path w="1102126" h="1217613">
                    <a:moveTo>
                      <a:pt x="859623" y="901700"/>
                    </a:moveTo>
                    <a:cubicBezTo>
                      <a:pt x="859623" y="901700"/>
                      <a:pt x="859623" y="901700"/>
                      <a:pt x="793750" y="964565"/>
                    </a:cubicBezTo>
                    <a:cubicBezTo>
                      <a:pt x="793750" y="964565"/>
                      <a:pt x="824539" y="996712"/>
                      <a:pt x="866784" y="1041003"/>
                    </a:cubicBezTo>
                    <a:cubicBezTo>
                      <a:pt x="876808" y="1051005"/>
                      <a:pt x="887548" y="1062435"/>
                      <a:pt x="898288" y="1073865"/>
                    </a:cubicBezTo>
                    <a:cubicBezTo>
                      <a:pt x="932657" y="1109583"/>
                      <a:pt x="970605" y="1148874"/>
                      <a:pt x="1004974" y="1183878"/>
                    </a:cubicBezTo>
                    <a:cubicBezTo>
                      <a:pt x="1007838" y="1187450"/>
                      <a:pt x="1027170" y="1185307"/>
                      <a:pt x="1048651" y="1164590"/>
                    </a:cubicBezTo>
                    <a:cubicBezTo>
                      <a:pt x="1057959" y="1155303"/>
                      <a:pt x="1065835" y="1143873"/>
                      <a:pt x="1069415" y="1133872"/>
                    </a:cubicBezTo>
                    <a:cubicBezTo>
                      <a:pt x="1071563" y="1126728"/>
                      <a:pt x="1070847" y="1122442"/>
                      <a:pt x="1070131" y="1121013"/>
                    </a:cubicBezTo>
                    <a:cubicBezTo>
                      <a:pt x="1070131" y="1121013"/>
                      <a:pt x="959865" y="1005999"/>
                      <a:pt x="898288" y="942420"/>
                    </a:cubicBezTo>
                    <a:cubicBezTo>
                      <a:pt x="885400" y="928132"/>
                      <a:pt x="873944" y="916702"/>
                      <a:pt x="866784" y="909558"/>
                    </a:cubicBezTo>
                    <a:cubicBezTo>
                      <a:pt x="863920" y="905986"/>
                      <a:pt x="861055" y="903129"/>
                      <a:pt x="859623" y="901700"/>
                    </a:cubicBezTo>
                    <a:close/>
                    <a:moveTo>
                      <a:pt x="493356" y="315913"/>
                    </a:moveTo>
                    <a:cubicBezTo>
                      <a:pt x="488366" y="315913"/>
                      <a:pt x="483376" y="315913"/>
                      <a:pt x="479099" y="316628"/>
                    </a:cubicBezTo>
                    <a:cubicBezTo>
                      <a:pt x="432765" y="318773"/>
                      <a:pt x="389281" y="333070"/>
                      <a:pt x="351501" y="355947"/>
                    </a:cubicBezTo>
                    <a:cubicBezTo>
                      <a:pt x="314433" y="378108"/>
                      <a:pt x="283068" y="409563"/>
                      <a:pt x="259545" y="446023"/>
                    </a:cubicBezTo>
                    <a:cubicBezTo>
                      <a:pt x="258119" y="448882"/>
                      <a:pt x="255981" y="452457"/>
                      <a:pt x="254555" y="455316"/>
                    </a:cubicBezTo>
                    <a:cubicBezTo>
                      <a:pt x="248852" y="465325"/>
                      <a:pt x="243862" y="475333"/>
                      <a:pt x="239585" y="485342"/>
                    </a:cubicBezTo>
                    <a:cubicBezTo>
                      <a:pt x="234595" y="496065"/>
                      <a:pt x="231031" y="507503"/>
                      <a:pt x="228180" y="518941"/>
                    </a:cubicBezTo>
                    <a:cubicBezTo>
                      <a:pt x="224616" y="529665"/>
                      <a:pt x="222477" y="541818"/>
                      <a:pt x="220339" y="553256"/>
                    </a:cubicBezTo>
                    <a:cubicBezTo>
                      <a:pt x="219626" y="561835"/>
                      <a:pt x="218913" y="569698"/>
                      <a:pt x="218200" y="577562"/>
                    </a:cubicBezTo>
                    <a:cubicBezTo>
                      <a:pt x="218200" y="582566"/>
                      <a:pt x="217487" y="587570"/>
                      <a:pt x="217487" y="592575"/>
                    </a:cubicBezTo>
                    <a:cubicBezTo>
                      <a:pt x="217487" y="600438"/>
                      <a:pt x="218200" y="607587"/>
                      <a:pt x="218913" y="615451"/>
                    </a:cubicBezTo>
                    <a:cubicBezTo>
                      <a:pt x="219626" y="627604"/>
                      <a:pt x="221764" y="639757"/>
                      <a:pt x="223903" y="651195"/>
                    </a:cubicBezTo>
                    <a:cubicBezTo>
                      <a:pt x="224616" y="653340"/>
                      <a:pt x="225328" y="656200"/>
                      <a:pt x="225328" y="658344"/>
                    </a:cubicBezTo>
                    <a:cubicBezTo>
                      <a:pt x="229606" y="675502"/>
                      <a:pt x="235308" y="691944"/>
                      <a:pt x="242437" y="707672"/>
                    </a:cubicBezTo>
                    <a:cubicBezTo>
                      <a:pt x="248852" y="721254"/>
                      <a:pt x="255981" y="734122"/>
                      <a:pt x="264535" y="746990"/>
                    </a:cubicBezTo>
                    <a:cubicBezTo>
                      <a:pt x="289484" y="784165"/>
                      <a:pt x="323700" y="815620"/>
                      <a:pt x="364332" y="837066"/>
                    </a:cubicBezTo>
                    <a:cubicBezTo>
                      <a:pt x="402825" y="857798"/>
                      <a:pt x="447021" y="869951"/>
                      <a:pt x="494069" y="869951"/>
                    </a:cubicBezTo>
                    <a:cubicBezTo>
                      <a:pt x="541116" y="869951"/>
                      <a:pt x="584599" y="857798"/>
                      <a:pt x="623805" y="837066"/>
                    </a:cubicBezTo>
                    <a:cubicBezTo>
                      <a:pt x="664437" y="815620"/>
                      <a:pt x="698653" y="783450"/>
                      <a:pt x="724316" y="745561"/>
                    </a:cubicBezTo>
                    <a:cubicBezTo>
                      <a:pt x="728593" y="739127"/>
                      <a:pt x="732157" y="732693"/>
                      <a:pt x="736434" y="725544"/>
                    </a:cubicBezTo>
                    <a:cubicBezTo>
                      <a:pt x="757819" y="686225"/>
                      <a:pt x="769937" y="641187"/>
                      <a:pt x="769937" y="592575"/>
                    </a:cubicBezTo>
                    <a:cubicBezTo>
                      <a:pt x="769937" y="492490"/>
                      <a:pt x="716474" y="404559"/>
                      <a:pt x="635924" y="355947"/>
                    </a:cubicBezTo>
                    <a:cubicBezTo>
                      <a:pt x="630934" y="352372"/>
                      <a:pt x="625231" y="349513"/>
                      <a:pt x="619528" y="345938"/>
                    </a:cubicBezTo>
                    <a:cubicBezTo>
                      <a:pt x="613113" y="343079"/>
                      <a:pt x="606697" y="340219"/>
                      <a:pt x="599569" y="337360"/>
                    </a:cubicBezTo>
                    <a:cubicBezTo>
                      <a:pt x="597430" y="335930"/>
                      <a:pt x="594579" y="335215"/>
                      <a:pt x="592440" y="334500"/>
                    </a:cubicBezTo>
                    <a:cubicBezTo>
                      <a:pt x="566065" y="324492"/>
                      <a:pt x="538265" y="318058"/>
                      <a:pt x="509038" y="316628"/>
                    </a:cubicBezTo>
                    <a:cubicBezTo>
                      <a:pt x="504048" y="315913"/>
                      <a:pt x="499059" y="315913"/>
                      <a:pt x="494069" y="315913"/>
                    </a:cubicBezTo>
                    <a:cubicBezTo>
                      <a:pt x="494069" y="315913"/>
                      <a:pt x="493356" y="315913"/>
                      <a:pt x="493356" y="315913"/>
                    </a:cubicBezTo>
                    <a:close/>
                    <a:moveTo>
                      <a:pt x="494232" y="285750"/>
                    </a:moveTo>
                    <a:cubicBezTo>
                      <a:pt x="542791" y="285750"/>
                      <a:pt x="589208" y="297169"/>
                      <a:pt x="630626" y="317865"/>
                    </a:cubicBezTo>
                    <a:cubicBezTo>
                      <a:pt x="652049" y="328570"/>
                      <a:pt x="672758" y="341416"/>
                      <a:pt x="690611" y="357116"/>
                    </a:cubicBezTo>
                    <a:cubicBezTo>
                      <a:pt x="759165" y="413496"/>
                      <a:pt x="802012" y="498422"/>
                      <a:pt x="802012" y="593339"/>
                    </a:cubicBezTo>
                    <a:cubicBezTo>
                      <a:pt x="802012" y="659710"/>
                      <a:pt x="781303" y="721799"/>
                      <a:pt x="744883" y="771755"/>
                    </a:cubicBezTo>
                    <a:cubicBezTo>
                      <a:pt x="754166" y="781033"/>
                      <a:pt x="816294" y="845976"/>
                      <a:pt x="816294" y="845976"/>
                    </a:cubicBezTo>
                    <a:cubicBezTo>
                      <a:pt x="819150" y="849544"/>
                      <a:pt x="819150" y="854540"/>
                      <a:pt x="815580" y="858108"/>
                    </a:cubicBezTo>
                    <a:cubicBezTo>
                      <a:pt x="815580" y="858108"/>
                      <a:pt x="815580" y="858108"/>
                      <a:pt x="749168" y="920911"/>
                    </a:cubicBezTo>
                    <a:cubicBezTo>
                      <a:pt x="747740" y="921624"/>
                      <a:pt x="746311" y="922338"/>
                      <a:pt x="744883" y="922338"/>
                    </a:cubicBezTo>
                    <a:cubicBezTo>
                      <a:pt x="742741" y="922338"/>
                      <a:pt x="740598" y="920911"/>
                      <a:pt x="738456" y="919484"/>
                    </a:cubicBezTo>
                    <a:cubicBezTo>
                      <a:pt x="734171" y="915202"/>
                      <a:pt x="714176" y="895219"/>
                      <a:pt x="696324" y="876664"/>
                    </a:cubicBezTo>
                    <a:cubicBezTo>
                      <a:pt x="683470" y="863818"/>
                      <a:pt x="671330" y="851685"/>
                      <a:pt x="667760" y="848117"/>
                    </a:cubicBezTo>
                    <a:cubicBezTo>
                      <a:pt x="651335" y="858822"/>
                      <a:pt x="633482" y="868813"/>
                      <a:pt x="614916" y="876664"/>
                    </a:cubicBezTo>
                    <a:cubicBezTo>
                      <a:pt x="577782" y="892364"/>
                      <a:pt x="537078" y="901642"/>
                      <a:pt x="494232" y="901642"/>
                    </a:cubicBezTo>
                    <a:cubicBezTo>
                      <a:pt x="451385" y="901642"/>
                      <a:pt x="409967" y="892364"/>
                      <a:pt x="372833" y="876664"/>
                    </a:cubicBezTo>
                    <a:cubicBezTo>
                      <a:pt x="349268" y="866672"/>
                      <a:pt x="326416" y="853113"/>
                      <a:pt x="306421" y="837412"/>
                    </a:cubicBezTo>
                    <a:cubicBezTo>
                      <a:pt x="274287" y="813148"/>
                      <a:pt x="247150" y="782460"/>
                      <a:pt x="227155" y="747491"/>
                    </a:cubicBezTo>
                    <a:cubicBezTo>
                      <a:pt x="220014" y="734645"/>
                      <a:pt x="213587" y="721799"/>
                      <a:pt x="207875" y="708239"/>
                    </a:cubicBezTo>
                    <a:cubicBezTo>
                      <a:pt x="196449" y="678979"/>
                      <a:pt x="189308" y="648291"/>
                      <a:pt x="187165" y="616176"/>
                    </a:cubicBezTo>
                    <a:cubicBezTo>
                      <a:pt x="186451" y="608326"/>
                      <a:pt x="185737" y="601189"/>
                      <a:pt x="185737" y="593339"/>
                    </a:cubicBezTo>
                    <a:cubicBezTo>
                      <a:pt x="185737" y="588344"/>
                      <a:pt x="186451" y="583348"/>
                      <a:pt x="186451" y="578352"/>
                    </a:cubicBezTo>
                    <a:cubicBezTo>
                      <a:pt x="187880" y="546237"/>
                      <a:pt x="194307" y="515550"/>
                      <a:pt x="205018" y="486290"/>
                    </a:cubicBezTo>
                    <a:cubicBezTo>
                      <a:pt x="210017" y="472730"/>
                      <a:pt x="216444" y="459884"/>
                      <a:pt x="222871" y="447038"/>
                    </a:cubicBezTo>
                    <a:cubicBezTo>
                      <a:pt x="242152" y="412782"/>
                      <a:pt x="267145" y="382095"/>
                      <a:pt x="297138" y="357116"/>
                    </a:cubicBezTo>
                    <a:cubicBezTo>
                      <a:pt x="315705" y="341416"/>
                      <a:pt x="335700" y="328570"/>
                      <a:pt x="357837" y="317865"/>
                    </a:cubicBezTo>
                    <a:cubicBezTo>
                      <a:pt x="398541" y="297169"/>
                      <a:pt x="444958" y="285750"/>
                      <a:pt x="494232" y="285750"/>
                    </a:cubicBezTo>
                    <a:close/>
                    <a:moveTo>
                      <a:pt x="31750" y="31750"/>
                    </a:moveTo>
                    <a:cubicBezTo>
                      <a:pt x="31750" y="31750"/>
                      <a:pt x="31750" y="31750"/>
                      <a:pt x="31750" y="1160463"/>
                    </a:cubicBezTo>
                    <a:cubicBezTo>
                      <a:pt x="31750" y="1160463"/>
                      <a:pt x="31750" y="1160463"/>
                      <a:pt x="866775" y="1160463"/>
                    </a:cubicBezTo>
                    <a:lnTo>
                      <a:pt x="866775" y="1085549"/>
                    </a:lnTo>
                    <a:cubicBezTo>
                      <a:pt x="825381" y="1042027"/>
                      <a:pt x="783273" y="997078"/>
                      <a:pt x="761148" y="974247"/>
                    </a:cubicBezTo>
                    <a:cubicBezTo>
                      <a:pt x="754725" y="967826"/>
                      <a:pt x="754725" y="957837"/>
                      <a:pt x="761148" y="952129"/>
                    </a:cubicBezTo>
                    <a:cubicBezTo>
                      <a:pt x="761148" y="952129"/>
                      <a:pt x="761148" y="952129"/>
                      <a:pt x="772567" y="941427"/>
                    </a:cubicBezTo>
                    <a:cubicBezTo>
                      <a:pt x="782559" y="931439"/>
                      <a:pt x="802543" y="912175"/>
                      <a:pt x="841796" y="875074"/>
                    </a:cubicBezTo>
                    <a:cubicBezTo>
                      <a:pt x="843937" y="872220"/>
                      <a:pt x="846792" y="870080"/>
                      <a:pt x="849647" y="867226"/>
                    </a:cubicBezTo>
                    <a:cubicBezTo>
                      <a:pt x="853215" y="864372"/>
                      <a:pt x="856783" y="862945"/>
                      <a:pt x="861066" y="862945"/>
                    </a:cubicBezTo>
                    <a:cubicBezTo>
                      <a:pt x="862493" y="862945"/>
                      <a:pt x="864634" y="863659"/>
                      <a:pt x="866775" y="865086"/>
                    </a:cubicBezTo>
                    <a:cubicBezTo>
                      <a:pt x="866775" y="865086"/>
                      <a:pt x="866775" y="865086"/>
                      <a:pt x="866775" y="31750"/>
                    </a:cubicBezTo>
                    <a:cubicBezTo>
                      <a:pt x="866775" y="31750"/>
                      <a:pt x="866775" y="31750"/>
                      <a:pt x="31750" y="31750"/>
                    </a:cubicBezTo>
                    <a:close/>
                    <a:moveTo>
                      <a:pt x="15713" y="0"/>
                    </a:moveTo>
                    <a:cubicBezTo>
                      <a:pt x="15713" y="0"/>
                      <a:pt x="15713" y="0"/>
                      <a:pt x="882777" y="0"/>
                    </a:cubicBezTo>
                    <a:cubicBezTo>
                      <a:pt x="892062" y="0"/>
                      <a:pt x="898490" y="7142"/>
                      <a:pt x="898490" y="15711"/>
                    </a:cubicBezTo>
                    <a:cubicBezTo>
                      <a:pt x="898490" y="15711"/>
                      <a:pt x="898490" y="15711"/>
                      <a:pt x="898490" y="896249"/>
                    </a:cubicBezTo>
                    <a:lnTo>
                      <a:pt x="1092758" y="1100494"/>
                    </a:lnTo>
                    <a:cubicBezTo>
                      <a:pt x="1102758" y="1111206"/>
                      <a:pt x="1104900" y="1126917"/>
                      <a:pt x="1098472" y="1144771"/>
                    </a:cubicBezTo>
                    <a:cubicBezTo>
                      <a:pt x="1093473" y="1159768"/>
                      <a:pt x="1083474" y="1174765"/>
                      <a:pt x="1069903" y="1188333"/>
                    </a:cubicBezTo>
                    <a:cubicBezTo>
                      <a:pt x="1049905" y="1206901"/>
                      <a:pt x="1027050" y="1217613"/>
                      <a:pt x="1008480" y="1217613"/>
                    </a:cubicBezTo>
                    <a:cubicBezTo>
                      <a:pt x="997767" y="1217613"/>
                      <a:pt x="988482" y="1214042"/>
                      <a:pt x="981340" y="1206901"/>
                    </a:cubicBezTo>
                    <a:cubicBezTo>
                      <a:pt x="981340" y="1206901"/>
                      <a:pt x="944200" y="1167623"/>
                      <a:pt x="898490" y="1119776"/>
                    </a:cubicBezTo>
                    <a:cubicBezTo>
                      <a:pt x="898490" y="1119776"/>
                      <a:pt x="898490" y="1119776"/>
                      <a:pt x="898490" y="1176907"/>
                    </a:cubicBezTo>
                    <a:cubicBezTo>
                      <a:pt x="898490" y="1186191"/>
                      <a:pt x="892062" y="1192618"/>
                      <a:pt x="882777" y="1192618"/>
                    </a:cubicBezTo>
                    <a:cubicBezTo>
                      <a:pt x="882777" y="1192618"/>
                      <a:pt x="882777" y="1192618"/>
                      <a:pt x="15713" y="1192618"/>
                    </a:cubicBezTo>
                    <a:cubicBezTo>
                      <a:pt x="6428" y="1192618"/>
                      <a:pt x="0" y="1186191"/>
                      <a:pt x="0" y="1176907"/>
                    </a:cubicBezTo>
                    <a:cubicBezTo>
                      <a:pt x="0" y="1176907"/>
                      <a:pt x="0" y="1176907"/>
                      <a:pt x="0" y="15711"/>
                    </a:cubicBezTo>
                    <a:cubicBezTo>
                      <a:pt x="0" y="7142"/>
                      <a:pt x="6428" y="0"/>
                      <a:pt x="15713" y="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dirty="0"/>
              </a:p>
            </p:txBody>
          </p:sp>
          <p:sp>
            <p:nvSpPr>
              <p:cNvPr id="60" name="Freeform 31">
                <a:extLst>
                  <a:ext uri="{FF2B5EF4-FFF2-40B4-BE49-F238E27FC236}">
                    <a16:creationId xmlns:a16="http://schemas.microsoft.com/office/drawing/2014/main" id="{9BBFAAF9-6088-4ACA-B631-0DD7D1B94DF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808662" y="3076575"/>
                <a:ext cx="576262" cy="819151"/>
              </a:xfrm>
              <a:custGeom>
                <a:avLst/>
                <a:gdLst>
                  <a:gd name="connsiteX0" fmla="*/ 19964 w 576262"/>
                  <a:gd name="connsiteY0" fmla="*/ 779463 h 819151"/>
                  <a:gd name="connsiteX1" fmla="*/ 554711 w 576262"/>
                  <a:gd name="connsiteY1" fmla="*/ 779463 h 819151"/>
                  <a:gd name="connsiteX2" fmla="*/ 574675 w 576262"/>
                  <a:gd name="connsiteY2" fmla="*/ 798946 h 819151"/>
                  <a:gd name="connsiteX3" fmla="*/ 554711 w 576262"/>
                  <a:gd name="connsiteY3" fmla="*/ 819151 h 819151"/>
                  <a:gd name="connsiteX4" fmla="*/ 19964 w 576262"/>
                  <a:gd name="connsiteY4" fmla="*/ 819151 h 819151"/>
                  <a:gd name="connsiteX5" fmla="*/ 0 w 576262"/>
                  <a:gd name="connsiteY5" fmla="*/ 798946 h 819151"/>
                  <a:gd name="connsiteX6" fmla="*/ 19964 w 576262"/>
                  <a:gd name="connsiteY6" fmla="*/ 779463 h 819151"/>
                  <a:gd name="connsiteX7" fmla="*/ 19896 w 576262"/>
                  <a:gd name="connsiteY7" fmla="*/ 649288 h 819151"/>
                  <a:gd name="connsiteX8" fmla="*/ 99483 w 576262"/>
                  <a:gd name="connsiteY8" fmla="*/ 649288 h 819151"/>
                  <a:gd name="connsiteX9" fmla="*/ 149225 w 576262"/>
                  <a:gd name="connsiteY9" fmla="*/ 688976 h 819151"/>
                  <a:gd name="connsiteX10" fmla="*/ 19896 w 576262"/>
                  <a:gd name="connsiteY10" fmla="*/ 688976 h 819151"/>
                  <a:gd name="connsiteX11" fmla="*/ 0 w 576262"/>
                  <a:gd name="connsiteY11" fmla="*/ 669493 h 819151"/>
                  <a:gd name="connsiteX12" fmla="*/ 19896 w 576262"/>
                  <a:gd name="connsiteY12" fmla="*/ 649288 h 819151"/>
                  <a:gd name="connsiteX13" fmla="*/ 127000 w 576262"/>
                  <a:gd name="connsiteY13" fmla="*/ 538163 h 819151"/>
                  <a:gd name="connsiteX14" fmla="*/ 136993 w 576262"/>
                  <a:gd name="connsiteY14" fmla="*/ 538163 h 819151"/>
                  <a:gd name="connsiteX15" fmla="*/ 528170 w 576262"/>
                  <a:gd name="connsiteY15" fmla="*/ 538163 h 819151"/>
                  <a:gd name="connsiteX16" fmla="*/ 538163 w 576262"/>
                  <a:gd name="connsiteY16" fmla="*/ 538163 h 819151"/>
                  <a:gd name="connsiteX17" fmla="*/ 523173 w 576262"/>
                  <a:gd name="connsiteY17" fmla="*/ 559209 h 819151"/>
                  <a:gd name="connsiteX18" fmla="*/ 494620 w 576262"/>
                  <a:gd name="connsiteY18" fmla="*/ 588963 h 819151"/>
                  <a:gd name="connsiteX19" fmla="*/ 481057 w 576262"/>
                  <a:gd name="connsiteY19" fmla="*/ 588963 h 819151"/>
                  <a:gd name="connsiteX20" fmla="*/ 183392 w 576262"/>
                  <a:gd name="connsiteY20" fmla="*/ 588963 h 819151"/>
                  <a:gd name="connsiteX21" fmla="*/ 169830 w 576262"/>
                  <a:gd name="connsiteY21" fmla="*/ 588963 h 819151"/>
                  <a:gd name="connsiteX22" fmla="*/ 141990 w 576262"/>
                  <a:gd name="connsiteY22" fmla="*/ 559209 h 819151"/>
                  <a:gd name="connsiteX23" fmla="*/ 127000 w 576262"/>
                  <a:gd name="connsiteY23" fmla="*/ 538163 h 819151"/>
                  <a:gd name="connsiteX24" fmla="*/ 15153 w 576262"/>
                  <a:gd name="connsiteY24" fmla="*/ 520700 h 819151"/>
                  <a:gd name="connsiteX25" fmla="*/ 31750 w 576262"/>
                  <a:gd name="connsiteY25" fmla="*/ 558800 h 819151"/>
                  <a:gd name="connsiteX26" fmla="*/ 20204 w 576262"/>
                  <a:gd name="connsiteY26" fmla="*/ 558800 h 819151"/>
                  <a:gd name="connsiteX27" fmla="*/ 0 w 576262"/>
                  <a:gd name="connsiteY27" fmla="*/ 539045 h 819151"/>
                  <a:gd name="connsiteX28" fmla="*/ 15153 w 576262"/>
                  <a:gd name="connsiteY28" fmla="*/ 520700 h 819151"/>
                  <a:gd name="connsiteX29" fmla="*/ 87312 w 576262"/>
                  <a:gd name="connsiteY29" fmla="*/ 422275 h 819151"/>
                  <a:gd name="connsiteX30" fmla="*/ 95877 w 576262"/>
                  <a:gd name="connsiteY30" fmla="*/ 422275 h 819151"/>
                  <a:gd name="connsiteX31" fmla="*/ 568410 w 576262"/>
                  <a:gd name="connsiteY31" fmla="*/ 422275 h 819151"/>
                  <a:gd name="connsiteX32" fmla="*/ 569838 w 576262"/>
                  <a:gd name="connsiteY32" fmla="*/ 422275 h 819151"/>
                  <a:gd name="connsiteX33" fmla="*/ 576262 w 576262"/>
                  <a:gd name="connsiteY33" fmla="*/ 422275 h 819151"/>
                  <a:gd name="connsiteX34" fmla="*/ 567697 w 576262"/>
                  <a:gd name="connsiteY34" fmla="*/ 473075 h 819151"/>
                  <a:gd name="connsiteX35" fmla="*/ 559131 w 576262"/>
                  <a:gd name="connsiteY35" fmla="*/ 473075 h 819151"/>
                  <a:gd name="connsiteX36" fmla="*/ 104443 w 576262"/>
                  <a:gd name="connsiteY36" fmla="*/ 473075 h 819151"/>
                  <a:gd name="connsiteX37" fmla="*/ 96591 w 576262"/>
                  <a:gd name="connsiteY37" fmla="*/ 473075 h 819151"/>
                  <a:gd name="connsiteX38" fmla="*/ 93736 w 576262"/>
                  <a:gd name="connsiteY38" fmla="*/ 463197 h 819151"/>
                  <a:gd name="connsiteX39" fmla="*/ 88026 w 576262"/>
                  <a:gd name="connsiteY39" fmla="*/ 432153 h 819151"/>
                  <a:gd name="connsiteX40" fmla="*/ 88026 w 576262"/>
                  <a:gd name="connsiteY40" fmla="*/ 428625 h 819151"/>
                  <a:gd name="connsiteX41" fmla="*/ 87312 w 576262"/>
                  <a:gd name="connsiteY41" fmla="*/ 422275 h 819151"/>
                  <a:gd name="connsiteX42" fmla="*/ 107775 w 576262"/>
                  <a:gd name="connsiteY42" fmla="*/ 307975 h 819151"/>
                  <a:gd name="connsiteX43" fmla="*/ 117053 w 576262"/>
                  <a:gd name="connsiteY43" fmla="*/ 307975 h 819151"/>
                  <a:gd name="connsiteX44" fmla="*/ 548110 w 576262"/>
                  <a:gd name="connsiteY44" fmla="*/ 307975 h 819151"/>
                  <a:gd name="connsiteX45" fmla="*/ 556674 w 576262"/>
                  <a:gd name="connsiteY45" fmla="*/ 307975 h 819151"/>
                  <a:gd name="connsiteX46" fmla="*/ 573088 w 576262"/>
                  <a:gd name="connsiteY46" fmla="*/ 358775 h 819151"/>
                  <a:gd name="connsiteX47" fmla="*/ 564524 w 576262"/>
                  <a:gd name="connsiteY47" fmla="*/ 358775 h 819151"/>
                  <a:gd name="connsiteX48" fmla="*/ 100639 w 576262"/>
                  <a:gd name="connsiteY48" fmla="*/ 358775 h 819151"/>
                  <a:gd name="connsiteX49" fmla="*/ 92075 w 576262"/>
                  <a:gd name="connsiteY49" fmla="*/ 358775 h 819151"/>
                  <a:gd name="connsiteX50" fmla="*/ 107775 w 576262"/>
                  <a:gd name="connsiteY50" fmla="*/ 307975 h 819151"/>
                  <a:gd name="connsiteX51" fmla="*/ 19376 w 576262"/>
                  <a:gd name="connsiteY51" fmla="*/ 258763 h 819151"/>
                  <a:gd name="connsiteX52" fmla="*/ 26988 w 576262"/>
                  <a:gd name="connsiteY52" fmla="*/ 258763 h 819151"/>
                  <a:gd name="connsiteX53" fmla="*/ 26296 w 576262"/>
                  <a:gd name="connsiteY53" fmla="*/ 259482 h 819151"/>
                  <a:gd name="connsiteX54" fmla="*/ 23528 w 576262"/>
                  <a:gd name="connsiteY54" fmla="*/ 265233 h 819151"/>
                  <a:gd name="connsiteX55" fmla="*/ 11764 w 576262"/>
                  <a:gd name="connsiteY55" fmla="*/ 296863 h 819151"/>
                  <a:gd name="connsiteX56" fmla="*/ 0 w 576262"/>
                  <a:gd name="connsiteY56" fmla="*/ 278891 h 819151"/>
                  <a:gd name="connsiteX57" fmla="*/ 19376 w 576262"/>
                  <a:gd name="connsiteY57" fmla="*/ 258763 h 819151"/>
                  <a:gd name="connsiteX58" fmla="*/ 207513 w 576262"/>
                  <a:gd name="connsiteY58" fmla="*/ 195263 h 819151"/>
                  <a:gd name="connsiteX59" fmla="*/ 226809 w 576262"/>
                  <a:gd name="connsiteY59" fmla="*/ 195263 h 819151"/>
                  <a:gd name="connsiteX60" fmla="*/ 438354 w 576262"/>
                  <a:gd name="connsiteY60" fmla="*/ 195263 h 819151"/>
                  <a:gd name="connsiteX61" fmla="*/ 456936 w 576262"/>
                  <a:gd name="connsiteY61" fmla="*/ 195263 h 819151"/>
                  <a:gd name="connsiteX62" fmla="*/ 506249 w 576262"/>
                  <a:gd name="connsiteY62" fmla="*/ 233363 h 819151"/>
                  <a:gd name="connsiteX63" fmla="*/ 509822 w 576262"/>
                  <a:gd name="connsiteY63" fmla="*/ 236185 h 819151"/>
                  <a:gd name="connsiteX64" fmla="*/ 519113 w 576262"/>
                  <a:gd name="connsiteY64" fmla="*/ 246063 h 819151"/>
                  <a:gd name="connsiteX65" fmla="*/ 506249 w 576262"/>
                  <a:gd name="connsiteY65" fmla="*/ 246063 h 819151"/>
                  <a:gd name="connsiteX66" fmla="*/ 158200 w 576262"/>
                  <a:gd name="connsiteY66" fmla="*/ 246063 h 819151"/>
                  <a:gd name="connsiteX67" fmla="*/ 146050 w 576262"/>
                  <a:gd name="connsiteY67" fmla="*/ 246063 h 819151"/>
                  <a:gd name="connsiteX68" fmla="*/ 155341 w 576262"/>
                  <a:gd name="connsiteY68" fmla="*/ 236185 h 819151"/>
                  <a:gd name="connsiteX69" fmla="*/ 175352 w 576262"/>
                  <a:gd name="connsiteY69" fmla="*/ 217841 h 819151"/>
                  <a:gd name="connsiteX70" fmla="*/ 207513 w 576262"/>
                  <a:gd name="connsiteY70" fmla="*/ 195263 h 819151"/>
                  <a:gd name="connsiteX71" fmla="*/ 527050 w 576262"/>
                  <a:gd name="connsiteY71" fmla="*/ 130175 h 819151"/>
                  <a:gd name="connsiteX72" fmla="*/ 554772 w 576262"/>
                  <a:gd name="connsiteY72" fmla="*/ 130175 h 819151"/>
                  <a:gd name="connsiteX73" fmla="*/ 574675 w 576262"/>
                  <a:gd name="connsiteY73" fmla="*/ 148927 h 819151"/>
                  <a:gd name="connsiteX74" fmla="*/ 568278 w 576262"/>
                  <a:gd name="connsiteY74" fmla="*/ 163513 h 819151"/>
                  <a:gd name="connsiteX75" fmla="*/ 537713 w 576262"/>
                  <a:gd name="connsiteY75" fmla="*/ 137815 h 819151"/>
                  <a:gd name="connsiteX76" fmla="*/ 527050 w 576262"/>
                  <a:gd name="connsiteY76" fmla="*/ 130175 h 819151"/>
                  <a:gd name="connsiteX77" fmla="*/ 20037 w 576262"/>
                  <a:gd name="connsiteY77" fmla="*/ 130175 h 819151"/>
                  <a:gd name="connsiteX78" fmla="*/ 138113 w 576262"/>
                  <a:gd name="connsiteY78" fmla="*/ 130175 h 819151"/>
                  <a:gd name="connsiteX79" fmla="*/ 127379 w 576262"/>
                  <a:gd name="connsiteY79" fmla="*/ 137795 h 819151"/>
                  <a:gd name="connsiteX80" fmla="*/ 98754 w 576262"/>
                  <a:gd name="connsiteY80" fmla="*/ 161348 h 819151"/>
                  <a:gd name="connsiteX81" fmla="*/ 91598 w 576262"/>
                  <a:gd name="connsiteY81" fmla="*/ 168275 h 819151"/>
                  <a:gd name="connsiteX82" fmla="*/ 20037 w 576262"/>
                  <a:gd name="connsiteY82" fmla="*/ 168275 h 819151"/>
                  <a:gd name="connsiteX83" fmla="*/ 0 w 576262"/>
                  <a:gd name="connsiteY83" fmla="*/ 148879 h 819151"/>
                  <a:gd name="connsiteX84" fmla="*/ 20037 w 576262"/>
                  <a:gd name="connsiteY84" fmla="*/ 130175 h 819151"/>
                  <a:gd name="connsiteX85" fmla="*/ 19964 w 576262"/>
                  <a:gd name="connsiteY85" fmla="*/ 0 h 819151"/>
                  <a:gd name="connsiteX86" fmla="*/ 554711 w 576262"/>
                  <a:gd name="connsiteY86" fmla="*/ 0 h 819151"/>
                  <a:gd name="connsiteX87" fmla="*/ 574675 w 576262"/>
                  <a:gd name="connsiteY87" fmla="*/ 20205 h 819151"/>
                  <a:gd name="connsiteX88" fmla="*/ 554711 w 576262"/>
                  <a:gd name="connsiteY88" fmla="*/ 39688 h 819151"/>
                  <a:gd name="connsiteX89" fmla="*/ 19964 w 576262"/>
                  <a:gd name="connsiteY89" fmla="*/ 39688 h 819151"/>
                  <a:gd name="connsiteX90" fmla="*/ 0 w 576262"/>
                  <a:gd name="connsiteY90" fmla="*/ 20205 h 819151"/>
                  <a:gd name="connsiteX91" fmla="*/ 19964 w 576262"/>
                  <a:gd name="connsiteY91" fmla="*/ 0 h 8191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</a:cxnLst>
                <a:rect l="l" t="t" r="r" b="b"/>
                <a:pathLst>
                  <a:path w="576262" h="819151">
                    <a:moveTo>
                      <a:pt x="19964" y="779463"/>
                    </a:moveTo>
                    <a:cubicBezTo>
                      <a:pt x="554711" y="779463"/>
                      <a:pt x="554711" y="779463"/>
                      <a:pt x="554711" y="779463"/>
                    </a:cubicBezTo>
                    <a:cubicBezTo>
                      <a:pt x="566832" y="779463"/>
                      <a:pt x="574675" y="788122"/>
                      <a:pt x="574675" y="798946"/>
                    </a:cubicBezTo>
                    <a:cubicBezTo>
                      <a:pt x="574675" y="809770"/>
                      <a:pt x="566832" y="819151"/>
                      <a:pt x="554711" y="819151"/>
                    </a:cubicBezTo>
                    <a:cubicBezTo>
                      <a:pt x="19964" y="819151"/>
                      <a:pt x="19964" y="819151"/>
                      <a:pt x="19964" y="819151"/>
                    </a:cubicBezTo>
                    <a:cubicBezTo>
                      <a:pt x="9269" y="819151"/>
                      <a:pt x="0" y="809770"/>
                      <a:pt x="0" y="798946"/>
                    </a:cubicBezTo>
                    <a:cubicBezTo>
                      <a:pt x="0" y="788122"/>
                      <a:pt x="9269" y="779463"/>
                      <a:pt x="19964" y="779463"/>
                    </a:cubicBezTo>
                    <a:close/>
                    <a:moveTo>
                      <a:pt x="19896" y="649288"/>
                    </a:moveTo>
                    <a:cubicBezTo>
                      <a:pt x="47610" y="649288"/>
                      <a:pt x="73902" y="649288"/>
                      <a:pt x="99483" y="649288"/>
                    </a:cubicBezTo>
                    <a:cubicBezTo>
                      <a:pt x="115116" y="664442"/>
                      <a:pt x="131460" y="677431"/>
                      <a:pt x="149225" y="688976"/>
                    </a:cubicBezTo>
                    <a:cubicBezTo>
                      <a:pt x="19896" y="688976"/>
                      <a:pt x="19896" y="688976"/>
                      <a:pt x="19896" y="688976"/>
                    </a:cubicBezTo>
                    <a:cubicBezTo>
                      <a:pt x="9237" y="688976"/>
                      <a:pt x="0" y="681039"/>
                      <a:pt x="0" y="669493"/>
                    </a:cubicBezTo>
                    <a:cubicBezTo>
                      <a:pt x="0" y="658669"/>
                      <a:pt x="9237" y="649288"/>
                      <a:pt x="19896" y="649288"/>
                    </a:cubicBezTo>
                    <a:close/>
                    <a:moveTo>
                      <a:pt x="127000" y="538163"/>
                    </a:moveTo>
                    <a:cubicBezTo>
                      <a:pt x="127000" y="538163"/>
                      <a:pt x="127000" y="538163"/>
                      <a:pt x="136993" y="538163"/>
                    </a:cubicBezTo>
                    <a:cubicBezTo>
                      <a:pt x="136993" y="538163"/>
                      <a:pt x="136993" y="538163"/>
                      <a:pt x="528170" y="538163"/>
                    </a:cubicBezTo>
                    <a:cubicBezTo>
                      <a:pt x="528170" y="538163"/>
                      <a:pt x="528170" y="538163"/>
                      <a:pt x="538163" y="538163"/>
                    </a:cubicBezTo>
                    <a:cubicBezTo>
                      <a:pt x="533166" y="545420"/>
                      <a:pt x="528170" y="552677"/>
                      <a:pt x="523173" y="559209"/>
                    </a:cubicBezTo>
                    <a:cubicBezTo>
                      <a:pt x="514607" y="570095"/>
                      <a:pt x="504613" y="580255"/>
                      <a:pt x="494620" y="588963"/>
                    </a:cubicBezTo>
                    <a:cubicBezTo>
                      <a:pt x="494620" y="588963"/>
                      <a:pt x="494620" y="588963"/>
                      <a:pt x="481057" y="588963"/>
                    </a:cubicBezTo>
                    <a:cubicBezTo>
                      <a:pt x="481057" y="588963"/>
                      <a:pt x="481057" y="588963"/>
                      <a:pt x="183392" y="588963"/>
                    </a:cubicBezTo>
                    <a:cubicBezTo>
                      <a:pt x="183392" y="588963"/>
                      <a:pt x="183392" y="588963"/>
                      <a:pt x="169830" y="588963"/>
                    </a:cubicBezTo>
                    <a:cubicBezTo>
                      <a:pt x="159836" y="580255"/>
                      <a:pt x="150556" y="570095"/>
                      <a:pt x="141990" y="559209"/>
                    </a:cubicBezTo>
                    <a:cubicBezTo>
                      <a:pt x="136279" y="552677"/>
                      <a:pt x="131283" y="545420"/>
                      <a:pt x="127000" y="538163"/>
                    </a:cubicBezTo>
                    <a:close/>
                    <a:moveTo>
                      <a:pt x="15153" y="520700"/>
                    </a:moveTo>
                    <a:cubicBezTo>
                      <a:pt x="19483" y="533400"/>
                      <a:pt x="25255" y="546100"/>
                      <a:pt x="31750" y="558800"/>
                    </a:cubicBezTo>
                    <a:cubicBezTo>
                      <a:pt x="20204" y="558800"/>
                      <a:pt x="20204" y="558800"/>
                      <a:pt x="20204" y="558800"/>
                    </a:cubicBezTo>
                    <a:cubicBezTo>
                      <a:pt x="9380" y="558800"/>
                      <a:pt x="0" y="549628"/>
                      <a:pt x="0" y="539045"/>
                    </a:cubicBezTo>
                    <a:cubicBezTo>
                      <a:pt x="0" y="530578"/>
                      <a:pt x="6494" y="522817"/>
                      <a:pt x="15153" y="520700"/>
                    </a:cubicBezTo>
                    <a:close/>
                    <a:moveTo>
                      <a:pt x="87312" y="422275"/>
                    </a:moveTo>
                    <a:cubicBezTo>
                      <a:pt x="87312" y="422275"/>
                      <a:pt x="87312" y="422275"/>
                      <a:pt x="95877" y="422275"/>
                    </a:cubicBezTo>
                    <a:cubicBezTo>
                      <a:pt x="95877" y="422275"/>
                      <a:pt x="95877" y="422275"/>
                      <a:pt x="568410" y="422275"/>
                    </a:cubicBezTo>
                    <a:lnTo>
                      <a:pt x="569838" y="422275"/>
                    </a:lnTo>
                    <a:cubicBezTo>
                      <a:pt x="569838" y="422275"/>
                      <a:pt x="569838" y="422275"/>
                      <a:pt x="576262" y="422275"/>
                    </a:cubicBezTo>
                    <a:cubicBezTo>
                      <a:pt x="575548" y="439914"/>
                      <a:pt x="571979" y="456847"/>
                      <a:pt x="567697" y="473075"/>
                    </a:cubicBezTo>
                    <a:cubicBezTo>
                      <a:pt x="567697" y="473075"/>
                      <a:pt x="567697" y="473075"/>
                      <a:pt x="559131" y="473075"/>
                    </a:cubicBezTo>
                    <a:cubicBezTo>
                      <a:pt x="559131" y="473075"/>
                      <a:pt x="559131" y="473075"/>
                      <a:pt x="104443" y="473075"/>
                    </a:cubicBezTo>
                    <a:cubicBezTo>
                      <a:pt x="104443" y="473075"/>
                      <a:pt x="104443" y="473075"/>
                      <a:pt x="96591" y="473075"/>
                    </a:cubicBezTo>
                    <a:cubicBezTo>
                      <a:pt x="95877" y="469547"/>
                      <a:pt x="94450" y="466725"/>
                      <a:pt x="93736" y="463197"/>
                    </a:cubicBezTo>
                    <a:cubicBezTo>
                      <a:pt x="91595" y="453320"/>
                      <a:pt x="89453" y="442736"/>
                      <a:pt x="88026" y="432153"/>
                    </a:cubicBezTo>
                    <a:cubicBezTo>
                      <a:pt x="88026" y="430742"/>
                      <a:pt x="88026" y="429331"/>
                      <a:pt x="88026" y="428625"/>
                    </a:cubicBezTo>
                    <a:cubicBezTo>
                      <a:pt x="88026" y="426508"/>
                      <a:pt x="87312" y="424392"/>
                      <a:pt x="87312" y="422275"/>
                    </a:cubicBezTo>
                    <a:close/>
                    <a:moveTo>
                      <a:pt x="107775" y="307975"/>
                    </a:moveTo>
                    <a:cubicBezTo>
                      <a:pt x="107775" y="307975"/>
                      <a:pt x="107775" y="307975"/>
                      <a:pt x="117053" y="307975"/>
                    </a:cubicBezTo>
                    <a:cubicBezTo>
                      <a:pt x="117053" y="307975"/>
                      <a:pt x="117053" y="307975"/>
                      <a:pt x="548110" y="307975"/>
                    </a:cubicBezTo>
                    <a:cubicBezTo>
                      <a:pt x="548110" y="307975"/>
                      <a:pt x="548110" y="307975"/>
                      <a:pt x="556674" y="307975"/>
                    </a:cubicBezTo>
                    <a:cubicBezTo>
                      <a:pt x="563811" y="324203"/>
                      <a:pt x="569520" y="341136"/>
                      <a:pt x="573088" y="358775"/>
                    </a:cubicBezTo>
                    <a:cubicBezTo>
                      <a:pt x="573088" y="358775"/>
                      <a:pt x="573088" y="358775"/>
                      <a:pt x="564524" y="358775"/>
                    </a:cubicBezTo>
                    <a:lnTo>
                      <a:pt x="100639" y="358775"/>
                    </a:lnTo>
                    <a:cubicBezTo>
                      <a:pt x="100639" y="358775"/>
                      <a:pt x="100639" y="358775"/>
                      <a:pt x="92075" y="358775"/>
                    </a:cubicBezTo>
                    <a:cubicBezTo>
                      <a:pt x="95643" y="341136"/>
                      <a:pt x="100639" y="324203"/>
                      <a:pt x="107775" y="307975"/>
                    </a:cubicBezTo>
                    <a:close/>
                    <a:moveTo>
                      <a:pt x="19376" y="258763"/>
                    </a:moveTo>
                    <a:cubicBezTo>
                      <a:pt x="21452" y="258763"/>
                      <a:pt x="24220" y="258763"/>
                      <a:pt x="26988" y="258763"/>
                    </a:cubicBezTo>
                    <a:cubicBezTo>
                      <a:pt x="26988" y="258763"/>
                      <a:pt x="26988" y="258763"/>
                      <a:pt x="26296" y="259482"/>
                    </a:cubicBezTo>
                    <a:cubicBezTo>
                      <a:pt x="26296" y="259482"/>
                      <a:pt x="26296" y="259482"/>
                      <a:pt x="23528" y="265233"/>
                    </a:cubicBezTo>
                    <a:cubicBezTo>
                      <a:pt x="19376" y="276016"/>
                      <a:pt x="15224" y="286080"/>
                      <a:pt x="11764" y="296863"/>
                    </a:cubicBezTo>
                    <a:cubicBezTo>
                      <a:pt x="4844" y="293988"/>
                      <a:pt x="0" y="286799"/>
                      <a:pt x="0" y="278891"/>
                    </a:cubicBezTo>
                    <a:cubicBezTo>
                      <a:pt x="0" y="268108"/>
                      <a:pt x="8996" y="258763"/>
                      <a:pt x="19376" y="258763"/>
                    </a:cubicBezTo>
                    <a:close/>
                    <a:moveTo>
                      <a:pt x="207513" y="195263"/>
                    </a:moveTo>
                    <a:cubicBezTo>
                      <a:pt x="207513" y="195263"/>
                      <a:pt x="207513" y="195263"/>
                      <a:pt x="226809" y="195263"/>
                    </a:cubicBezTo>
                    <a:cubicBezTo>
                      <a:pt x="226809" y="195263"/>
                      <a:pt x="226809" y="195263"/>
                      <a:pt x="438354" y="195263"/>
                    </a:cubicBezTo>
                    <a:cubicBezTo>
                      <a:pt x="438354" y="195263"/>
                      <a:pt x="438354" y="195263"/>
                      <a:pt x="456936" y="195263"/>
                    </a:cubicBezTo>
                    <a:cubicBezTo>
                      <a:pt x="475518" y="205846"/>
                      <a:pt x="491955" y="218546"/>
                      <a:pt x="506249" y="233363"/>
                    </a:cubicBezTo>
                    <a:cubicBezTo>
                      <a:pt x="507678" y="234069"/>
                      <a:pt x="508393" y="235480"/>
                      <a:pt x="509822" y="236185"/>
                    </a:cubicBezTo>
                    <a:cubicBezTo>
                      <a:pt x="512681" y="239713"/>
                      <a:pt x="515540" y="243241"/>
                      <a:pt x="519113" y="246063"/>
                    </a:cubicBezTo>
                    <a:lnTo>
                      <a:pt x="506249" y="246063"/>
                    </a:lnTo>
                    <a:cubicBezTo>
                      <a:pt x="506249" y="246063"/>
                      <a:pt x="506249" y="246063"/>
                      <a:pt x="158200" y="246063"/>
                    </a:cubicBezTo>
                    <a:cubicBezTo>
                      <a:pt x="158200" y="246063"/>
                      <a:pt x="158200" y="246063"/>
                      <a:pt x="146050" y="246063"/>
                    </a:cubicBezTo>
                    <a:cubicBezTo>
                      <a:pt x="148909" y="243241"/>
                      <a:pt x="151768" y="239713"/>
                      <a:pt x="155341" y="236185"/>
                    </a:cubicBezTo>
                    <a:cubicBezTo>
                      <a:pt x="161773" y="229835"/>
                      <a:pt x="168205" y="223485"/>
                      <a:pt x="175352" y="217841"/>
                    </a:cubicBezTo>
                    <a:cubicBezTo>
                      <a:pt x="185358" y="209374"/>
                      <a:pt x="196078" y="202319"/>
                      <a:pt x="207513" y="195263"/>
                    </a:cubicBezTo>
                    <a:close/>
                    <a:moveTo>
                      <a:pt x="527050" y="130175"/>
                    </a:moveTo>
                    <a:cubicBezTo>
                      <a:pt x="554772" y="130175"/>
                      <a:pt x="554772" y="130175"/>
                      <a:pt x="554772" y="130175"/>
                    </a:cubicBezTo>
                    <a:cubicBezTo>
                      <a:pt x="566856" y="130175"/>
                      <a:pt x="574675" y="138509"/>
                      <a:pt x="574675" y="148927"/>
                    </a:cubicBezTo>
                    <a:cubicBezTo>
                      <a:pt x="574675" y="154484"/>
                      <a:pt x="571832" y="160040"/>
                      <a:pt x="568278" y="163513"/>
                    </a:cubicBezTo>
                    <a:cubicBezTo>
                      <a:pt x="558326" y="153789"/>
                      <a:pt x="548375" y="145455"/>
                      <a:pt x="537713" y="137815"/>
                    </a:cubicBezTo>
                    <a:cubicBezTo>
                      <a:pt x="534158" y="135037"/>
                      <a:pt x="530604" y="132258"/>
                      <a:pt x="527050" y="130175"/>
                    </a:cubicBezTo>
                    <a:close/>
                    <a:moveTo>
                      <a:pt x="20037" y="130175"/>
                    </a:moveTo>
                    <a:cubicBezTo>
                      <a:pt x="62258" y="130175"/>
                      <a:pt x="101617" y="130175"/>
                      <a:pt x="138113" y="130175"/>
                    </a:cubicBezTo>
                    <a:cubicBezTo>
                      <a:pt x="134535" y="132253"/>
                      <a:pt x="130241" y="135024"/>
                      <a:pt x="127379" y="137795"/>
                    </a:cubicBezTo>
                    <a:cubicBezTo>
                      <a:pt x="115213" y="146108"/>
                      <a:pt x="106626" y="153728"/>
                      <a:pt x="98754" y="161348"/>
                    </a:cubicBezTo>
                    <a:cubicBezTo>
                      <a:pt x="96607" y="163426"/>
                      <a:pt x="94460" y="165504"/>
                      <a:pt x="91598" y="168275"/>
                    </a:cubicBezTo>
                    <a:cubicBezTo>
                      <a:pt x="20037" y="168275"/>
                      <a:pt x="20037" y="168275"/>
                      <a:pt x="20037" y="168275"/>
                    </a:cubicBezTo>
                    <a:cubicBezTo>
                      <a:pt x="9303" y="168275"/>
                      <a:pt x="0" y="159269"/>
                      <a:pt x="0" y="148879"/>
                    </a:cubicBezTo>
                    <a:cubicBezTo>
                      <a:pt x="0" y="138488"/>
                      <a:pt x="9303" y="130175"/>
                      <a:pt x="20037" y="130175"/>
                    </a:cubicBezTo>
                    <a:close/>
                    <a:moveTo>
                      <a:pt x="19964" y="0"/>
                    </a:moveTo>
                    <a:cubicBezTo>
                      <a:pt x="554711" y="0"/>
                      <a:pt x="554711" y="0"/>
                      <a:pt x="554711" y="0"/>
                    </a:cubicBezTo>
                    <a:cubicBezTo>
                      <a:pt x="566832" y="0"/>
                      <a:pt x="574675" y="7937"/>
                      <a:pt x="574675" y="20205"/>
                    </a:cubicBezTo>
                    <a:cubicBezTo>
                      <a:pt x="574675" y="31029"/>
                      <a:pt x="566832" y="39688"/>
                      <a:pt x="554711" y="39688"/>
                    </a:cubicBezTo>
                    <a:cubicBezTo>
                      <a:pt x="19964" y="39688"/>
                      <a:pt x="19964" y="39688"/>
                      <a:pt x="19964" y="39688"/>
                    </a:cubicBezTo>
                    <a:cubicBezTo>
                      <a:pt x="9269" y="39688"/>
                      <a:pt x="0" y="31029"/>
                      <a:pt x="0" y="20205"/>
                    </a:cubicBezTo>
                    <a:cubicBezTo>
                      <a:pt x="0" y="7937"/>
                      <a:pt x="9269" y="0"/>
                      <a:pt x="19964" y="0"/>
                    </a:cubicBez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dirty="0"/>
              </a:p>
            </p:txBody>
          </p:sp>
        </p:grpSp>
      </p:grpSp>
      <p:grpSp>
        <p:nvGrpSpPr>
          <p:cNvPr id="61" name="Group 60">
            <a:extLst>
              <a:ext uri="{FF2B5EF4-FFF2-40B4-BE49-F238E27FC236}">
                <a16:creationId xmlns:a16="http://schemas.microsoft.com/office/drawing/2014/main" id="{BDAF9065-A075-4150-8208-08E7B5ECE0CB}"/>
              </a:ext>
            </a:extLst>
          </p:cNvPr>
          <p:cNvGrpSpPr>
            <a:grpSpLocks noChangeAspect="1"/>
          </p:cNvGrpSpPr>
          <p:nvPr/>
        </p:nvGrpSpPr>
        <p:grpSpPr>
          <a:xfrm>
            <a:off x="3202686" y="2583434"/>
            <a:ext cx="818141" cy="818141"/>
            <a:chOff x="5272882" y="2605881"/>
            <a:chExt cx="1646237" cy="1646238"/>
          </a:xfrm>
        </p:grpSpPr>
        <p:sp>
          <p:nvSpPr>
            <p:cNvPr id="62" name="AutoShape 80">
              <a:extLst>
                <a:ext uri="{FF2B5EF4-FFF2-40B4-BE49-F238E27FC236}">
                  <a16:creationId xmlns:a16="http://schemas.microsoft.com/office/drawing/2014/main" id="{916E0E95-2F27-42D0-86F5-487439595809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5272882" y="2605881"/>
              <a:ext cx="1646237" cy="16462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D4DF33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575757"/>
                </a:solidFill>
              </a:endParaRPr>
            </a:p>
          </p:txBody>
        </p:sp>
        <p:grpSp>
          <p:nvGrpSpPr>
            <p:cNvPr id="63" name="Group 62">
              <a:extLst>
                <a:ext uri="{FF2B5EF4-FFF2-40B4-BE49-F238E27FC236}">
                  <a16:creationId xmlns:a16="http://schemas.microsoft.com/office/drawing/2014/main" id="{7C877E69-DAF8-4FA0-B975-415E13386D81}"/>
                </a:ext>
              </a:extLst>
            </p:cNvPr>
            <p:cNvGrpSpPr/>
            <p:nvPr/>
          </p:nvGrpSpPr>
          <p:grpSpPr>
            <a:xfrm>
              <a:off x="5550694" y="3164681"/>
              <a:ext cx="1090612" cy="528638"/>
              <a:chOff x="5550694" y="3156744"/>
              <a:chExt cx="1090612" cy="528638"/>
            </a:xfrm>
          </p:grpSpPr>
          <p:sp>
            <p:nvSpPr>
              <p:cNvPr id="64" name="Freeform 82">
                <a:extLst>
                  <a:ext uri="{FF2B5EF4-FFF2-40B4-BE49-F238E27FC236}">
                    <a16:creationId xmlns:a16="http://schemas.microsoft.com/office/drawing/2014/main" id="{5FB9543F-312D-4DA2-9F1C-81D112FECF9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69757" y="3156744"/>
                <a:ext cx="852487" cy="469900"/>
              </a:xfrm>
              <a:custGeom>
                <a:avLst/>
                <a:gdLst>
                  <a:gd name="T0" fmla="*/ 824 w 1194"/>
                  <a:gd name="T1" fmla="*/ 356 h 657"/>
                  <a:gd name="T2" fmla="*/ 824 w 1194"/>
                  <a:gd name="T3" fmla="*/ 214 h 657"/>
                  <a:gd name="T4" fmla="*/ 802 w 1194"/>
                  <a:gd name="T5" fmla="*/ 192 h 657"/>
                  <a:gd name="T6" fmla="*/ 618 w 1194"/>
                  <a:gd name="T7" fmla="*/ 192 h 657"/>
                  <a:gd name="T8" fmla="*/ 618 w 1194"/>
                  <a:gd name="T9" fmla="*/ 191 h 657"/>
                  <a:gd name="T10" fmla="*/ 618 w 1194"/>
                  <a:gd name="T11" fmla="*/ 104 h 657"/>
                  <a:gd name="T12" fmla="*/ 724 w 1194"/>
                  <a:gd name="T13" fmla="*/ 104 h 657"/>
                  <a:gd name="T14" fmla="*/ 746 w 1194"/>
                  <a:gd name="T15" fmla="*/ 82 h 657"/>
                  <a:gd name="T16" fmla="*/ 746 w 1194"/>
                  <a:gd name="T17" fmla="*/ 67 h 657"/>
                  <a:gd name="T18" fmla="*/ 724 w 1194"/>
                  <a:gd name="T19" fmla="*/ 45 h 657"/>
                  <a:gd name="T20" fmla="*/ 618 w 1194"/>
                  <a:gd name="T21" fmla="*/ 45 h 657"/>
                  <a:gd name="T22" fmla="*/ 618 w 1194"/>
                  <a:gd name="T23" fmla="*/ 22 h 657"/>
                  <a:gd name="T24" fmla="*/ 596 w 1194"/>
                  <a:gd name="T25" fmla="*/ 0 h 657"/>
                  <a:gd name="T26" fmla="*/ 576 w 1194"/>
                  <a:gd name="T27" fmla="*/ 0 h 657"/>
                  <a:gd name="T28" fmla="*/ 554 w 1194"/>
                  <a:gd name="T29" fmla="*/ 22 h 657"/>
                  <a:gd name="T30" fmla="*/ 554 w 1194"/>
                  <a:gd name="T31" fmla="*/ 45 h 657"/>
                  <a:gd name="T32" fmla="*/ 448 w 1194"/>
                  <a:gd name="T33" fmla="*/ 45 h 657"/>
                  <a:gd name="T34" fmla="*/ 426 w 1194"/>
                  <a:gd name="T35" fmla="*/ 67 h 657"/>
                  <a:gd name="T36" fmla="*/ 426 w 1194"/>
                  <a:gd name="T37" fmla="*/ 82 h 657"/>
                  <a:gd name="T38" fmla="*/ 448 w 1194"/>
                  <a:gd name="T39" fmla="*/ 104 h 657"/>
                  <a:gd name="T40" fmla="*/ 554 w 1194"/>
                  <a:gd name="T41" fmla="*/ 104 h 657"/>
                  <a:gd name="T42" fmla="*/ 554 w 1194"/>
                  <a:gd name="T43" fmla="*/ 191 h 657"/>
                  <a:gd name="T44" fmla="*/ 554 w 1194"/>
                  <a:gd name="T45" fmla="*/ 192 h 657"/>
                  <a:gd name="T46" fmla="*/ 371 w 1194"/>
                  <a:gd name="T47" fmla="*/ 192 h 657"/>
                  <a:gd name="T48" fmla="*/ 349 w 1194"/>
                  <a:gd name="T49" fmla="*/ 214 h 657"/>
                  <a:gd name="T50" fmla="*/ 349 w 1194"/>
                  <a:gd name="T51" fmla="*/ 356 h 657"/>
                  <a:gd name="T52" fmla="*/ 0 w 1194"/>
                  <a:gd name="T53" fmla="*/ 356 h 657"/>
                  <a:gd name="T54" fmla="*/ 0 w 1194"/>
                  <a:gd name="T55" fmla="*/ 657 h 657"/>
                  <a:gd name="T56" fmla="*/ 1194 w 1194"/>
                  <a:gd name="T57" fmla="*/ 657 h 657"/>
                  <a:gd name="T58" fmla="*/ 1194 w 1194"/>
                  <a:gd name="T59" fmla="*/ 356 h 657"/>
                  <a:gd name="T60" fmla="*/ 824 w 1194"/>
                  <a:gd name="T61" fmla="*/ 356 h 6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1194" h="657">
                    <a:moveTo>
                      <a:pt x="824" y="356"/>
                    </a:moveTo>
                    <a:cubicBezTo>
                      <a:pt x="824" y="214"/>
                      <a:pt x="824" y="214"/>
                      <a:pt x="824" y="214"/>
                    </a:cubicBezTo>
                    <a:cubicBezTo>
                      <a:pt x="824" y="202"/>
                      <a:pt x="814" y="192"/>
                      <a:pt x="802" y="192"/>
                    </a:cubicBezTo>
                    <a:cubicBezTo>
                      <a:pt x="618" y="192"/>
                      <a:pt x="618" y="192"/>
                      <a:pt x="618" y="192"/>
                    </a:cubicBezTo>
                    <a:cubicBezTo>
                      <a:pt x="618" y="192"/>
                      <a:pt x="618" y="192"/>
                      <a:pt x="618" y="191"/>
                    </a:cubicBezTo>
                    <a:cubicBezTo>
                      <a:pt x="618" y="104"/>
                      <a:pt x="618" y="104"/>
                      <a:pt x="618" y="104"/>
                    </a:cubicBezTo>
                    <a:cubicBezTo>
                      <a:pt x="724" y="104"/>
                      <a:pt x="724" y="104"/>
                      <a:pt x="724" y="104"/>
                    </a:cubicBezTo>
                    <a:cubicBezTo>
                      <a:pt x="736" y="104"/>
                      <a:pt x="746" y="94"/>
                      <a:pt x="746" y="82"/>
                    </a:cubicBezTo>
                    <a:cubicBezTo>
                      <a:pt x="746" y="67"/>
                      <a:pt x="746" y="67"/>
                      <a:pt x="746" y="67"/>
                    </a:cubicBezTo>
                    <a:cubicBezTo>
                      <a:pt x="746" y="55"/>
                      <a:pt x="736" y="45"/>
                      <a:pt x="724" y="45"/>
                    </a:cubicBezTo>
                    <a:cubicBezTo>
                      <a:pt x="618" y="45"/>
                      <a:pt x="618" y="45"/>
                      <a:pt x="618" y="45"/>
                    </a:cubicBezTo>
                    <a:cubicBezTo>
                      <a:pt x="618" y="22"/>
                      <a:pt x="618" y="22"/>
                      <a:pt x="618" y="22"/>
                    </a:cubicBezTo>
                    <a:cubicBezTo>
                      <a:pt x="618" y="10"/>
                      <a:pt x="608" y="0"/>
                      <a:pt x="596" y="0"/>
                    </a:cubicBezTo>
                    <a:cubicBezTo>
                      <a:pt x="576" y="0"/>
                      <a:pt x="576" y="0"/>
                      <a:pt x="576" y="0"/>
                    </a:cubicBezTo>
                    <a:cubicBezTo>
                      <a:pt x="564" y="0"/>
                      <a:pt x="554" y="10"/>
                      <a:pt x="554" y="22"/>
                    </a:cubicBezTo>
                    <a:cubicBezTo>
                      <a:pt x="554" y="45"/>
                      <a:pt x="554" y="45"/>
                      <a:pt x="554" y="45"/>
                    </a:cubicBezTo>
                    <a:cubicBezTo>
                      <a:pt x="448" y="45"/>
                      <a:pt x="448" y="45"/>
                      <a:pt x="448" y="45"/>
                    </a:cubicBezTo>
                    <a:cubicBezTo>
                      <a:pt x="436" y="45"/>
                      <a:pt x="426" y="55"/>
                      <a:pt x="426" y="67"/>
                    </a:cubicBezTo>
                    <a:cubicBezTo>
                      <a:pt x="426" y="82"/>
                      <a:pt x="426" y="82"/>
                      <a:pt x="426" y="82"/>
                    </a:cubicBezTo>
                    <a:cubicBezTo>
                      <a:pt x="426" y="94"/>
                      <a:pt x="436" y="104"/>
                      <a:pt x="448" y="104"/>
                    </a:cubicBezTo>
                    <a:cubicBezTo>
                      <a:pt x="554" y="104"/>
                      <a:pt x="554" y="104"/>
                      <a:pt x="554" y="104"/>
                    </a:cubicBezTo>
                    <a:cubicBezTo>
                      <a:pt x="554" y="191"/>
                      <a:pt x="554" y="191"/>
                      <a:pt x="554" y="191"/>
                    </a:cubicBezTo>
                    <a:cubicBezTo>
                      <a:pt x="554" y="192"/>
                      <a:pt x="554" y="192"/>
                      <a:pt x="554" y="192"/>
                    </a:cubicBezTo>
                    <a:cubicBezTo>
                      <a:pt x="371" y="192"/>
                      <a:pt x="371" y="192"/>
                      <a:pt x="371" y="192"/>
                    </a:cubicBezTo>
                    <a:cubicBezTo>
                      <a:pt x="359" y="192"/>
                      <a:pt x="349" y="202"/>
                      <a:pt x="349" y="214"/>
                    </a:cubicBezTo>
                    <a:cubicBezTo>
                      <a:pt x="349" y="356"/>
                      <a:pt x="349" y="356"/>
                      <a:pt x="349" y="35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657"/>
                      <a:pt x="0" y="657"/>
                      <a:pt x="0" y="657"/>
                    </a:cubicBezTo>
                    <a:cubicBezTo>
                      <a:pt x="1194" y="657"/>
                      <a:pt x="1194" y="657"/>
                      <a:pt x="1194" y="657"/>
                    </a:cubicBezTo>
                    <a:cubicBezTo>
                      <a:pt x="1194" y="356"/>
                      <a:pt x="1194" y="356"/>
                      <a:pt x="1194" y="356"/>
                    </a:cubicBezTo>
                    <a:lnTo>
                      <a:pt x="824" y="356"/>
                    </a:lnTo>
                    <a:close/>
                  </a:path>
                </a:pathLst>
              </a:custGeom>
              <a:solidFill>
                <a:schemeClr val="tx2"/>
              </a:solidFill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69816" tIns="34908" rIns="69816" bIns="34908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74" kern="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65" name="Freeform 6">
                <a:extLst>
                  <a:ext uri="{FF2B5EF4-FFF2-40B4-BE49-F238E27FC236}">
                    <a16:creationId xmlns:a16="http://schemas.microsoft.com/office/drawing/2014/main" id="{7B66E0BC-EDBC-4B47-AA94-B4B5FA54D63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50694" y="3353594"/>
                <a:ext cx="1090612" cy="331788"/>
              </a:xfrm>
              <a:custGeom>
                <a:avLst/>
                <a:gdLst>
                  <a:gd name="connsiteX0" fmla="*/ 1018917 w 1090612"/>
                  <a:gd name="connsiteY0" fmla="*/ 0 h 331788"/>
                  <a:gd name="connsiteX1" fmla="*/ 1074995 w 1090612"/>
                  <a:gd name="connsiteY1" fmla="*/ 0 h 331788"/>
                  <a:gd name="connsiteX2" fmla="*/ 1090612 w 1090612"/>
                  <a:gd name="connsiteY2" fmla="*/ 15731 h 331788"/>
                  <a:gd name="connsiteX3" fmla="*/ 1090612 w 1090612"/>
                  <a:gd name="connsiteY3" fmla="*/ 316057 h 331788"/>
                  <a:gd name="connsiteX4" fmla="*/ 1074995 w 1090612"/>
                  <a:gd name="connsiteY4" fmla="*/ 331788 h 331788"/>
                  <a:gd name="connsiteX5" fmla="*/ 1018917 w 1090612"/>
                  <a:gd name="connsiteY5" fmla="*/ 331788 h 331788"/>
                  <a:gd name="connsiteX6" fmla="*/ 1003300 w 1090612"/>
                  <a:gd name="connsiteY6" fmla="*/ 316057 h 331788"/>
                  <a:gd name="connsiteX7" fmla="*/ 1003300 w 1090612"/>
                  <a:gd name="connsiteY7" fmla="*/ 273153 h 331788"/>
                  <a:gd name="connsiteX8" fmla="*/ 1003300 w 1090612"/>
                  <a:gd name="connsiteY8" fmla="*/ 57920 h 331788"/>
                  <a:gd name="connsiteX9" fmla="*/ 1003300 w 1090612"/>
                  <a:gd name="connsiteY9" fmla="*/ 15731 h 331788"/>
                  <a:gd name="connsiteX10" fmla="*/ 1018917 w 1090612"/>
                  <a:gd name="connsiteY10" fmla="*/ 0 h 331788"/>
                  <a:gd name="connsiteX11" fmla="*/ 15617 w 1090612"/>
                  <a:gd name="connsiteY11" fmla="*/ 0 h 331788"/>
                  <a:gd name="connsiteX12" fmla="*/ 71695 w 1090612"/>
                  <a:gd name="connsiteY12" fmla="*/ 0 h 331788"/>
                  <a:gd name="connsiteX13" fmla="*/ 87312 w 1090612"/>
                  <a:gd name="connsiteY13" fmla="*/ 15731 h 331788"/>
                  <a:gd name="connsiteX14" fmla="*/ 87312 w 1090612"/>
                  <a:gd name="connsiteY14" fmla="*/ 57920 h 331788"/>
                  <a:gd name="connsiteX15" fmla="*/ 87312 w 1090612"/>
                  <a:gd name="connsiteY15" fmla="*/ 273153 h 331788"/>
                  <a:gd name="connsiteX16" fmla="*/ 87312 w 1090612"/>
                  <a:gd name="connsiteY16" fmla="*/ 316057 h 331788"/>
                  <a:gd name="connsiteX17" fmla="*/ 71695 w 1090612"/>
                  <a:gd name="connsiteY17" fmla="*/ 331788 h 331788"/>
                  <a:gd name="connsiteX18" fmla="*/ 15617 w 1090612"/>
                  <a:gd name="connsiteY18" fmla="*/ 331788 h 331788"/>
                  <a:gd name="connsiteX19" fmla="*/ 0 w 1090612"/>
                  <a:gd name="connsiteY19" fmla="*/ 316057 h 331788"/>
                  <a:gd name="connsiteX20" fmla="*/ 0 w 1090612"/>
                  <a:gd name="connsiteY20" fmla="*/ 15731 h 331788"/>
                  <a:gd name="connsiteX21" fmla="*/ 15617 w 1090612"/>
                  <a:gd name="connsiteY21" fmla="*/ 0 h 3317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1090612" h="331788">
                    <a:moveTo>
                      <a:pt x="1018917" y="0"/>
                    </a:moveTo>
                    <a:cubicBezTo>
                      <a:pt x="1018917" y="0"/>
                      <a:pt x="1018917" y="0"/>
                      <a:pt x="1074995" y="0"/>
                    </a:cubicBezTo>
                    <a:cubicBezTo>
                      <a:pt x="1083514" y="0"/>
                      <a:pt x="1090612" y="7151"/>
                      <a:pt x="1090612" y="15731"/>
                    </a:cubicBezTo>
                    <a:cubicBezTo>
                      <a:pt x="1090612" y="15731"/>
                      <a:pt x="1090612" y="15731"/>
                      <a:pt x="1090612" y="316057"/>
                    </a:cubicBezTo>
                    <a:cubicBezTo>
                      <a:pt x="1090612" y="324638"/>
                      <a:pt x="1083514" y="331788"/>
                      <a:pt x="1074995" y="331788"/>
                    </a:cubicBezTo>
                    <a:cubicBezTo>
                      <a:pt x="1074995" y="331788"/>
                      <a:pt x="1074995" y="331788"/>
                      <a:pt x="1018917" y="331788"/>
                    </a:cubicBezTo>
                    <a:cubicBezTo>
                      <a:pt x="1010399" y="331788"/>
                      <a:pt x="1003300" y="324638"/>
                      <a:pt x="1003300" y="316057"/>
                    </a:cubicBezTo>
                    <a:cubicBezTo>
                      <a:pt x="1003300" y="316057"/>
                      <a:pt x="1003300" y="316057"/>
                      <a:pt x="1003300" y="273153"/>
                    </a:cubicBezTo>
                    <a:cubicBezTo>
                      <a:pt x="1003300" y="273153"/>
                      <a:pt x="1003300" y="273153"/>
                      <a:pt x="1003300" y="57920"/>
                    </a:cubicBezTo>
                    <a:cubicBezTo>
                      <a:pt x="1003300" y="57920"/>
                      <a:pt x="1003300" y="57920"/>
                      <a:pt x="1003300" y="15731"/>
                    </a:cubicBezTo>
                    <a:cubicBezTo>
                      <a:pt x="1003300" y="7151"/>
                      <a:pt x="1010399" y="0"/>
                      <a:pt x="1018917" y="0"/>
                    </a:cubicBezTo>
                    <a:close/>
                    <a:moveTo>
                      <a:pt x="15617" y="0"/>
                    </a:moveTo>
                    <a:cubicBezTo>
                      <a:pt x="15617" y="0"/>
                      <a:pt x="15617" y="0"/>
                      <a:pt x="71695" y="0"/>
                    </a:cubicBezTo>
                    <a:cubicBezTo>
                      <a:pt x="80213" y="0"/>
                      <a:pt x="87312" y="7151"/>
                      <a:pt x="87312" y="15731"/>
                    </a:cubicBezTo>
                    <a:cubicBezTo>
                      <a:pt x="87312" y="15731"/>
                      <a:pt x="87312" y="15731"/>
                      <a:pt x="87312" y="57920"/>
                    </a:cubicBezTo>
                    <a:cubicBezTo>
                      <a:pt x="87312" y="57920"/>
                      <a:pt x="87312" y="57920"/>
                      <a:pt x="87312" y="273153"/>
                    </a:cubicBezTo>
                    <a:cubicBezTo>
                      <a:pt x="87312" y="273153"/>
                      <a:pt x="87312" y="273153"/>
                      <a:pt x="87312" y="316057"/>
                    </a:cubicBezTo>
                    <a:cubicBezTo>
                      <a:pt x="87312" y="324638"/>
                      <a:pt x="80213" y="331788"/>
                      <a:pt x="71695" y="331788"/>
                    </a:cubicBezTo>
                    <a:cubicBezTo>
                      <a:pt x="71695" y="331788"/>
                      <a:pt x="71695" y="331788"/>
                      <a:pt x="15617" y="331788"/>
                    </a:cubicBezTo>
                    <a:cubicBezTo>
                      <a:pt x="7098" y="331788"/>
                      <a:pt x="0" y="324638"/>
                      <a:pt x="0" y="316057"/>
                    </a:cubicBezTo>
                    <a:cubicBezTo>
                      <a:pt x="0" y="316057"/>
                      <a:pt x="0" y="316057"/>
                      <a:pt x="0" y="15731"/>
                    </a:cubicBezTo>
                    <a:cubicBezTo>
                      <a:pt x="0" y="7151"/>
                      <a:pt x="7098" y="0"/>
                      <a:pt x="15617" y="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69816" tIns="34908" rIns="69816" bIns="34908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374" kern="0" dirty="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</p:grpSp>
      <p:sp>
        <p:nvSpPr>
          <p:cNvPr id="87" name="Arrow: Pentagon 86">
            <a:extLst>
              <a:ext uri="{FF2B5EF4-FFF2-40B4-BE49-F238E27FC236}">
                <a16:creationId xmlns:a16="http://schemas.microsoft.com/office/drawing/2014/main" id="{F5293A1B-C46E-4C46-B8AE-976B290C9C48}"/>
              </a:ext>
            </a:extLst>
          </p:cNvPr>
          <p:cNvSpPr/>
          <p:nvPr/>
        </p:nvSpPr>
        <p:spPr>
          <a:xfrm>
            <a:off x="-17905" y="10626"/>
            <a:ext cx="3190672" cy="5128829"/>
          </a:xfrm>
          <a:prstGeom prst="homePlate">
            <a:avLst/>
          </a:prstGeom>
          <a:gradFill>
            <a:gsLst>
              <a:gs pos="12000">
                <a:schemeClr val="tx2"/>
              </a:gs>
              <a:gs pos="100000">
                <a:schemeClr val="accent2"/>
              </a:gs>
            </a:gsLst>
            <a:lin ang="135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4000"/>
              </a:lnSpc>
            </a:pPr>
            <a:endParaRPr lang="en-US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37327073-11DD-47A1-A0A3-AEC7A599651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9090" y="2384635"/>
            <a:ext cx="2414381" cy="380810"/>
          </a:xfrm>
        </p:spPr>
        <p:txBody>
          <a:bodyPr vert="horz"/>
          <a:lstStyle/>
          <a:p>
            <a:r>
              <a:rPr lang="en-CA" dirty="0">
                <a:solidFill>
                  <a:schemeClr val="bg1"/>
                </a:solidFill>
              </a:rPr>
              <a:t>Outline for today</a:t>
            </a:r>
          </a:p>
        </p:txBody>
      </p:sp>
    </p:spTree>
    <p:extLst>
      <p:ext uri="{BB962C8B-B14F-4D97-AF65-F5344CB8AC3E}">
        <p14:creationId xmlns:p14="http://schemas.microsoft.com/office/powerpoint/2010/main" val="13948321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 advTm="20000"/>
    </mc:Choice>
    <mc:Fallback xmlns="">
      <p:transition spd="slow" advClick="0" advTm="20000"/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Arc 9"/>
          <p:cNvSpPr/>
          <p:nvPr/>
        </p:nvSpPr>
        <p:spPr>
          <a:xfrm>
            <a:off x="-2511107" y="334720"/>
            <a:ext cx="7849668" cy="7849665"/>
          </a:xfrm>
          <a:prstGeom prst="arc">
            <a:avLst>
              <a:gd name="adj1" fmla="val 14935356"/>
              <a:gd name="adj2" fmla="val 776267"/>
            </a:avLst>
          </a:prstGeom>
          <a:ln w="9525" cap="rnd">
            <a:solidFill>
              <a:schemeClr val="tx1">
                <a:lumMod val="60000"/>
                <a:lumOff val="40000"/>
              </a:schemeClr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Oval 16"/>
          <p:cNvSpPr/>
          <p:nvPr/>
        </p:nvSpPr>
        <p:spPr>
          <a:xfrm>
            <a:off x="4294379" y="1668225"/>
            <a:ext cx="1485000" cy="1485000"/>
          </a:xfrm>
          <a:prstGeom prst="ellipse">
            <a:avLst/>
          </a:prstGeom>
          <a:solidFill>
            <a:schemeClr val="bg1"/>
          </a:solidFill>
          <a:ln w="76200">
            <a:gradFill>
              <a:gsLst>
                <a:gs pos="0">
                  <a:srgbClr val="6E6F73"/>
                </a:gs>
                <a:gs pos="100000">
                  <a:srgbClr val="BEBEC0"/>
                </a:gs>
              </a:gsLst>
              <a:lin ang="2700000" scaled="0"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685800" rtlCol="0" anchor="ctr"/>
          <a:lstStyle/>
          <a:p>
            <a:pPr algn="ctr"/>
            <a:endParaRPr lang="en-US">
              <a:solidFill>
                <a:srgbClr val="575757"/>
              </a:solidFill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5907985" y="1668225"/>
            <a:ext cx="2771776" cy="1485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buClr>
                <a:schemeClr val="bg1"/>
              </a:buClr>
            </a:pPr>
            <a:r>
              <a:rPr lang="en-US" sz="1500">
                <a:solidFill>
                  <a:schemeClr val="tx2"/>
                </a:solidFill>
              </a:rPr>
              <a:t>Research</a:t>
            </a:r>
          </a:p>
          <a:p>
            <a:pPr marL="243000" lvl="1" indent="-162000">
              <a:buClr>
                <a:schemeClr val="tx2">
                  <a:lumMod val="100000"/>
                </a:schemeClr>
              </a:buClr>
              <a:buSzPct val="100000"/>
              <a:buFont typeface="Trebuchet MS" panose="020B0603020202020204" pitchFamily="34" charset="0"/>
              <a:buChar char="•"/>
            </a:pPr>
            <a:r>
              <a:rPr lang="en-US" sz="1500">
                <a:solidFill>
                  <a:schemeClr val="tx1">
                    <a:lumMod val="100000"/>
                  </a:schemeClr>
                </a:solidFill>
              </a:rPr>
              <a:t>Continue research and reading circle on techniques that could be used in our project</a:t>
            </a:r>
          </a:p>
        </p:txBody>
      </p:sp>
      <p:sp>
        <p:nvSpPr>
          <p:cNvPr id="20" name="Oval 19"/>
          <p:cNvSpPr/>
          <p:nvPr/>
        </p:nvSpPr>
        <p:spPr>
          <a:xfrm>
            <a:off x="4471583" y="3331853"/>
            <a:ext cx="1485000" cy="1485000"/>
          </a:xfrm>
          <a:prstGeom prst="ellipse">
            <a:avLst/>
          </a:prstGeom>
          <a:solidFill>
            <a:schemeClr val="bg1"/>
          </a:solidFill>
          <a:ln w="76200">
            <a:gradFill>
              <a:gsLst>
                <a:gs pos="0">
                  <a:srgbClr val="6E6F73"/>
                </a:gs>
                <a:gs pos="100000">
                  <a:srgbClr val="BEBEC0"/>
                </a:gs>
              </a:gsLst>
              <a:lin ang="2700000" scaled="0"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685800" rtlCol="0" anchor="ctr"/>
          <a:lstStyle/>
          <a:p>
            <a:pPr algn="ctr"/>
            <a:endParaRPr lang="en-US">
              <a:solidFill>
                <a:srgbClr val="575757"/>
              </a:solidFill>
            </a:endParaRPr>
          </a:p>
        </p:txBody>
      </p:sp>
      <p:sp>
        <p:nvSpPr>
          <p:cNvPr id="16" name="Rectangle 15"/>
          <p:cNvSpPr/>
          <p:nvPr/>
        </p:nvSpPr>
        <p:spPr>
          <a:xfrm>
            <a:off x="6084852" y="3776469"/>
            <a:ext cx="2594909" cy="595768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buSzPct val="100000"/>
              <a:buFont typeface="Trebuchet MS" panose="020B0603020202020204" pitchFamily="34" charset="0"/>
              <a:buChar char="​"/>
            </a:pPr>
            <a:r>
              <a:rPr lang="en-US" sz="1500">
                <a:solidFill>
                  <a:schemeClr val="tx2"/>
                </a:solidFill>
              </a:rPr>
              <a:t>Data</a:t>
            </a:r>
          </a:p>
          <a:p>
            <a:pPr marL="243000" lvl="1" indent="-162000">
              <a:buClr>
                <a:schemeClr val="tx2">
                  <a:lumMod val="100000"/>
                </a:schemeClr>
              </a:buClr>
              <a:buSzPct val="100000"/>
              <a:buFont typeface="Trebuchet MS" panose="020B0603020202020204" pitchFamily="34" charset="0"/>
              <a:buChar char="•"/>
            </a:pPr>
            <a:r>
              <a:rPr lang="en-US" sz="1500">
                <a:solidFill>
                  <a:schemeClr val="tx1">
                    <a:lumMod val="100000"/>
                  </a:schemeClr>
                </a:solidFill>
              </a:rPr>
              <a:t>Further inspection and preprocessing of given data</a:t>
            </a:r>
          </a:p>
          <a:p>
            <a:pPr marL="243000" lvl="1" indent="-162000">
              <a:buClr>
                <a:schemeClr val="tx2">
                  <a:lumMod val="100000"/>
                </a:schemeClr>
              </a:buClr>
              <a:buSzPct val="100000"/>
              <a:buFont typeface="Trebuchet MS" panose="020B0603020202020204" pitchFamily="34" charset="0"/>
              <a:buChar char="•"/>
            </a:pPr>
            <a:r>
              <a:rPr lang="en-US" sz="1500">
                <a:solidFill>
                  <a:schemeClr val="tx1">
                    <a:lumMod val="100000"/>
                  </a:schemeClr>
                </a:solidFill>
              </a:rPr>
              <a:t>Apply our research to the given data</a:t>
            </a:r>
          </a:p>
          <a:p>
            <a:pPr marL="243000" lvl="1" indent="-162000">
              <a:buClr>
                <a:schemeClr val="tx2">
                  <a:lumMod val="100000"/>
                </a:schemeClr>
              </a:buClr>
              <a:buSzPct val="100000"/>
              <a:buFont typeface="Trebuchet MS" panose="020B0603020202020204" pitchFamily="34" charset="0"/>
              <a:buChar char="•"/>
            </a:pPr>
            <a:endParaRPr lang="en-US" sz="1500">
              <a:solidFill>
                <a:schemeClr val="tx1">
                  <a:lumMod val="100000"/>
                </a:schemeClr>
              </a:solidFill>
            </a:endParaRPr>
          </a:p>
        </p:txBody>
      </p:sp>
      <p:grpSp>
        <p:nvGrpSpPr>
          <p:cNvPr id="14" name="Group 4"/>
          <p:cNvGrpSpPr>
            <a:grpSpLocks noChangeAspect="1"/>
          </p:cNvGrpSpPr>
          <p:nvPr/>
        </p:nvGrpSpPr>
        <p:grpSpPr bwMode="auto">
          <a:xfrm>
            <a:off x="4733628" y="3593452"/>
            <a:ext cx="960911" cy="961802"/>
            <a:chOff x="1682" y="0"/>
            <a:chExt cx="4316" cy="4320"/>
          </a:xfrm>
        </p:grpSpPr>
        <p:sp>
          <p:nvSpPr>
            <p:cNvPr id="40" name="AutoShape 3"/>
            <p:cNvSpPr>
              <a:spLocks noChangeAspect="1" noChangeArrowheads="1" noTextEdit="1"/>
            </p:cNvSpPr>
            <p:nvPr/>
          </p:nvSpPr>
          <p:spPr bwMode="auto">
            <a:xfrm>
              <a:off x="1682" y="0"/>
              <a:ext cx="4316" cy="43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79892" tIns="39946" rIns="79892" bIns="39946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41" name="Freeform 5"/>
            <p:cNvSpPr>
              <a:spLocks noEditPoints="1"/>
            </p:cNvSpPr>
            <p:nvPr/>
          </p:nvSpPr>
          <p:spPr bwMode="auto">
            <a:xfrm>
              <a:off x="2122" y="932"/>
              <a:ext cx="3436" cy="2452"/>
            </a:xfrm>
            <a:custGeom>
              <a:avLst/>
              <a:gdLst>
                <a:gd name="T0" fmla="*/ 1790 w 1834"/>
                <a:gd name="T1" fmla="*/ 1308 h 1308"/>
                <a:gd name="T2" fmla="*/ 44 w 1834"/>
                <a:gd name="T3" fmla="*/ 1308 h 1308"/>
                <a:gd name="T4" fmla="*/ 0 w 1834"/>
                <a:gd name="T5" fmla="*/ 1264 h 1308"/>
                <a:gd name="T6" fmla="*/ 0 w 1834"/>
                <a:gd name="T7" fmla="*/ 44 h 1308"/>
                <a:gd name="T8" fmla="*/ 44 w 1834"/>
                <a:gd name="T9" fmla="*/ 0 h 1308"/>
                <a:gd name="T10" fmla="*/ 1790 w 1834"/>
                <a:gd name="T11" fmla="*/ 0 h 1308"/>
                <a:gd name="T12" fmla="*/ 1834 w 1834"/>
                <a:gd name="T13" fmla="*/ 44 h 1308"/>
                <a:gd name="T14" fmla="*/ 1834 w 1834"/>
                <a:gd name="T15" fmla="*/ 1264 h 1308"/>
                <a:gd name="T16" fmla="*/ 1790 w 1834"/>
                <a:gd name="T17" fmla="*/ 1308 h 1308"/>
                <a:gd name="T18" fmla="*/ 44 w 1834"/>
                <a:gd name="T19" fmla="*/ 44 h 1308"/>
                <a:gd name="T20" fmla="*/ 44 w 1834"/>
                <a:gd name="T21" fmla="*/ 1264 h 1308"/>
                <a:gd name="T22" fmla="*/ 1790 w 1834"/>
                <a:gd name="T23" fmla="*/ 1264 h 1308"/>
                <a:gd name="T24" fmla="*/ 1790 w 1834"/>
                <a:gd name="T25" fmla="*/ 44 h 1308"/>
                <a:gd name="T26" fmla="*/ 44 w 1834"/>
                <a:gd name="T27" fmla="*/ 44 h 13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834" h="1308">
                  <a:moveTo>
                    <a:pt x="1790" y="1308"/>
                  </a:moveTo>
                  <a:cubicBezTo>
                    <a:pt x="44" y="1308"/>
                    <a:pt x="44" y="1308"/>
                    <a:pt x="44" y="1308"/>
                  </a:cubicBezTo>
                  <a:cubicBezTo>
                    <a:pt x="20" y="1308"/>
                    <a:pt x="0" y="1288"/>
                    <a:pt x="0" y="1264"/>
                  </a:cubicBezTo>
                  <a:cubicBezTo>
                    <a:pt x="0" y="44"/>
                    <a:pt x="0" y="44"/>
                    <a:pt x="0" y="44"/>
                  </a:cubicBezTo>
                  <a:cubicBezTo>
                    <a:pt x="0" y="20"/>
                    <a:pt x="20" y="0"/>
                    <a:pt x="44" y="0"/>
                  </a:cubicBezTo>
                  <a:cubicBezTo>
                    <a:pt x="1790" y="0"/>
                    <a:pt x="1790" y="0"/>
                    <a:pt x="1790" y="0"/>
                  </a:cubicBezTo>
                  <a:cubicBezTo>
                    <a:pt x="1814" y="0"/>
                    <a:pt x="1834" y="20"/>
                    <a:pt x="1834" y="44"/>
                  </a:cubicBezTo>
                  <a:cubicBezTo>
                    <a:pt x="1834" y="1264"/>
                    <a:pt x="1834" y="1264"/>
                    <a:pt x="1834" y="1264"/>
                  </a:cubicBezTo>
                  <a:cubicBezTo>
                    <a:pt x="1834" y="1288"/>
                    <a:pt x="1814" y="1308"/>
                    <a:pt x="1790" y="1308"/>
                  </a:cubicBezTo>
                  <a:close/>
                  <a:moveTo>
                    <a:pt x="44" y="44"/>
                  </a:moveTo>
                  <a:cubicBezTo>
                    <a:pt x="44" y="1264"/>
                    <a:pt x="44" y="1264"/>
                    <a:pt x="44" y="1264"/>
                  </a:cubicBezTo>
                  <a:cubicBezTo>
                    <a:pt x="1790" y="1264"/>
                    <a:pt x="1790" y="1264"/>
                    <a:pt x="1790" y="1264"/>
                  </a:cubicBezTo>
                  <a:cubicBezTo>
                    <a:pt x="1790" y="44"/>
                    <a:pt x="1790" y="44"/>
                    <a:pt x="1790" y="44"/>
                  </a:cubicBezTo>
                  <a:lnTo>
                    <a:pt x="44" y="44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9892" tIns="39946" rIns="79892" bIns="39946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42" name="Freeform 6"/>
            <p:cNvSpPr>
              <a:spLocks/>
            </p:cNvSpPr>
            <p:nvPr/>
          </p:nvSpPr>
          <p:spPr bwMode="auto">
            <a:xfrm>
              <a:off x="2323" y="2327"/>
              <a:ext cx="648" cy="859"/>
            </a:xfrm>
            <a:custGeom>
              <a:avLst/>
              <a:gdLst>
                <a:gd name="T0" fmla="*/ 336 w 346"/>
                <a:gd name="T1" fmla="*/ 0 h 458"/>
                <a:gd name="T2" fmla="*/ 10 w 346"/>
                <a:gd name="T3" fmla="*/ 0 h 458"/>
                <a:gd name="T4" fmla="*/ 0 w 346"/>
                <a:gd name="T5" fmla="*/ 10 h 458"/>
                <a:gd name="T6" fmla="*/ 0 w 346"/>
                <a:gd name="T7" fmla="*/ 448 h 458"/>
                <a:gd name="T8" fmla="*/ 10 w 346"/>
                <a:gd name="T9" fmla="*/ 458 h 458"/>
                <a:gd name="T10" fmla="*/ 336 w 346"/>
                <a:gd name="T11" fmla="*/ 458 h 458"/>
                <a:gd name="T12" fmla="*/ 346 w 346"/>
                <a:gd name="T13" fmla="*/ 448 h 458"/>
                <a:gd name="T14" fmla="*/ 346 w 346"/>
                <a:gd name="T15" fmla="*/ 10 h 458"/>
                <a:gd name="T16" fmla="*/ 336 w 346"/>
                <a:gd name="T17" fmla="*/ 0 h 4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6" h="458">
                  <a:moveTo>
                    <a:pt x="336" y="0"/>
                  </a:moveTo>
                  <a:cubicBezTo>
                    <a:pt x="10" y="0"/>
                    <a:pt x="10" y="0"/>
                    <a:pt x="10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448"/>
                    <a:pt x="0" y="448"/>
                    <a:pt x="0" y="448"/>
                  </a:cubicBezTo>
                  <a:cubicBezTo>
                    <a:pt x="0" y="453"/>
                    <a:pt x="5" y="458"/>
                    <a:pt x="10" y="458"/>
                  </a:cubicBezTo>
                  <a:cubicBezTo>
                    <a:pt x="336" y="458"/>
                    <a:pt x="336" y="458"/>
                    <a:pt x="336" y="458"/>
                  </a:cubicBezTo>
                  <a:cubicBezTo>
                    <a:pt x="342" y="458"/>
                    <a:pt x="346" y="453"/>
                    <a:pt x="346" y="448"/>
                  </a:cubicBezTo>
                  <a:cubicBezTo>
                    <a:pt x="346" y="10"/>
                    <a:pt x="346" y="10"/>
                    <a:pt x="346" y="10"/>
                  </a:cubicBezTo>
                  <a:cubicBezTo>
                    <a:pt x="346" y="4"/>
                    <a:pt x="342" y="0"/>
                    <a:pt x="336" y="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9892" tIns="39946" rIns="79892" bIns="39946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43" name="Freeform 7"/>
            <p:cNvSpPr>
              <a:spLocks/>
            </p:cNvSpPr>
            <p:nvPr/>
          </p:nvSpPr>
          <p:spPr bwMode="auto">
            <a:xfrm>
              <a:off x="3119" y="1989"/>
              <a:ext cx="648" cy="1197"/>
            </a:xfrm>
            <a:custGeom>
              <a:avLst/>
              <a:gdLst>
                <a:gd name="T0" fmla="*/ 336 w 346"/>
                <a:gd name="T1" fmla="*/ 0 h 638"/>
                <a:gd name="T2" fmla="*/ 10 w 346"/>
                <a:gd name="T3" fmla="*/ 0 h 638"/>
                <a:gd name="T4" fmla="*/ 0 w 346"/>
                <a:gd name="T5" fmla="*/ 10 h 638"/>
                <a:gd name="T6" fmla="*/ 0 w 346"/>
                <a:gd name="T7" fmla="*/ 628 h 638"/>
                <a:gd name="T8" fmla="*/ 10 w 346"/>
                <a:gd name="T9" fmla="*/ 638 h 638"/>
                <a:gd name="T10" fmla="*/ 336 w 346"/>
                <a:gd name="T11" fmla="*/ 638 h 638"/>
                <a:gd name="T12" fmla="*/ 346 w 346"/>
                <a:gd name="T13" fmla="*/ 628 h 638"/>
                <a:gd name="T14" fmla="*/ 346 w 346"/>
                <a:gd name="T15" fmla="*/ 10 h 638"/>
                <a:gd name="T16" fmla="*/ 336 w 346"/>
                <a:gd name="T17" fmla="*/ 0 h 6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6" h="638">
                  <a:moveTo>
                    <a:pt x="336" y="0"/>
                  </a:moveTo>
                  <a:cubicBezTo>
                    <a:pt x="10" y="0"/>
                    <a:pt x="10" y="0"/>
                    <a:pt x="10" y="0"/>
                  </a:cubicBezTo>
                  <a:cubicBezTo>
                    <a:pt x="4" y="0"/>
                    <a:pt x="0" y="5"/>
                    <a:pt x="0" y="10"/>
                  </a:cubicBezTo>
                  <a:cubicBezTo>
                    <a:pt x="0" y="628"/>
                    <a:pt x="0" y="628"/>
                    <a:pt x="0" y="628"/>
                  </a:cubicBezTo>
                  <a:cubicBezTo>
                    <a:pt x="0" y="633"/>
                    <a:pt x="4" y="638"/>
                    <a:pt x="10" y="638"/>
                  </a:cubicBezTo>
                  <a:cubicBezTo>
                    <a:pt x="336" y="638"/>
                    <a:pt x="336" y="638"/>
                    <a:pt x="336" y="638"/>
                  </a:cubicBezTo>
                  <a:cubicBezTo>
                    <a:pt x="341" y="638"/>
                    <a:pt x="346" y="633"/>
                    <a:pt x="346" y="628"/>
                  </a:cubicBezTo>
                  <a:cubicBezTo>
                    <a:pt x="346" y="10"/>
                    <a:pt x="346" y="10"/>
                    <a:pt x="346" y="10"/>
                  </a:cubicBezTo>
                  <a:cubicBezTo>
                    <a:pt x="346" y="5"/>
                    <a:pt x="341" y="0"/>
                    <a:pt x="336" y="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9892" tIns="39946" rIns="79892" bIns="39946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44" name="Freeform 8"/>
            <p:cNvSpPr>
              <a:spLocks/>
            </p:cNvSpPr>
            <p:nvPr/>
          </p:nvSpPr>
          <p:spPr bwMode="auto">
            <a:xfrm>
              <a:off x="3913" y="1616"/>
              <a:ext cx="648" cy="1570"/>
            </a:xfrm>
            <a:custGeom>
              <a:avLst/>
              <a:gdLst>
                <a:gd name="T0" fmla="*/ 336 w 346"/>
                <a:gd name="T1" fmla="*/ 0 h 837"/>
                <a:gd name="T2" fmla="*/ 10 w 346"/>
                <a:gd name="T3" fmla="*/ 0 h 837"/>
                <a:gd name="T4" fmla="*/ 0 w 346"/>
                <a:gd name="T5" fmla="*/ 10 h 837"/>
                <a:gd name="T6" fmla="*/ 0 w 346"/>
                <a:gd name="T7" fmla="*/ 827 h 837"/>
                <a:gd name="T8" fmla="*/ 10 w 346"/>
                <a:gd name="T9" fmla="*/ 837 h 837"/>
                <a:gd name="T10" fmla="*/ 336 w 346"/>
                <a:gd name="T11" fmla="*/ 837 h 837"/>
                <a:gd name="T12" fmla="*/ 346 w 346"/>
                <a:gd name="T13" fmla="*/ 827 h 837"/>
                <a:gd name="T14" fmla="*/ 346 w 346"/>
                <a:gd name="T15" fmla="*/ 10 h 837"/>
                <a:gd name="T16" fmla="*/ 336 w 346"/>
                <a:gd name="T17" fmla="*/ 0 h 8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6" h="837">
                  <a:moveTo>
                    <a:pt x="336" y="0"/>
                  </a:moveTo>
                  <a:cubicBezTo>
                    <a:pt x="10" y="0"/>
                    <a:pt x="10" y="0"/>
                    <a:pt x="10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827"/>
                    <a:pt x="0" y="827"/>
                    <a:pt x="0" y="827"/>
                  </a:cubicBezTo>
                  <a:cubicBezTo>
                    <a:pt x="0" y="832"/>
                    <a:pt x="5" y="837"/>
                    <a:pt x="10" y="837"/>
                  </a:cubicBezTo>
                  <a:cubicBezTo>
                    <a:pt x="336" y="837"/>
                    <a:pt x="336" y="837"/>
                    <a:pt x="336" y="837"/>
                  </a:cubicBezTo>
                  <a:cubicBezTo>
                    <a:pt x="342" y="837"/>
                    <a:pt x="346" y="832"/>
                    <a:pt x="346" y="827"/>
                  </a:cubicBezTo>
                  <a:cubicBezTo>
                    <a:pt x="346" y="10"/>
                    <a:pt x="346" y="10"/>
                    <a:pt x="346" y="10"/>
                  </a:cubicBezTo>
                  <a:cubicBezTo>
                    <a:pt x="346" y="4"/>
                    <a:pt x="342" y="0"/>
                    <a:pt x="336" y="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9892" tIns="39946" rIns="79892" bIns="39946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45" name="Freeform 9"/>
            <p:cNvSpPr>
              <a:spLocks/>
            </p:cNvSpPr>
            <p:nvPr/>
          </p:nvSpPr>
          <p:spPr bwMode="auto">
            <a:xfrm>
              <a:off x="4709" y="1131"/>
              <a:ext cx="648" cy="2055"/>
            </a:xfrm>
            <a:custGeom>
              <a:avLst/>
              <a:gdLst>
                <a:gd name="T0" fmla="*/ 336 w 346"/>
                <a:gd name="T1" fmla="*/ 0 h 1096"/>
                <a:gd name="T2" fmla="*/ 10 w 346"/>
                <a:gd name="T3" fmla="*/ 0 h 1096"/>
                <a:gd name="T4" fmla="*/ 0 w 346"/>
                <a:gd name="T5" fmla="*/ 10 h 1096"/>
                <a:gd name="T6" fmla="*/ 0 w 346"/>
                <a:gd name="T7" fmla="*/ 1086 h 1096"/>
                <a:gd name="T8" fmla="*/ 10 w 346"/>
                <a:gd name="T9" fmla="*/ 1096 h 1096"/>
                <a:gd name="T10" fmla="*/ 336 w 346"/>
                <a:gd name="T11" fmla="*/ 1096 h 1096"/>
                <a:gd name="T12" fmla="*/ 346 w 346"/>
                <a:gd name="T13" fmla="*/ 1086 h 1096"/>
                <a:gd name="T14" fmla="*/ 346 w 346"/>
                <a:gd name="T15" fmla="*/ 10 h 1096"/>
                <a:gd name="T16" fmla="*/ 336 w 346"/>
                <a:gd name="T17" fmla="*/ 0 h 10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6" h="1096">
                  <a:moveTo>
                    <a:pt x="336" y="0"/>
                  </a:moveTo>
                  <a:cubicBezTo>
                    <a:pt x="10" y="0"/>
                    <a:pt x="10" y="0"/>
                    <a:pt x="10" y="0"/>
                  </a:cubicBezTo>
                  <a:cubicBezTo>
                    <a:pt x="4" y="0"/>
                    <a:pt x="0" y="5"/>
                    <a:pt x="0" y="10"/>
                  </a:cubicBezTo>
                  <a:cubicBezTo>
                    <a:pt x="0" y="1086"/>
                    <a:pt x="0" y="1086"/>
                    <a:pt x="0" y="1086"/>
                  </a:cubicBezTo>
                  <a:cubicBezTo>
                    <a:pt x="0" y="1091"/>
                    <a:pt x="4" y="1096"/>
                    <a:pt x="10" y="1096"/>
                  </a:cubicBezTo>
                  <a:cubicBezTo>
                    <a:pt x="336" y="1096"/>
                    <a:pt x="336" y="1096"/>
                    <a:pt x="336" y="1096"/>
                  </a:cubicBezTo>
                  <a:cubicBezTo>
                    <a:pt x="341" y="1096"/>
                    <a:pt x="346" y="1091"/>
                    <a:pt x="346" y="1086"/>
                  </a:cubicBezTo>
                  <a:cubicBezTo>
                    <a:pt x="346" y="10"/>
                    <a:pt x="346" y="10"/>
                    <a:pt x="346" y="10"/>
                  </a:cubicBezTo>
                  <a:cubicBezTo>
                    <a:pt x="346" y="5"/>
                    <a:pt x="341" y="0"/>
                    <a:pt x="336" y="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9892" tIns="39946" rIns="79892" bIns="39946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</a:endParaRPr>
            </a:p>
          </p:txBody>
        </p:sp>
      </p:grpSp>
      <p:sp>
        <p:nvSpPr>
          <p:cNvPr id="5" name="Oval 4"/>
          <p:cNvSpPr/>
          <p:nvPr/>
        </p:nvSpPr>
        <p:spPr>
          <a:xfrm>
            <a:off x="3104067" y="448532"/>
            <a:ext cx="1485000" cy="1485000"/>
          </a:xfrm>
          <a:prstGeom prst="ellipse">
            <a:avLst/>
          </a:prstGeom>
          <a:solidFill>
            <a:schemeClr val="bg1"/>
          </a:solidFill>
          <a:ln w="76200">
            <a:gradFill>
              <a:gsLst>
                <a:gs pos="0">
                  <a:srgbClr val="6E6F73"/>
                </a:gs>
                <a:gs pos="100000">
                  <a:srgbClr val="BEBEC0"/>
                </a:gs>
              </a:gsLst>
              <a:lin ang="2700000" scaled="0"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685800" rtlCol="0" anchor="ctr"/>
          <a:lstStyle/>
          <a:p>
            <a:pPr algn="ctr"/>
            <a:endParaRPr lang="en-US">
              <a:solidFill>
                <a:srgbClr val="575757"/>
              </a:solidFill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4718552" y="946913"/>
            <a:ext cx="3961209" cy="488239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buSzPct val="100000"/>
              <a:buFont typeface="Trebuchet MS" panose="020B0603020202020204" pitchFamily="34" charset="0"/>
              <a:buChar char="​"/>
            </a:pPr>
            <a:r>
              <a:rPr lang="en-US" sz="1500">
                <a:solidFill>
                  <a:schemeClr val="tx2"/>
                </a:solidFill>
              </a:rPr>
              <a:t>TFX</a:t>
            </a:r>
          </a:p>
          <a:p>
            <a:pPr marL="242570" lvl="1" indent="-161925">
              <a:buClr>
                <a:schemeClr val="tx2">
                  <a:lumMod val="100000"/>
                </a:schemeClr>
              </a:buClr>
              <a:buSzPct val="100000"/>
              <a:buFont typeface="Trebuchet MS" panose="020B0603020202020204" pitchFamily="34" charset="0"/>
              <a:buChar char="•"/>
            </a:pPr>
            <a:r>
              <a:rPr lang="en-US" sz="1500">
                <a:solidFill>
                  <a:schemeClr val="tx1">
                    <a:lumMod val="100000"/>
                  </a:schemeClr>
                </a:solidFill>
              </a:rPr>
              <a:t>Set up TFX in our repository and make every team member familiar with it</a:t>
            </a:r>
            <a:endParaRPr lang="en-US" sz="1500">
              <a:solidFill>
                <a:schemeClr val="tx1">
                  <a:lumMod val="100000"/>
                </a:schemeClr>
              </a:solidFill>
              <a:cs typeface="Arial"/>
            </a:endParaRPr>
          </a:p>
        </p:txBody>
      </p:sp>
      <p:sp>
        <p:nvSpPr>
          <p:cNvPr id="52" name="Freeform 51"/>
          <p:cNvSpPr/>
          <p:nvPr/>
        </p:nvSpPr>
        <p:spPr>
          <a:xfrm>
            <a:off x="2" y="1580607"/>
            <a:ext cx="4092677" cy="3562894"/>
          </a:xfrm>
          <a:custGeom>
            <a:avLst/>
            <a:gdLst>
              <a:gd name="connsiteX0" fmla="*/ 1884968 w 5456903"/>
              <a:gd name="connsiteY0" fmla="*/ 0 h 4750525"/>
              <a:gd name="connsiteX1" fmla="*/ 5456903 w 5456903"/>
              <a:gd name="connsiteY1" fmla="*/ 3571934 h 4750525"/>
              <a:gd name="connsiteX2" fmla="*/ 5296316 w 5456903"/>
              <a:gd name="connsiteY2" fmla="*/ 4634118 h 4750525"/>
              <a:gd name="connsiteX3" fmla="*/ 5256928 w 5456903"/>
              <a:gd name="connsiteY3" fmla="*/ 4750525 h 4750525"/>
              <a:gd name="connsiteX4" fmla="*/ 0 w 5456903"/>
              <a:gd name="connsiteY4" fmla="*/ 4750525 h 4750525"/>
              <a:gd name="connsiteX5" fmla="*/ 0 w 5456903"/>
              <a:gd name="connsiteY5" fmla="*/ 541907 h 4750525"/>
              <a:gd name="connsiteX6" fmla="*/ 182372 w 5456903"/>
              <a:gd name="connsiteY6" fmla="*/ 431113 h 4750525"/>
              <a:gd name="connsiteX7" fmla="*/ 1884968 w 5456903"/>
              <a:gd name="connsiteY7" fmla="*/ 0 h 47505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456903" h="4750525">
                <a:moveTo>
                  <a:pt x="1884968" y="0"/>
                </a:moveTo>
                <a:cubicBezTo>
                  <a:pt x="3857693" y="0"/>
                  <a:pt x="5456903" y="1599209"/>
                  <a:pt x="5456903" y="3571934"/>
                </a:cubicBezTo>
                <a:cubicBezTo>
                  <a:pt x="5456903" y="3941820"/>
                  <a:pt x="5400681" y="4298575"/>
                  <a:pt x="5296316" y="4634118"/>
                </a:cubicBezTo>
                <a:lnTo>
                  <a:pt x="5256928" y="4750525"/>
                </a:lnTo>
                <a:lnTo>
                  <a:pt x="0" y="4750525"/>
                </a:lnTo>
                <a:lnTo>
                  <a:pt x="0" y="541907"/>
                </a:lnTo>
                <a:lnTo>
                  <a:pt x="182372" y="431113"/>
                </a:lnTo>
                <a:cubicBezTo>
                  <a:pt x="688491" y="156173"/>
                  <a:pt x="1268492" y="0"/>
                  <a:pt x="1884968" y="0"/>
                </a:cubicBezTo>
                <a:close/>
              </a:path>
            </a:pathLst>
          </a:custGeom>
          <a:gradFill flip="none" rotWithShape="1">
            <a:gsLst>
              <a:gs pos="0">
                <a:schemeClr val="tx2"/>
              </a:gs>
              <a:gs pos="100000">
                <a:schemeClr val="accent2"/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480060" tIns="0" rIns="0" bIns="480060" rtlCol="0" anchor="b">
            <a:noAutofit/>
          </a:bodyPr>
          <a:lstStyle/>
          <a:p>
            <a:pPr>
              <a:lnSpc>
                <a:spcPct val="95000"/>
              </a:lnSpc>
            </a:pPr>
            <a:r>
              <a:rPr lang="en-US" sz="3600">
                <a:solidFill>
                  <a:prstClr val="white"/>
                </a:solidFill>
              </a:rPr>
              <a:t>Next steps</a:t>
            </a:r>
          </a:p>
        </p:txBody>
      </p:sp>
      <p:grpSp>
        <p:nvGrpSpPr>
          <p:cNvPr id="46" name="Group 45">
            <a:extLst>
              <a:ext uri="{FF2B5EF4-FFF2-40B4-BE49-F238E27FC236}">
                <a16:creationId xmlns:a16="http://schemas.microsoft.com/office/drawing/2014/main" id="{AD8A3AC9-5683-4656-B610-511D2E1B1B67}"/>
              </a:ext>
            </a:extLst>
          </p:cNvPr>
          <p:cNvGrpSpPr>
            <a:grpSpLocks noChangeAspect="1"/>
          </p:cNvGrpSpPr>
          <p:nvPr/>
        </p:nvGrpSpPr>
        <p:grpSpPr>
          <a:xfrm>
            <a:off x="3224247" y="568712"/>
            <a:ext cx="1244640" cy="1244640"/>
            <a:chOff x="5273675" y="2606675"/>
            <a:chExt cx="1644650" cy="1644650"/>
          </a:xfrm>
        </p:grpSpPr>
        <p:sp>
          <p:nvSpPr>
            <p:cNvPr id="50" name="AutoShape 3">
              <a:extLst>
                <a:ext uri="{FF2B5EF4-FFF2-40B4-BE49-F238E27FC236}">
                  <a16:creationId xmlns:a16="http://schemas.microsoft.com/office/drawing/2014/main" id="{DC98D500-675B-46D2-AED8-665C0E1B4070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5273675" y="2606675"/>
              <a:ext cx="1644650" cy="16446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51" name="Group 50">
              <a:extLst>
                <a:ext uri="{FF2B5EF4-FFF2-40B4-BE49-F238E27FC236}">
                  <a16:creationId xmlns:a16="http://schemas.microsoft.com/office/drawing/2014/main" id="{769290BB-9F71-4EAB-980D-8B300AC12887}"/>
                </a:ext>
              </a:extLst>
            </p:cNvPr>
            <p:cNvGrpSpPr/>
            <p:nvPr/>
          </p:nvGrpSpPr>
          <p:grpSpPr>
            <a:xfrm>
              <a:off x="5444599" y="3152775"/>
              <a:ext cx="1302803" cy="552451"/>
              <a:chOff x="5445125" y="3152775"/>
              <a:chExt cx="1302803" cy="552451"/>
            </a:xfrm>
          </p:grpSpPr>
          <p:sp>
            <p:nvSpPr>
              <p:cNvPr id="53" name="Freeform 6">
                <a:extLst>
                  <a:ext uri="{FF2B5EF4-FFF2-40B4-BE49-F238E27FC236}">
                    <a16:creationId xmlns:a16="http://schemas.microsoft.com/office/drawing/2014/main" id="{965BB915-A240-4891-B4DC-DA46781A733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858175" y="3152775"/>
                <a:ext cx="470652" cy="550863"/>
              </a:xfrm>
              <a:custGeom>
                <a:avLst/>
                <a:gdLst>
                  <a:gd name="connsiteX0" fmla="*/ 153002 w 470652"/>
                  <a:gd name="connsiteY0" fmla="*/ 388952 h 550863"/>
                  <a:gd name="connsiteX1" fmla="*/ 141936 w 470652"/>
                  <a:gd name="connsiteY1" fmla="*/ 393758 h 550863"/>
                  <a:gd name="connsiteX2" fmla="*/ 141936 w 470652"/>
                  <a:gd name="connsiteY2" fmla="*/ 415117 h 550863"/>
                  <a:gd name="connsiteX3" fmla="*/ 174776 w 470652"/>
                  <a:gd name="connsiteY3" fmla="*/ 447868 h 550863"/>
                  <a:gd name="connsiteX4" fmla="*/ 141936 w 470652"/>
                  <a:gd name="connsiteY4" fmla="*/ 479194 h 550863"/>
                  <a:gd name="connsiteX5" fmla="*/ 141936 w 470652"/>
                  <a:gd name="connsiteY5" fmla="*/ 499841 h 550863"/>
                  <a:gd name="connsiteX6" fmla="*/ 153359 w 470652"/>
                  <a:gd name="connsiteY6" fmla="*/ 504825 h 550863"/>
                  <a:gd name="connsiteX7" fmla="*/ 164068 w 470652"/>
                  <a:gd name="connsiteY7" fmla="*/ 499841 h 550863"/>
                  <a:gd name="connsiteX8" fmla="*/ 196907 w 470652"/>
                  <a:gd name="connsiteY8" fmla="*/ 469227 h 550863"/>
                  <a:gd name="connsiteX9" fmla="*/ 229033 w 470652"/>
                  <a:gd name="connsiteY9" fmla="*/ 499841 h 550863"/>
                  <a:gd name="connsiteX10" fmla="*/ 239742 w 470652"/>
                  <a:gd name="connsiteY10" fmla="*/ 504825 h 550863"/>
                  <a:gd name="connsiteX11" fmla="*/ 250450 w 470652"/>
                  <a:gd name="connsiteY11" fmla="*/ 499841 h 550863"/>
                  <a:gd name="connsiteX12" fmla="*/ 250450 w 470652"/>
                  <a:gd name="connsiteY12" fmla="*/ 479194 h 550863"/>
                  <a:gd name="connsiteX13" fmla="*/ 218324 w 470652"/>
                  <a:gd name="connsiteY13" fmla="*/ 447868 h 550863"/>
                  <a:gd name="connsiteX14" fmla="*/ 250450 w 470652"/>
                  <a:gd name="connsiteY14" fmla="*/ 415117 h 550863"/>
                  <a:gd name="connsiteX15" fmla="*/ 250450 w 470652"/>
                  <a:gd name="connsiteY15" fmla="*/ 393758 h 550863"/>
                  <a:gd name="connsiteX16" fmla="*/ 229033 w 470652"/>
                  <a:gd name="connsiteY16" fmla="*/ 393758 h 550863"/>
                  <a:gd name="connsiteX17" fmla="*/ 196907 w 470652"/>
                  <a:gd name="connsiteY17" fmla="*/ 425796 h 550863"/>
                  <a:gd name="connsiteX18" fmla="*/ 164068 w 470652"/>
                  <a:gd name="connsiteY18" fmla="*/ 393758 h 550863"/>
                  <a:gd name="connsiteX19" fmla="*/ 153002 w 470652"/>
                  <a:gd name="connsiteY19" fmla="*/ 388952 h 550863"/>
                  <a:gd name="connsiteX20" fmla="*/ 196909 w 470652"/>
                  <a:gd name="connsiteY20" fmla="*/ 342900 h 550863"/>
                  <a:gd name="connsiteX21" fmla="*/ 302913 w 470652"/>
                  <a:gd name="connsiteY21" fmla="*/ 447594 h 550863"/>
                  <a:gd name="connsiteX22" fmla="*/ 196909 w 470652"/>
                  <a:gd name="connsiteY22" fmla="*/ 550863 h 550863"/>
                  <a:gd name="connsiteX23" fmla="*/ 90188 w 470652"/>
                  <a:gd name="connsiteY23" fmla="*/ 447594 h 550863"/>
                  <a:gd name="connsiteX24" fmla="*/ 196909 w 470652"/>
                  <a:gd name="connsiteY24" fmla="*/ 342900 h 550863"/>
                  <a:gd name="connsiteX25" fmla="*/ 17225 w 470652"/>
                  <a:gd name="connsiteY25" fmla="*/ 0 h 550863"/>
                  <a:gd name="connsiteX26" fmla="*/ 361980 w 470652"/>
                  <a:gd name="connsiteY26" fmla="*/ 0 h 550863"/>
                  <a:gd name="connsiteX27" fmla="*/ 377683 w 470652"/>
                  <a:gd name="connsiteY27" fmla="*/ 9278 h 550863"/>
                  <a:gd name="connsiteX28" fmla="*/ 469047 w 470652"/>
                  <a:gd name="connsiteY28" fmla="*/ 194833 h 550863"/>
                  <a:gd name="connsiteX29" fmla="*/ 469047 w 470652"/>
                  <a:gd name="connsiteY29" fmla="*/ 207679 h 550863"/>
                  <a:gd name="connsiteX30" fmla="*/ 377683 w 470652"/>
                  <a:gd name="connsiteY30" fmla="*/ 394661 h 550863"/>
                  <a:gd name="connsiteX31" fmla="*/ 361980 w 470652"/>
                  <a:gd name="connsiteY31" fmla="*/ 403225 h 550863"/>
                  <a:gd name="connsiteX32" fmla="*/ 325577 w 470652"/>
                  <a:gd name="connsiteY32" fmla="*/ 403225 h 550863"/>
                  <a:gd name="connsiteX33" fmla="*/ 197097 w 470652"/>
                  <a:gd name="connsiteY33" fmla="*/ 311161 h 550863"/>
                  <a:gd name="connsiteX34" fmla="*/ 69331 w 470652"/>
                  <a:gd name="connsiteY34" fmla="*/ 403225 h 550863"/>
                  <a:gd name="connsiteX35" fmla="*/ 17225 w 470652"/>
                  <a:gd name="connsiteY35" fmla="*/ 403225 h 550863"/>
                  <a:gd name="connsiteX36" fmla="*/ 1522 w 470652"/>
                  <a:gd name="connsiteY36" fmla="*/ 380388 h 550863"/>
                  <a:gd name="connsiteX37" fmla="*/ 87175 w 470652"/>
                  <a:gd name="connsiteY37" fmla="*/ 207679 h 550863"/>
                  <a:gd name="connsiteX38" fmla="*/ 87175 w 470652"/>
                  <a:gd name="connsiteY38" fmla="*/ 194833 h 550863"/>
                  <a:gd name="connsiteX39" fmla="*/ 1522 w 470652"/>
                  <a:gd name="connsiteY39" fmla="*/ 22838 h 550863"/>
                  <a:gd name="connsiteX40" fmla="*/ 17225 w 470652"/>
                  <a:gd name="connsiteY40" fmla="*/ 0 h 5508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</a:cxnLst>
                <a:rect l="l" t="t" r="r" b="b"/>
                <a:pathLst>
                  <a:path w="470652" h="550863">
                    <a:moveTo>
                      <a:pt x="153002" y="388952"/>
                    </a:moveTo>
                    <a:cubicBezTo>
                      <a:pt x="148897" y="388952"/>
                      <a:pt x="144792" y="390554"/>
                      <a:pt x="141936" y="393758"/>
                    </a:cubicBezTo>
                    <a:cubicBezTo>
                      <a:pt x="136225" y="398742"/>
                      <a:pt x="136225" y="408709"/>
                      <a:pt x="141936" y="415117"/>
                    </a:cubicBezTo>
                    <a:cubicBezTo>
                      <a:pt x="141936" y="415117"/>
                      <a:pt x="141936" y="415117"/>
                      <a:pt x="174776" y="447868"/>
                    </a:cubicBezTo>
                    <a:cubicBezTo>
                      <a:pt x="174776" y="447868"/>
                      <a:pt x="174776" y="447868"/>
                      <a:pt x="141936" y="479194"/>
                    </a:cubicBezTo>
                    <a:cubicBezTo>
                      <a:pt x="136225" y="485602"/>
                      <a:pt x="136225" y="494858"/>
                      <a:pt x="141936" y="499841"/>
                    </a:cubicBezTo>
                    <a:cubicBezTo>
                      <a:pt x="145506" y="503401"/>
                      <a:pt x="148362" y="504825"/>
                      <a:pt x="153359" y="504825"/>
                    </a:cubicBezTo>
                    <a:cubicBezTo>
                      <a:pt x="157642" y="504825"/>
                      <a:pt x="161212" y="503401"/>
                      <a:pt x="164068" y="499841"/>
                    </a:cubicBezTo>
                    <a:cubicBezTo>
                      <a:pt x="164068" y="499841"/>
                      <a:pt x="164068" y="499841"/>
                      <a:pt x="196907" y="469227"/>
                    </a:cubicBezTo>
                    <a:cubicBezTo>
                      <a:pt x="196907" y="469227"/>
                      <a:pt x="196907" y="469227"/>
                      <a:pt x="229033" y="499841"/>
                    </a:cubicBezTo>
                    <a:cubicBezTo>
                      <a:pt x="231889" y="503401"/>
                      <a:pt x="236172" y="504825"/>
                      <a:pt x="239742" y="504825"/>
                    </a:cubicBezTo>
                    <a:cubicBezTo>
                      <a:pt x="244025" y="504825"/>
                      <a:pt x="248308" y="503401"/>
                      <a:pt x="250450" y="499841"/>
                    </a:cubicBezTo>
                    <a:cubicBezTo>
                      <a:pt x="256875" y="494858"/>
                      <a:pt x="256875" y="485602"/>
                      <a:pt x="250450" y="479194"/>
                    </a:cubicBezTo>
                    <a:cubicBezTo>
                      <a:pt x="250450" y="479194"/>
                      <a:pt x="250450" y="479194"/>
                      <a:pt x="218324" y="447868"/>
                    </a:cubicBezTo>
                    <a:cubicBezTo>
                      <a:pt x="218324" y="447868"/>
                      <a:pt x="218324" y="447868"/>
                      <a:pt x="250450" y="415117"/>
                    </a:cubicBezTo>
                    <a:cubicBezTo>
                      <a:pt x="256875" y="408709"/>
                      <a:pt x="256875" y="398742"/>
                      <a:pt x="250450" y="393758"/>
                    </a:cubicBezTo>
                    <a:cubicBezTo>
                      <a:pt x="244739" y="387350"/>
                      <a:pt x="234744" y="387350"/>
                      <a:pt x="229033" y="393758"/>
                    </a:cubicBezTo>
                    <a:cubicBezTo>
                      <a:pt x="229033" y="393758"/>
                      <a:pt x="229033" y="393758"/>
                      <a:pt x="196907" y="425796"/>
                    </a:cubicBezTo>
                    <a:cubicBezTo>
                      <a:pt x="196907" y="425796"/>
                      <a:pt x="196907" y="425796"/>
                      <a:pt x="164068" y="393758"/>
                    </a:cubicBezTo>
                    <a:cubicBezTo>
                      <a:pt x="161212" y="390554"/>
                      <a:pt x="157107" y="388952"/>
                      <a:pt x="153002" y="388952"/>
                    </a:cubicBezTo>
                    <a:close/>
                    <a:moveTo>
                      <a:pt x="196909" y="342900"/>
                    </a:moveTo>
                    <a:cubicBezTo>
                      <a:pt x="254925" y="342900"/>
                      <a:pt x="302913" y="389193"/>
                      <a:pt x="302913" y="447594"/>
                    </a:cubicBezTo>
                    <a:cubicBezTo>
                      <a:pt x="302913" y="503858"/>
                      <a:pt x="254925" y="550863"/>
                      <a:pt x="196909" y="550863"/>
                    </a:cubicBezTo>
                    <a:cubicBezTo>
                      <a:pt x="137460" y="550863"/>
                      <a:pt x="90188" y="503858"/>
                      <a:pt x="90188" y="447594"/>
                    </a:cubicBezTo>
                    <a:cubicBezTo>
                      <a:pt x="90188" y="389193"/>
                      <a:pt x="137460" y="342900"/>
                      <a:pt x="196909" y="342900"/>
                    </a:cubicBezTo>
                    <a:close/>
                    <a:moveTo>
                      <a:pt x="17225" y="0"/>
                    </a:moveTo>
                    <a:cubicBezTo>
                      <a:pt x="17225" y="0"/>
                      <a:pt x="17225" y="0"/>
                      <a:pt x="361980" y="0"/>
                    </a:cubicBezTo>
                    <a:cubicBezTo>
                      <a:pt x="368404" y="0"/>
                      <a:pt x="374828" y="3568"/>
                      <a:pt x="377683" y="9278"/>
                    </a:cubicBezTo>
                    <a:cubicBezTo>
                      <a:pt x="377683" y="9278"/>
                      <a:pt x="377683" y="9278"/>
                      <a:pt x="469047" y="194833"/>
                    </a:cubicBezTo>
                    <a:cubicBezTo>
                      <a:pt x="471188" y="199115"/>
                      <a:pt x="471188" y="203397"/>
                      <a:pt x="469047" y="207679"/>
                    </a:cubicBezTo>
                    <a:cubicBezTo>
                      <a:pt x="469047" y="207679"/>
                      <a:pt x="469047" y="207679"/>
                      <a:pt x="377683" y="394661"/>
                    </a:cubicBezTo>
                    <a:cubicBezTo>
                      <a:pt x="374828" y="398943"/>
                      <a:pt x="368404" y="403225"/>
                      <a:pt x="361980" y="403225"/>
                    </a:cubicBezTo>
                    <a:cubicBezTo>
                      <a:pt x="361980" y="403225"/>
                      <a:pt x="361980" y="403225"/>
                      <a:pt x="325577" y="403225"/>
                    </a:cubicBezTo>
                    <a:cubicBezTo>
                      <a:pt x="307019" y="349700"/>
                      <a:pt x="256341" y="311161"/>
                      <a:pt x="197097" y="311161"/>
                    </a:cubicBezTo>
                    <a:cubicBezTo>
                      <a:pt x="137140" y="311161"/>
                      <a:pt x="87175" y="349700"/>
                      <a:pt x="69331" y="403225"/>
                    </a:cubicBezTo>
                    <a:cubicBezTo>
                      <a:pt x="69331" y="403225"/>
                      <a:pt x="69331" y="403225"/>
                      <a:pt x="17225" y="403225"/>
                    </a:cubicBezTo>
                    <a:cubicBezTo>
                      <a:pt x="4377" y="403225"/>
                      <a:pt x="-3475" y="391093"/>
                      <a:pt x="1522" y="380388"/>
                    </a:cubicBezTo>
                    <a:cubicBezTo>
                      <a:pt x="1522" y="380388"/>
                      <a:pt x="1522" y="380388"/>
                      <a:pt x="87175" y="207679"/>
                    </a:cubicBezTo>
                    <a:cubicBezTo>
                      <a:pt x="89317" y="203397"/>
                      <a:pt x="89317" y="199115"/>
                      <a:pt x="87175" y="194833"/>
                    </a:cubicBezTo>
                    <a:cubicBezTo>
                      <a:pt x="87175" y="194833"/>
                      <a:pt x="87175" y="194833"/>
                      <a:pt x="1522" y="22838"/>
                    </a:cubicBezTo>
                    <a:cubicBezTo>
                      <a:pt x="-3475" y="12133"/>
                      <a:pt x="4377" y="0"/>
                      <a:pt x="17225" y="0"/>
                    </a:cubicBez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54" name="Freeform 7">
                <a:extLst>
                  <a:ext uri="{FF2B5EF4-FFF2-40B4-BE49-F238E27FC236}">
                    <a16:creationId xmlns:a16="http://schemas.microsoft.com/office/drawing/2014/main" id="{1DABDB9E-A478-437F-A2EC-30C42672796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445125" y="3152775"/>
                <a:ext cx="1302803" cy="552451"/>
              </a:xfrm>
              <a:custGeom>
                <a:avLst/>
                <a:gdLst>
                  <a:gd name="connsiteX0" fmla="*/ 1086933 w 1302803"/>
                  <a:gd name="connsiteY0" fmla="*/ 406063 h 552451"/>
                  <a:gd name="connsiteX1" fmla="*/ 1076251 w 1302803"/>
                  <a:gd name="connsiteY1" fmla="*/ 409816 h 552451"/>
                  <a:gd name="connsiteX2" fmla="*/ 1008596 w 1302803"/>
                  <a:gd name="connsiteY2" fmla="*/ 477732 h 552451"/>
                  <a:gd name="connsiteX3" fmla="*/ 977974 w 1302803"/>
                  <a:gd name="connsiteY3" fmla="*/ 446991 h 552451"/>
                  <a:gd name="connsiteX4" fmla="*/ 956609 w 1302803"/>
                  <a:gd name="connsiteY4" fmla="*/ 446991 h 552451"/>
                  <a:gd name="connsiteX5" fmla="*/ 956609 w 1302803"/>
                  <a:gd name="connsiteY5" fmla="*/ 468438 h 552451"/>
                  <a:gd name="connsiteX6" fmla="*/ 995778 w 1302803"/>
                  <a:gd name="connsiteY6" fmla="*/ 507758 h 552451"/>
                  <a:gd name="connsiteX7" fmla="*/ 1000763 w 1302803"/>
                  <a:gd name="connsiteY7" fmla="*/ 510617 h 552451"/>
                  <a:gd name="connsiteX8" fmla="*/ 1009309 w 1302803"/>
                  <a:gd name="connsiteY8" fmla="*/ 512762 h 552451"/>
                  <a:gd name="connsiteX9" fmla="*/ 1019279 w 1302803"/>
                  <a:gd name="connsiteY9" fmla="*/ 509188 h 552451"/>
                  <a:gd name="connsiteX10" fmla="*/ 1097615 w 1302803"/>
                  <a:gd name="connsiteY10" fmla="*/ 431263 h 552451"/>
                  <a:gd name="connsiteX11" fmla="*/ 1097615 w 1302803"/>
                  <a:gd name="connsiteY11" fmla="*/ 409816 h 552451"/>
                  <a:gd name="connsiteX12" fmla="*/ 1086933 w 1302803"/>
                  <a:gd name="connsiteY12" fmla="*/ 406063 h 552451"/>
                  <a:gd name="connsiteX13" fmla="*/ 249702 w 1302803"/>
                  <a:gd name="connsiteY13" fmla="*/ 406063 h 552451"/>
                  <a:gd name="connsiteX14" fmla="*/ 238638 w 1302803"/>
                  <a:gd name="connsiteY14" fmla="*/ 409816 h 552451"/>
                  <a:gd name="connsiteX15" fmla="*/ 171718 w 1302803"/>
                  <a:gd name="connsiteY15" fmla="*/ 477732 h 552451"/>
                  <a:gd name="connsiteX16" fmla="*/ 140776 w 1302803"/>
                  <a:gd name="connsiteY16" fmla="*/ 446991 h 552451"/>
                  <a:gd name="connsiteX17" fmla="*/ 118470 w 1302803"/>
                  <a:gd name="connsiteY17" fmla="*/ 446991 h 552451"/>
                  <a:gd name="connsiteX18" fmla="*/ 118470 w 1302803"/>
                  <a:gd name="connsiteY18" fmla="*/ 468438 h 552451"/>
                  <a:gd name="connsiteX19" fmla="*/ 158046 w 1302803"/>
                  <a:gd name="connsiteY19" fmla="*/ 507758 h 552451"/>
                  <a:gd name="connsiteX20" fmla="*/ 163803 w 1302803"/>
                  <a:gd name="connsiteY20" fmla="*/ 510617 h 552451"/>
                  <a:gd name="connsiteX21" fmla="*/ 171718 w 1302803"/>
                  <a:gd name="connsiteY21" fmla="*/ 512762 h 552451"/>
                  <a:gd name="connsiteX22" fmla="*/ 182512 w 1302803"/>
                  <a:gd name="connsiteY22" fmla="*/ 509188 h 552451"/>
                  <a:gd name="connsiteX23" fmla="*/ 260225 w 1302803"/>
                  <a:gd name="connsiteY23" fmla="*/ 431263 h 552451"/>
                  <a:gd name="connsiteX24" fmla="*/ 260225 w 1302803"/>
                  <a:gd name="connsiteY24" fmla="*/ 409816 h 552451"/>
                  <a:gd name="connsiteX25" fmla="*/ 249702 w 1302803"/>
                  <a:gd name="connsiteY25" fmla="*/ 406063 h 552451"/>
                  <a:gd name="connsiteX26" fmla="*/ 1027112 w 1302803"/>
                  <a:gd name="connsiteY26" fmla="*/ 344487 h 552451"/>
                  <a:gd name="connsiteX27" fmla="*/ 1133475 w 1302803"/>
                  <a:gd name="connsiteY27" fmla="*/ 448469 h 552451"/>
                  <a:gd name="connsiteX28" fmla="*/ 1027112 w 1302803"/>
                  <a:gd name="connsiteY28" fmla="*/ 552451 h 552451"/>
                  <a:gd name="connsiteX29" fmla="*/ 920749 w 1302803"/>
                  <a:gd name="connsiteY29" fmla="*/ 448469 h 552451"/>
                  <a:gd name="connsiteX30" fmla="*/ 1027112 w 1302803"/>
                  <a:gd name="connsiteY30" fmla="*/ 344487 h 552451"/>
                  <a:gd name="connsiteX31" fmla="*/ 192882 w 1302803"/>
                  <a:gd name="connsiteY31" fmla="*/ 344487 h 552451"/>
                  <a:gd name="connsiteX32" fmla="*/ 298451 w 1302803"/>
                  <a:gd name="connsiteY32" fmla="*/ 448469 h 552451"/>
                  <a:gd name="connsiteX33" fmla="*/ 192882 w 1302803"/>
                  <a:gd name="connsiteY33" fmla="*/ 552451 h 552451"/>
                  <a:gd name="connsiteX34" fmla="*/ 87313 w 1302803"/>
                  <a:gd name="connsiteY34" fmla="*/ 448469 h 552451"/>
                  <a:gd name="connsiteX35" fmla="*/ 192882 w 1302803"/>
                  <a:gd name="connsiteY35" fmla="*/ 344487 h 552451"/>
                  <a:gd name="connsiteX36" fmla="*/ 848631 w 1302803"/>
                  <a:gd name="connsiteY36" fmla="*/ 0 h 552451"/>
                  <a:gd name="connsiteX37" fmla="*/ 1193581 w 1302803"/>
                  <a:gd name="connsiteY37" fmla="*/ 0 h 552451"/>
                  <a:gd name="connsiteX38" fmla="*/ 1208548 w 1302803"/>
                  <a:gd name="connsiteY38" fmla="*/ 9278 h 552451"/>
                  <a:gd name="connsiteX39" fmla="*/ 1301200 w 1302803"/>
                  <a:gd name="connsiteY39" fmla="*/ 194119 h 552451"/>
                  <a:gd name="connsiteX40" fmla="*/ 1301200 w 1302803"/>
                  <a:gd name="connsiteY40" fmla="*/ 207679 h 552451"/>
                  <a:gd name="connsiteX41" fmla="*/ 1208548 w 1302803"/>
                  <a:gd name="connsiteY41" fmla="*/ 393947 h 552451"/>
                  <a:gd name="connsiteX42" fmla="*/ 1193581 w 1302803"/>
                  <a:gd name="connsiteY42" fmla="*/ 403225 h 552451"/>
                  <a:gd name="connsiteX43" fmla="*/ 1155095 w 1302803"/>
                  <a:gd name="connsiteY43" fmla="*/ 403225 h 552451"/>
                  <a:gd name="connsiteX44" fmla="*/ 1027521 w 1302803"/>
                  <a:gd name="connsiteY44" fmla="*/ 312588 h 552451"/>
                  <a:gd name="connsiteX45" fmla="*/ 899233 w 1302803"/>
                  <a:gd name="connsiteY45" fmla="*/ 403225 h 552451"/>
                  <a:gd name="connsiteX46" fmla="*/ 848631 w 1302803"/>
                  <a:gd name="connsiteY46" fmla="*/ 403225 h 552451"/>
                  <a:gd name="connsiteX47" fmla="*/ 833664 w 1302803"/>
                  <a:gd name="connsiteY47" fmla="*/ 380388 h 552451"/>
                  <a:gd name="connsiteX48" fmla="*/ 919189 w 1302803"/>
                  <a:gd name="connsiteY48" fmla="*/ 207679 h 552451"/>
                  <a:gd name="connsiteX49" fmla="*/ 919189 w 1302803"/>
                  <a:gd name="connsiteY49" fmla="*/ 194119 h 552451"/>
                  <a:gd name="connsiteX50" fmla="*/ 833664 w 1302803"/>
                  <a:gd name="connsiteY50" fmla="*/ 22837 h 552451"/>
                  <a:gd name="connsiteX51" fmla="*/ 848631 w 1302803"/>
                  <a:gd name="connsiteY51" fmla="*/ 0 h 552451"/>
                  <a:gd name="connsiteX52" fmla="*/ 15719 w 1302803"/>
                  <a:gd name="connsiteY52" fmla="*/ 0 h 552451"/>
                  <a:gd name="connsiteX53" fmla="*/ 357249 w 1302803"/>
                  <a:gd name="connsiteY53" fmla="*/ 0 h 552451"/>
                  <a:gd name="connsiteX54" fmla="*/ 371539 w 1302803"/>
                  <a:gd name="connsiteY54" fmla="*/ 9278 h 552451"/>
                  <a:gd name="connsiteX55" fmla="*/ 462995 w 1302803"/>
                  <a:gd name="connsiteY55" fmla="*/ 194119 h 552451"/>
                  <a:gd name="connsiteX56" fmla="*/ 462995 w 1302803"/>
                  <a:gd name="connsiteY56" fmla="*/ 207679 h 552451"/>
                  <a:gd name="connsiteX57" fmla="*/ 371539 w 1302803"/>
                  <a:gd name="connsiteY57" fmla="*/ 393947 h 552451"/>
                  <a:gd name="connsiteX58" fmla="*/ 357249 w 1302803"/>
                  <a:gd name="connsiteY58" fmla="*/ 403225 h 552451"/>
                  <a:gd name="connsiteX59" fmla="*/ 320095 w 1302803"/>
                  <a:gd name="connsiteY59" fmla="*/ 403225 h 552451"/>
                  <a:gd name="connsiteX60" fmla="*/ 192915 w 1302803"/>
                  <a:gd name="connsiteY60" fmla="*/ 312588 h 552451"/>
                  <a:gd name="connsiteX61" fmla="*/ 65734 w 1302803"/>
                  <a:gd name="connsiteY61" fmla="*/ 403225 h 552451"/>
                  <a:gd name="connsiteX62" fmla="*/ 15719 w 1302803"/>
                  <a:gd name="connsiteY62" fmla="*/ 403225 h 552451"/>
                  <a:gd name="connsiteX63" fmla="*/ 0 w 1302803"/>
                  <a:gd name="connsiteY63" fmla="*/ 386811 h 552451"/>
                  <a:gd name="connsiteX64" fmla="*/ 0 w 1302803"/>
                  <a:gd name="connsiteY64" fmla="*/ 16414 h 552451"/>
                  <a:gd name="connsiteX65" fmla="*/ 15719 w 1302803"/>
                  <a:gd name="connsiteY65" fmla="*/ 0 h 5524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</a:cxnLst>
                <a:rect l="l" t="t" r="r" b="b"/>
                <a:pathLst>
                  <a:path w="1302803" h="552451">
                    <a:moveTo>
                      <a:pt x="1086933" y="406063"/>
                    </a:moveTo>
                    <a:cubicBezTo>
                      <a:pt x="1083016" y="406063"/>
                      <a:pt x="1079099" y="407314"/>
                      <a:pt x="1076251" y="409816"/>
                    </a:cubicBezTo>
                    <a:cubicBezTo>
                      <a:pt x="1076251" y="409816"/>
                      <a:pt x="1076251" y="409816"/>
                      <a:pt x="1008596" y="477732"/>
                    </a:cubicBezTo>
                    <a:cubicBezTo>
                      <a:pt x="1008596" y="477732"/>
                      <a:pt x="1008596" y="477732"/>
                      <a:pt x="977974" y="446991"/>
                    </a:cubicBezTo>
                    <a:cubicBezTo>
                      <a:pt x="972277" y="440557"/>
                      <a:pt x="963019" y="440557"/>
                      <a:pt x="956609" y="446991"/>
                    </a:cubicBezTo>
                    <a:cubicBezTo>
                      <a:pt x="950912" y="453425"/>
                      <a:pt x="950912" y="462719"/>
                      <a:pt x="956609" y="468438"/>
                    </a:cubicBezTo>
                    <a:cubicBezTo>
                      <a:pt x="956609" y="468438"/>
                      <a:pt x="956609" y="468438"/>
                      <a:pt x="995778" y="507758"/>
                    </a:cubicBezTo>
                    <a:cubicBezTo>
                      <a:pt x="997202" y="509188"/>
                      <a:pt x="999338" y="509903"/>
                      <a:pt x="1000763" y="510617"/>
                    </a:cubicBezTo>
                    <a:cubicBezTo>
                      <a:pt x="1003611" y="512047"/>
                      <a:pt x="1006460" y="512762"/>
                      <a:pt x="1009309" y="512762"/>
                    </a:cubicBezTo>
                    <a:cubicBezTo>
                      <a:pt x="1013581" y="512762"/>
                      <a:pt x="1017142" y="511332"/>
                      <a:pt x="1019279" y="509188"/>
                    </a:cubicBezTo>
                    <a:cubicBezTo>
                      <a:pt x="1019279" y="509188"/>
                      <a:pt x="1019279" y="509188"/>
                      <a:pt x="1097615" y="431263"/>
                    </a:cubicBezTo>
                    <a:cubicBezTo>
                      <a:pt x="1103312" y="426259"/>
                      <a:pt x="1103312" y="416251"/>
                      <a:pt x="1097615" y="409816"/>
                    </a:cubicBezTo>
                    <a:cubicBezTo>
                      <a:pt x="1094767" y="407314"/>
                      <a:pt x="1090850" y="406063"/>
                      <a:pt x="1086933" y="406063"/>
                    </a:cubicBezTo>
                    <a:close/>
                    <a:moveTo>
                      <a:pt x="249702" y="406063"/>
                    </a:moveTo>
                    <a:cubicBezTo>
                      <a:pt x="245834" y="406063"/>
                      <a:pt x="241876" y="407314"/>
                      <a:pt x="238638" y="409816"/>
                    </a:cubicBezTo>
                    <a:cubicBezTo>
                      <a:pt x="238638" y="409816"/>
                      <a:pt x="238638" y="409816"/>
                      <a:pt x="171718" y="477732"/>
                    </a:cubicBezTo>
                    <a:cubicBezTo>
                      <a:pt x="171718" y="477732"/>
                      <a:pt x="171718" y="477732"/>
                      <a:pt x="140776" y="446991"/>
                    </a:cubicBezTo>
                    <a:cubicBezTo>
                      <a:pt x="134300" y="440557"/>
                      <a:pt x="124226" y="440557"/>
                      <a:pt x="118470" y="446991"/>
                    </a:cubicBezTo>
                    <a:cubicBezTo>
                      <a:pt x="112713" y="453425"/>
                      <a:pt x="112713" y="462719"/>
                      <a:pt x="118470" y="468438"/>
                    </a:cubicBezTo>
                    <a:cubicBezTo>
                      <a:pt x="118470" y="468438"/>
                      <a:pt x="118470" y="468438"/>
                      <a:pt x="158046" y="507758"/>
                    </a:cubicBezTo>
                    <a:cubicBezTo>
                      <a:pt x="160205" y="509188"/>
                      <a:pt x="161644" y="509903"/>
                      <a:pt x="163803" y="510617"/>
                    </a:cubicBezTo>
                    <a:cubicBezTo>
                      <a:pt x="165961" y="512047"/>
                      <a:pt x="168840" y="512762"/>
                      <a:pt x="171718" y="512762"/>
                    </a:cubicBezTo>
                    <a:cubicBezTo>
                      <a:pt x="175316" y="512762"/>
                      <a:pt x="179633" y="511332"/>
                      <a:pt x="182512" y="509188"/>
                    </a:cubicBezTo>
                    <a:cubicBezTo>
                      <a:pt x="182512" y="509188"/>
                      <a:pt x="182512" y="509188"/>
                      <a:pt x="260225" y="431263"/>
                    </a:cubicBezTo>
                    <a:cubicBezTo>
                      <a:pt x="266701" y="426259"/>
                      <a:pt x="266701" y="416251"/>
                      <a:pt x="260225" y="409816"/>
                    </a:cubicBezTo>
                    <a:cubicBezTo>
                      <a:pt x="257347" y="407314"/>
                      <a:pt x="253569" y="406063"/>
                      <a:pt x="249702" y="406063"/>
                    </a:cubicBezTo>
                    <a:close/>
                    <a:moveTo>
                      <a:pt x="1027112" y="344487"/>
                    </a:moveTo>
                    <a:cubicBezTo>
                      <a:pt x="1085855" y="344487"/>
                      <a:pt x="1133475" y="391041"/>
                      <a:pt x="1133475" y="448469"/>
                    </a:cubicBezTo>
                    <a:cubicBezTo>
                      <a:pt x="1133475" y="505897"/>
                      <a:pt x="1085855" y="552451"/>
                      <a:pt x="1027112" y="552451"/>
                    </a:cubicBezTo>
                    <a:cubicBezTo>
                      <a:pt x="968369" y="552451"/>
                      <a:pt x="920749" y="505897"/>
                      <a:pt x="920749" y="448469"/>
                    </a:cubicBezTo>
                    <a:cubicBezTo>
                      <a:pt x="920749" y="391041"/>
                      <a:pt x="968369" y="344487"/>
                      <a:pt x="1027112" y="344487"/>
                    </a:cubicBezTo>
                    <a:close/>
                    <a:moveTo>
                      <a:pt x="192882" y="344487"/>
                    </a:moveTo>
                    <a:cubicBezTo>
                      <a:pt x="251186" y="344487"/>
                      <a:pt x="298451" y="391041"/>
                      <a:pt x="298451" y="448469"/>
                    </a:cubicBezTo>
                    <a:cubicBezTo>
                      <a:pt x="298451" y="505897"/>
                      <a:pt x="251186" y="552451"/>
                      <a:pt x="192882" y="552451"/>
                    </a:cubicBezTo>
                    <a:cubicBezTo>
                      <a:pt x="134578" y="552451"/>
                      <a:pt x="87313" y="505897"/>
                      <a:pt x="87313" y="448469"/>
                    </a:cubicBezTo>
                    <a:cubicBezTo>
                      <a:pt x="87313" y="391041"/>
                      <a:pt x="134578" y="344487"/>
                      <a:pt x="192882" y="344487"/>
                    </a:cubicBezTo>
                    <a:close/>
                    <a:moveTo>
                      <a:pt x="848631" y="0"/>
                    </a:moveTo>
                    <a:cubicBezTo>
                      <a:pt x="848631" y="0"/>
                      <a:pt x="848631" y="0"/>
                      <a:pt x="1193581" y="0"/>
                    </a:cubicBezTo>
                    <a:cubicBezTo>
                      <a:pt x="1200708" y="0"/>
                      <a:pt x="1205697" y="3568"/>
                      <a:pt x="1208548" y="9278"/>
                    </a:cubicBezTo>
                    <a:cubicBezTo>
                      <a:pt x="1208548" y="9278"/>
                      <a:pt x="1208548" y="9278"/>
                      <a:pt x="1301200" y="194119"/>
                    </a:cubicBezTo>
                    <a:cubicBezTo>
                      <a:pt x="1303338" y="198401"/>
                      <a:pt x="1303338" y="203397"/>
                      <a:pt x="1301200" y="207679"/>
                    </a:cubicBezTo>
                    <a:cubicBezTo>
                      <a:pt x="1301200" y="207679"/>
                      <a:pt x="1301200" y="207679"/>
                      <a:pt x="1208548" y="393947"/>
                    </a:cubicBezTo>
                    <a:cubicBezTo>
                      <a:pt x="1205697" y="398943"/>
                      <a:pt x="1200708" y="403225"/>
                      <a:pt x="1193581" y="403225"/>
                    </a:cubicBezTo>
                    <a:cubicBezTo>
                      <a:pt x="1193581" y="403225"/>
                      <a:pt x="1193581" y="403225"/>
                      <a:pt x="1155095" y="403225"/>
                    </a:cubicBezTo>
                    <a:cubicBezTo>
                      <a:pt x="1136565" y="350413"/>
                      <a:pt x="1085963" y="312588"/>
                      <a:pt x="1027521" y="312588"/>
                    </a:cubicBezTo>
                    <a:cubicBezTo>
                      <a:pt x="968366" y="312588"/>
                      <a:pt x="917764" y="350413"/>
                      <a:pt x="899233" y="403225"/>
                    </a:cubicBezTo>
                    <a:cubicBezTo>
                      <a:pt x="899233" y="403225"/>
                      <a:pt x="899233" y="403225"/>
                      <a:pt x="848631" y="403225"/>
                    </a:cubicBezTo>
                    <a:cubicBezTo>
                      <a:pt x="835802" y="403225"/>
                      <a:pt x="828675" y="390379"/>
                      <a:pt x="833664" y="380388"/>
                    </a:cubicBezTo>
                    <a:cubicBezTo>
                      <a:pt x="833664" y="380388"/>
                      <a:pt x="833664" y="380388"/>
                      <a:pt x="919189" y="207679"/>
                    </a:cubicBezTo>
                    <a:cubicBezTo>
                      <a:pt x="921327" y="203397"/>
                      <a:pt x="921327" y="198401"/>
                      <a:pt x="919189" y="194119"/>
                    </a:cubicBezTo>
                    <a:cubicBezTo>
                      <a:pt x="919189" y="194119"/>
                      <a:pt x="919189" y="194119"/>
                      <a:pt x="833664" y="22837"/>
                    </a:cubicBezTo>
                    <a:cubicBezTo>
                      <a:pt x="828675" y="12132"/>
                      <a:pt x="835802" y="0"/>
                      <a:pt x="848631" y="0"/>
                    </a:cubicBezTo>
                    <a:close/>
                    <a:moveTo>
                      <a:pt x="15719" y="0"/>
                    </a:moveTo>
                    <a:cubicBezTo>
                      <a:pt x="15719" y="0"/>
                      <a:pt x="15719" y="0"/>
                      <a:pt x="357249" y="0"/>
                    </a:cubicBezTo>
                    <a:cubicBezTo>
                      <a:pt x="362965" y="0"/>
                      <a:pt x="368681" y="3568"/>
                      <a:pt x="371539" y="9278"/>
                    </a:cubicBezTo>
                    <a:cubicBezTo>
                      <a:pt x="371539" y="9278"/>
                      <a:pt x="371539" y="9278"/>
                      <a:pt x="462995" y="194119"/>
                    </a:cubicBezTo>
                    <a:cubicBezTo>
                      <a:pt x="465138" y="198401"/>
                      <a:pt x="465138" y="203397"/>
                      <a:pt x="462995" y="207679"/>
                    </a:cubicBezTo>
                    <a:cubicBezTo>
                      <a:pt x="462995" y="207679"/>
                      <a:pt x="462995" y="207679"/>
                      <a:pt x="371539" y="393947"/>
                    </a:cubicBezTo>
                    <a:cubicBezTo>
                      <a:pt x="369396" y="398943"/>
                      <a:pt x="362965" y="403225"/>
                      <a:pt x="357249" y="403225"/>
                    </a:cubicBezTo>
                    <a:cubicBezTo>
                      <a:pt x="357249" y="403225"/>
                      <a:pt x="357249" y="403225"/>
                      <a:pt x="320095" y="403225"/>
                    </a:cubicBezTo>
                    <a:cubicBezTo>
                      <a:pt x="301518" y="350413"/>
                      <a:pt x="252218" y="312588"/>
                      <a:pt x="192915" y="312588"/>
                    </a:cubicBezTo>
                    <a:cubicBezTo>
                      <a:pt x="133611" y="312588"/>
                      <a:pt x="84310" y="350413"/>
                      <a:pt x="65734" y="403225"/>
                    </a:cubicBezTo>
                    <a:cubicBezTo>
                      <a:pt x="65734" y="403225"/>
                      <a:pt x="65734" y="403225"/>
                      <a:pt x="15719" y="403225"/>
                    </a:cubicBezTo>
                    <a:cubicBezTo>
                      <a:pt x="7145" y="403225"/>
                      <a:pt x="0" y="395375"/>
                      <a:pt x="0" y="386811"/>
                    </a:cubicBezTo>
                    <a:cubicBezTo>
                      <a:pt x="0" y="386811"/>
                      <a:pt x="0" y="386811"/>
                      <a:pt x="0" y="16414"/>
                    </a:cubicBezTo>
                    <a:cubicBezTo>
                      <a:pt x="0" y="7137"/>
                      <a:pt x="7145" y="0"/>
                      <a:pt x="15719" y="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/>
              </a:p>
            </p:txBody>
          </p:sp>
        </p:grpSp>
      </p:grpSp>
      <p:grpSp>
        <p:nvGrpSpPr>
          <p:cNvPr id="55" name="Group 54">
            <a:extLst>
              <a:ext uri="{FF2B5EF4-FFF2-40B4-BE49-F238E27FC236}">
                <a16:creationId xmlns:a16="http://schemas.microsoft.com/office/drawing/2014/main" id="{083787B3-CD4B-43A7-9CD5-8C78D4E83900}"/>
              </a:ext>
            </a:extLst>
          </p:cNvPr>
          <p:cNvGrpSpPr>
            <a:grpSpLocks noChangeAspect="1"/>
          </p:cNvGrpSpPr>
          <p:nvPr/>
        </p:nvGrpSpPr>
        <p:grpSpPr>
          <a:xfrm>
            <a:off x="4477181" y="1851027"/>
            <a:ext cx="1119396" cy="1119396"/>
            <a:chOff x="5272330" y="2605278"/>
            <a:chExt cx="1645920" cy="1645920"/>
          </a:xfrm>
        </p:grpSpPr>
        <p:sp>
          <p:nvSpPr>
            <p:cNvPr id="56" name="AutoShape 3">
              <a:extLst>
                <a:ext uri="{FF2B5EF4-FFF2-40B4-BE49-F238E27FC236}">
                  <a16:creationId xmlns:a16="http://schemas.microsoft.com/office/drawing/2014/main" id="{6420DC32-4D09-459D-91D0-01A37AEAD3F6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5272330" y="2605278"/>
              <a:ext cx="1645920" cy="16459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57" name="Group 56">
              <a:extLst>
                <a:ext uri="{FF2B5EF4-FFF2-40B4-BE49-F238E27FC236}">
                  <a16:creationId xmlns:a16="http://schemas.microsoft.com/office/drawing/2014/main" id="{93BFD422-E7A5-4BE6-8543-53F4BBB28CF1}"/>
                </a:ext>
              </a:extLst>
            </p:cNvPr>
            <p:cNvGrpSpPr/>
            <p:nvPr/>
          </p:nvGrpSpPr>
          <p:grpSpPr>
            <a:xfrm>
              <a:off x="5424297" y="2880360"/>
              <a:ext cx="1341986" cy="1095756"/>
              <a:chOff x="5424297" y="2880360"/>
              <a:chExt cx="1341986" cy="1095756"/>
            </a:xfrm>
          </p:grpSpPr>
          <p:sp>
            <p:nvSpPr>
              <p:cNvPr id="58" name="Freeform 25">
                <a:extLst>
                  <a:ext uri="{FF2B5EF4-FFF2-40B4-BE49-F238E27FC236}">
                    <a16:creationId xmlns:a16="http://schemas.microsoft.com/office/drawing/2014/main" id="{04A1E18A-8682-4135-A031-DB5BA80299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24297" y="2880360"/>
                <a:ext cx="1082609" cy="826495"/>
              </a:xfrm>
              <a:custGeom>
                <a:avLst/>
                <a:gdLst>
                  <a:gd name="connsiteX0" fmla="*/ 2428875 w 4510872"/>
                  <a:gd name="connsiteY0" fmla="*/ 2511425 h 3443730"/>
                  <a:gd name="connsiteX1" fmla="*/ 2718485 w 4510872"/>
                  <a:gd name="connsiteY1" fmla="*/ 2672626 h 3443730"/>
                  <a:gd name="connsiteX2" fmla="*/ 2748342 w 4510872"/>
                  <a:gd name="connsiteY2" fmla="*/ 2741285 h 3443730"/>
                  <a:gd name="connsiteX3" fmla="*/ 2691614 w 4510872"/>
                  <a:gd name="connsiteY3" fmla="*/ 2786063 h 3443730"/>
                  <a:gd name="connsiteX4" fmla="*/ 2593087 w 4510872"/>
                  <a:gd name="connsiteY4" fmla="*/ 2786063 h 3443730"/>
                  <a:gd name="connsiteX5" fmla="*/ 2428875 w 4510872"/>
                  <a:gd name="connsiteY5" fmla="*/ 2511425 h 3443730"/>
                  <a:gd name="connsiteX6" fmla="*/ 4144539 w 4510872"/>
                  <a:gd name="connsiteY6" fmla="*/ 1955800 h 3443730"/>
                  <a:gd name="connsiteX7" fmla="*/ 4144539 w 4510872"/>
                  <a:gd name="connsiteY7" fmla="*/ 2425578 h 3443730"/>
                  <a:gd name="connsiteX8" fmla="*/ 2425928 w 4510872"/>
                  <a:gd name="connsiteY8" fmla="*/ 2425578 h 3443730"/>
                  <a:gd name="connsiteX9" fmla="*/ 2425928 w 4510872"/>
                  <a:gd name="connsiteY9" fmla="*/ 2493963 h 3443730"/>
                  <a:gd name="connsiteX10" fmla="*/ 2381250 w 4510872"/>
                  <a:gd name="connsiteY10" fmla="*/ 2306647 h 3443730"/>
                  <a:gd name="connsiteX11" fmla="*/ 4144539 w 4510872"/>
                  <a:gd name="connsiteY11" fmla="*/ 2306647 h 3443730"/>
                  <a:gd name="connsiteX12" fmla="*/ 4144539 w 4510872"/>
                  <a:gd name="connsiteY12" fmla="*/ 1955800 h 3443730"/>
                  <a:gd name="connsiteX13" fmla="*/ 3295553 w 4510872"/>
                  <a:gd name="connsiteY13" fmla="*/ 1169783 h 3443730"/>
                  <a:gd name="connsiteX14" fmla="*/ 2569208 w 4510872"/>
                  <a:gd name="connsiteY14" fmla="*/ 1452235 h 3443730"/>
                  <a:gd name="connsiteX15" fmla="*/ 2539439 w 4510872"/>
                  <a:gd name="connsiteY15" fmla="*/ 2893146 h 3443730"/>
                  <a:gd name="connsiteX16" fmla="*/ 3899849 w 4510872"/>
                  <a:gd name="connsiteY16" fmla="*/ 2997344 h 3443730"/>
                  <a:gd name="connsiteX17" fmla="*/ 3986177 w 4510872"/>
                  <a:gd name="connsiteY17" fmla="*/ 2922917 h 3443730"/>
                  <a:gd name="connsiteX18" fmla="*/ 4069528 w 4510872"/>
                  <a:gd name="connsiteY18" fmla="*/ 2827650 h 3443730"/>
                  <a:gd name="connsiteX19" fmla="*/ 4012968 w 4510872"/>
                  <a:gd name="connsiteY19" fmla="*/ 1479028 h 3443730"/>
                  <a:gd name="connsiteX20" fmla="*/ 3295553 w 4510872"/>
                  <a:gd name="connsiteY20" fmla="*/ 1169783 h 3443730"/>
                  <a:gd name="connsiteX21" fmla="*/ 3299874 w 4510872"/>
                  <a:gd name="connsiteY21" fmla="*/ 1025826 h 3443730"/>
                  <a:gd name="connsiteX22" fmla="*/ 4117875 w 4510872"/>
                  <a:gd name="connsiteY22" fmla="*/ 1381236 h 3443730"/>
                  <a:gd name="connsiteX23" fmla="*/ 4225056 w 4510872"/>
                  <a:gd name="connsiteY23" fmla="*/ 2863910 h 3443730"/>
                  <a:gd name="connsiteX24" fmla="*/ 4501941 w 4510872"/>
                  <a:gd name="connsiteY24" fmla="*/ 3149726 h 3443730"/>
                  <a:gd name="connsiteX25" fmla="*/ 4501941 w 4510872"/>
                  <a:gd name="connsiteY25" fmla="*/ 3194385 h 3443730"/>
                  <a:gd name="connsiteX26" fmla="*/ 4248875 w 4510872"/>
                  <a:gd name="connsiteY26" fmla="*/ 3432566 h 3443730"/>
                  <a:gd name="connsiteX27" fmla="*/ 4204216 w 4510872"/>
                  <a:gd name="connsiteY27" fmla="*/ 3432566 h 3443730"/>
                  <a:gd name="connsiteX28" fmla="*/ 3933285 w 4510872"/>
                  <a:gd name="connsiteY28" fmla="*/ 3152703 h 3443730"/>
                  <a:gd name="connsiteX29" fmla="*/ 2435726 w 4510872"/>
                  <a:gd name="connsiteY29" fmla="*/ 2997886 h 3443730"/>
                  <a:gd name="connsiteX30" fmla="*/ 2468475 w 4510872"/>
                  <a:gd name="connsiteY30" fmla="*/ 1351464 h 3443730"/>
                  <a:gd name="connsiteX31" fmla="*/ 3299874 w 4510872"/>
                  <a:gd name="connsiteY31" fmla="*/ 1025826 h 3443730"/>
                  <a:gd name="connsiteX32" fmla="*/ 59531 w 4510872"/>
                  <a:gd name="connsiteY32" fmla="*/ 0 h 3443730"/>
                  <a:gd name="connsiteX33" fmla="*/ 4202907 w 4510872"/>
                  <a:gd name="connsiteY33" fmla="*/ 0 h 3443730"/>
                  <a:gd name="connsiteX34" fmla="*/ 4262438 w 4510872"/>
                  <a:gd name="connsiteY34" fmla="*/ 59531 h 3443730"/>
                  <a:gd name="connsiteX35" fmla="*/ 4262438 w 4510872"/>
                  <a:gd name="connsiteY35" fmla="*/ 1372196 h 3443730"/>
                  <a:gd name="connsiteX36" fmla="*/ 4199930 w 4510872"/>
                  <a:gd name="connsiteY36" fmla="*/ 1300758 h 3443730"/>
                  <a:gd name="connsiteX37" fmla="*/ 4140399 w 4510872"/>
                  <a:gd name="connsiteY37" fmla="*/ 1244204 h 3443730"/>
                  <a:gd name="connsiteX38" fmla="*/ 4140399 w 4510872"/>
                  <a:gd name="connsiteY38" fmla="*/ 122039 h 3443730"/>
                  <a:gd name="connsiteX39" fmla="*/ 119062 w 4510872"/>
                  <a:gd name="connsiteY39" fmla="*/ 122039 h 3443730"/>
                  <a:gd name="connsiteX40" fmla="*/ 119062 w 4510872"/>
                  <a:gd name="connsiteY40" fmla="*/ 2309813 h 3443730"/>
                  <a:gd name="connsiteX41" fmla="*/ 1896070 w 4510872"/>
                  <a:gd name="connsiteY41" fmla="*/ 2309813 h 3443730"/>
                  <a:gd name="connsiteX42" fmla="*/ 1955602 w 4510872"/>
                  <a:gd name="connsiteY42" fmla="*/ 2369344 h 3443730"/>
                  <a:gd name="connsiteX43" fmla="*/ 1955602 w 4510872"/>
                  <a:gd name="connsiteY43" fmla="*/ 2544962 h 3443730"/>
                  <a:gd name="connsiteX44" fmla="*/ 1925836 w 4510872"/>
                  <a:gd name="connsiteY44" fmla="*/ 2598540 h 3443730"/>
                  <a:gd name="connsiteX45" fmla="*/ 1800820 w 4510872"/>
                  <a:gd name="connsiteY45" fmla="*/ 2664024 h 3443730"/>
                  <a:gd name="connsiteX46" fmla="*/ 2074664 w 4510872"/>
                  <a:gd name="connsiteY46" fmla="*/ 2664024 h 3443730"/>
                  <a:gd name="connsiteX47" fmla="*/ 2131219 w 4510872"/>
                  <a:gd name="connsiteY47" fmla="*/ 2786063 h 3443730"/>
                  <a:gd name="connsiteX48" fmla="*/ 1565672 w 4510872"/>
                  <a:gd name="connsiteY48" fmla="*/ 2786063 h 3443730"/>
                  <a:gd name="connsiteX49" fmla="*/ 1509117 w 4510872"/>
                  <a:gd name="connsiteY49" fmla="*/ 2741415 h 3443730"/>
                  <a:gd name="connsiteX50" fmla="*/ 1538883 w 4510872"/>
                  <a:gd name="connsiteY50" fmla="*/ 2672954 h 3443730"/>
                  <a:gd name="connsiteX51" fmla="*/ 1836539 w 4510872"/>
                  <a:gd name="connsiteY51" fmla="*/ 2509243 h 3443730"/>
                  <a:gd name="connsiteX52" fmla="*/ 1836539 w 4510872"/>
                  <a:gd name="connsiteY52" fmla="*/ 2428876 h 3443730"/>
                  <a:gd name="connsiteX53" fmla="*/ 59531 w 4510872"/>
                  <a:gd name="connsiteY53" fmla="*/ 2428876 h 3443730"/>
                  <a:gd name="connsiteX54" fmla="*/ 0 w 4510872"/>
                  <a:gd name="connsiteY54" fmla="*/ 2369344 h 3443730"/>
                  <a:gd name="connsiteX55" fmla="*/ 0 w 4510872"/>
                  <a:gd name="connsiteY55" fmla="*/ 59531 h 3443730"/>
                  <a:gd name="connsiteX56" fmla="*/ 59531 w 4510872"/>
                  <a:gd name="connsiteY56" fmla="*/ 0 h 34437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</a:cxnLst>
                <a:rect l="l" t="t" r="r" b="b"/>
                <a:pathLst>
                  <a:path w="4510872" h="3443730">
                    <a:moveTo>
                      <a:pt x="2428875" y="2511425"/>
                    </a:moveTo>
                    <a:cubicBezTo>
                      <a:pt x="2428875" y="2511425"/>
                      <a:pt x="2428875" y="2511425"/>
                      <a:pt x="2718485" y="2672626"/>
                    </a:cubicBezTo>
                    <a:cubicBezTo>
                      <a:pt x="2742371" y="2687552"/>
                      <a:pt x="2754313" y="2714418"/>
                      <a:pt x="2748342" y="2741285"/>
                    </a:cubicBezTo>
                    <a:cubicBezTo>
                      <a:pt x="2742371" y="2768152"/>
                      <a:pt x="2718485" y="2786063"/>
                      <a:pt x="2691614" y="2786063"/>
                    </a:cubicBezTo>
                    <a:cubicBezTo>
                      <a:pt x="2691614" y="2786063"/>
                      <a:pt x="2691614" y="2786063"/>
                      <a:pt x="2593087" y="2786063"/>
                    </a:cubicBezTo>
                    <a:cubicBezTo>
                      <a:pt x="2518445" y="2702478"/>
                      <a:pt x="2464703" y="2609937"/>
                      <a:pt x="2428875" y="2511425"/>
                    </a:cubicBezTo>
                    <a:close/>
                    <a:moveTo>
                      <a:pt x="4144539" y="1955800"/>
                    </a:moveTo>
                    <a:cubicBezTo>
                      <a:pt x="4186238" y="2110410"/>
                      <a:pt x="4186238" y="2270967"/>
                      <a:pt x="4144539" y="2425578"/>
                    </a:cubicBezTo>
                    <a:cubicBezTo>
                      <a:pt x="4144539" y="2425578"/>
                      <a:pt x="4144539" y="2425578"/>
                      <a:pt x="2425928" y="2425578"/>
                    </a:cubicBezTo>
                    <a:cubicBezTo>
                      <a:pt x="2425928" y="2425578"/>
                      <a:pt x="2425928" y="2425578"/>
                      <a:pt x="2425928" y="2493963"/>
                    </a:cubicBezTo>
                    <a:cubicBezTo>
                      <a:pt x="2405078" y="2434498"/>
                      <a:pt x="2390186" y="2372059"/>
                      <a:pt x="2381250" y="2306647"/>
                    </a:cubicBezTo>
                    <a:cubicBezTo>
                      <a:pt x="2381250" y="2306647"/>
                      <a:pt x="2381250" y="2306647"/>
                      <a:pt x="4144539" y="2306647"/>
                    </a:cubicBezTo>
                    <a:cubicBezTo>
                      <a:pt x="4144539" y="2306647"/>
                      <a:pt x="4144539" y="2306647"/>
                      <a:pt x="4144539" y="1955800"/>
                    </a:cubicBezTo>
                    <a:close/>
                    <a:moveTo>
                      <a:pt x="3295553" y="1169783"/>
                    </a:moveTo>
                    <a:cubicBezTo>
                      <a:pt x="3034337" y="1164946"/>
                      <a:pt x="2771632" y="1258724"/>
                      <a:pt x="2569208" y="1452235"/>
                    </a:cubicBezTo>
                    <a:cubicBezTo>
                      <a:pt x="2161383" y="1845210"/>
                      <a:pt x="2149475" y="2488262"/>
                      <a:pt x="2539439" y="2893146"/>
                    </a:cubicBezTo>
                    <a:cubicBezTo>
                      <a:pt x="2905589" y="3274213"/>
                      <a:pt x="3492024" y="3309938"/>
                      <a:pt x="3899849" y="2997344"/>
                    </a:cubicBezTo>
                    <a:cubicBezTo>
                      <a:pt x="3929617" y="2973527"/>
                      <a:pt x="3959385" y="2946733"/>
                      <a:pt x="3986177" y="2922917"/>
                    </a:cubicBezTo>
                    <a:cubicBezTo>
                      <a:pt x="4015945" y="2893146"/>
                      <a:pt x="4042737" y="2860398"/>
                      <a:pt x="4069528" y="2827650"/>
                    </a:cubicBezTo>
                    <a:cubicBezTo>
                      <a:pt x="4391025" y="2434674"/>
                      <a:pt x="4376141" y="1854142"/>
                      <a:pt x="4012968" y="1479028"/>
                    </a:cubicBezTo>
                    <a:cubicBezTo>
                      <a:pt x="3816498" y="1278075"/>
                      <a:pt x="3556770" y="1174621"/>
                      <a:pt x="3295553" y="1169783"/>
                    </a:cubicBezTo>
                    <a:close/>
                    <a:moveTo>
                      <a:pt x="3299874" y="1025826"/>
                    </a:moveTo>
                    <a:cubicBezTo>
                      <a:pt x="3598344" y="1031409"/>
                      <a:pt x="3894581" y="1150499"/>
                      <a:pt x="4117875" y="1381236"/>
                    </a:cubicBezTo>
                    <a:cubicBezTo>
                      <a:pt x="4510873" y="1792097"/>
                      <a:pt x="4546600" y="2417321"/>
                      <a:pt x="4225056" y="2863910"/>
                    </a:cubicBezTo>
                    <a:cubicBezTo>
                      <a:pt x="4501941" y="3149726"/>
                      <a:pt x="4501941" y="3149726"/>
                      <a:pt x="4501941" y="3149726"/>
                    </a:cubicBezTo>
                    <a:cubicBezTo>
                      <a:pt x="4513850" y="3161635"/>
                      <a:pt x="4513850" y="3185453"/>
                      <a:pt x="4501941" y="3194385"/>
                    </a:cubicBezTo>
                    <a:cubicBezTo>
                      <a:pt x="4248875" y="3432566"/>
                      <a:pt x="4248875" y="3432566"/>
                      <a:pt x="4248875" y="3432566"/>
                    </a:cubicBezTo>
                    <a:cubicBezTo>
                      <a:pt x="4239943" y="3447452"/>
                      <a:pt x="4219102" y="3447452"/>
                      <a:pt x="4204216" y="3432566"/>
                    </a:cubicBezTo>
                    <a:cubicBezTo>
                      <a:pt x="3933285" y="3152703"/>
                      <a:pt x="3933285" y="3152703"/>
                      <a:pt x="3933285" y="3152703"/>
                    </a:cubicBezTo>
                    <a:cubicBezTo>
                      <a:pt x="3471811" y="3462338"/>
                      <a:pt x="2834678" y="3408748"/>
                      <a:pt x="2435726" y="2997886"/>
                    </a:cubicBezTo>
                    <a:cubicBezTo>
                      <a:pt x="1989137" y="2533434"/>
                      <a:pt x="2004023" y="1795075"/>
                      <a:pt x="2468475" y="1351464"/>
                    </a:cubicBezTo>
                    <a:cubicBezTo>
                      <a:pt x="2700701" y="1128169"/>
                      <a:pt x="3001404" y="1020244"/>
                      <a:pt x="3299874" y="1025826"/>
                    </a:cubicBezTo>
                    <a:close/>
                    <a:moveTo>
                      <a:pt x="59531" y="0"/>
                    </a:moveTo>
                    <a:cubicBezTo>
                      <a:pt x="59531" y="0"/>
                      <a:pt x="59531" y="0"/>
                      <a:pt x="4202907" y="0"/>
                    </a:cubicBezTo>
                    <a:cubicBezTo>
                      <a:pt x="4232673" y="0"/>
                      <a:pt x="4262438" y="26789"/>
                      <a:pt x="4262438" y="59531"/>
                    </a:cubicBezTo>
                    <a:cubicBezTo>
                      <a:pt x="4262438" y="59531"/>
                      <a:pt x="4262438" y="59531"/>
                      <a:pt x="4262438" y="1372196"/>
                    </a:cubicBezTo>
                    <a:cubicBezTo>
                      <a:pt x="4241602" y="1345407"/>
                      <a:pt x="4220766" y="1321594"/>
                      <a:pt x="4199930" y="1300758"/>
                    </a:cubicBezTo>
                    <a:cubicBezTo>
                      <a:pt x="4179094" y="1279922"/>
                      <a:pt x="4161235" y="1262063"/>
                      <a:pt x="4140399" y="1244204"/>
                    </a:cubicBezTo>
                    <a:cubicBezTo>
                      <a:pt x="4140399" y="1244204"/>
                      <a:pt x="4140399" y="1244204"/>
                      <a:pt x="4140399" y="122039"/>
                    </a:cubicBezTo>
                    <a:cubicBezTo>
                      <a:pt x="4140399" y="122039"/>
                      <a:pt x="4140399" y="122039"/>
                      <a:pt x="119062" y="122039"/>
                    </a:cubicBezTo>
                    <a:cubicBezTo>
                      <a:pt x="119062" y="122039"/>
                      <a:pt x="119062" y="122039"/>
                      <a:pt x="119062" y="2309813"/>
                    </a:cubicBezTo>
                    <a:cubicBezTo>
                      <a:pt x="119062" y="2309813"/>
                      <a:pt x="119062" y="2309813"/>
                      <a:pt x="1896070" y="2309813"/>
                    </a:cubicBezTo>
                    <a:cubicBezTo>
                      <a:pt x="1931789" y="2309813"/>
                      <a:pt x="1955602" y="2336602"/>
                      <a:pt x="1955602" y="2369344"/>
                    </a:cubicBezTo>
                    <a:cubicBezTo>
                      <a:pt x="1955602" y="2369344"/>
                      <a:pt x="1955602" y="2369344"/>
                      <a:pt x="1955602" y="2544962"/>
                    </a:cubicBezTo>
                    <a:cubicBezTo>
                      <a:pt x="1955602" y="2565797"/>
                      <a:pt x="1943695" y="2589610"/>
                      <a:pt x="1925836" y="2598540"/>
                    </a:cubicBezTo>
                    <a:cubicBezTo>
                      <a:pt x="1925836" y="2598540"/>
                      <a:pt x="1925836" y="2598540"/>
                      <a:pt x="1800820" y="2664024"/>
                    </a:cubicBezTo>
                    <a:cubicBezTo>
                      <a:pt x="1800820" y="2664024"/>
                      <a:pt x="1800820" y="2664024"/>
                      <a:pt x="2074664" y="2664024"/>
                    </a:cubicBezTo>
                    <a:cubicBezTo>
                      <a:pt x="2092523" y="2705696"/>
                      <a:pt x="2110383" y="2747368"/>
                      <a:pt x="2131219" y="2786063"/>
                    </a:cubicBezTo>
                    <a:cubicBezTo>
                      <a:pt x="2131219" y="2786063"/>
                      <a:pt x="2131219" y="2786063"/>
                      <a:pt x="1565672" y="2786063"/>
                    </a:cubicBezTo>
                    <a:cubicBezTo>
                      <a:pt x="1538883" y="2786063"/>
                      <a:pt x="1515070" y="2768204"/>
                      <a:pt x="1509117" y="2741415"/>
                    </a:cubicBezTo>
                    <a:cubicBezTo>
                      <a:pt x="1500187" y="2714626"/>
                      <a:pt x="1515070" y="2687837"/>
                      <a:pt x="1538883" y="2672954"/>
                    </a:cubicBezTo>
                    <a:cubicBezTo>
                      <a:pt x="1538883" y="2672954"/>
                      <a:pt x="1538883" y="2672954"/>
                      <a:pt x="1836539" y="2509243"/>
                    </a:cubicBezTo>
                    <a:cubicBezTo>
                      <a:pt x="1836539" y="2509243"/>
                      <a:pt x="1836539" y="2509243"/>
                      <a:pt x="1836539" y="2428876"/>
                    </a:cubicBezTo>
                    <a:cubicBezTo>
                      <a:pt x="1836539" y="2428876"/>
                      <a:pt x="1836539" y="2428876"/>
                      <a:pt x="59531" y="2428876"/>
                    </a:cubicBezTo>
                    <a:cubicBezTo>
                      <a:pt x="23812" y="2428876"/>
                      <a:pt x="0" y="2402086"/>
                      <a:pt x="0" y="2369344"/>
                    </a:cubicBezTo>
                    <a:cubicBezTo>
                      <a:pt x="0" y="2369344"/>
                      <a:pt x="0" y="2369344"/>
                      <a:pt x="0" y="59531"/>
                    </a:cubicBezTo>
                    <a:cubicBezTo>
                      <a:pt x="0" y="26789"/>
                      <a:pt x="23812" y="0"/>
                      <a:pt x="59531" y="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59" name="Freeform 26">
                <a:extLst>
                  <a:ext uri="{FF2B5EF4-FFF2-40B4-BE49-F238E27FC236}">
                    <a16:creationId xmlns:a16="http://schemas.microsoft.com/office/drawing/2014/main" id="{09C456FF-DB2C-415D-A6AB-FF59021B3DC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81447" y="2941701"/>
                <a:ext cx="1284836" cy="1034415"/>
              </a:xfrm>
              <a:custGeom>
                <a:avLst/>
                <a:gdLst>
                  <a:gd name="connsiteX0" fmla="*/ 4426759 w 5353486"/>
                  <a:gd name="connsiteY0" fmla="*/ 3108325 h 4310063"/>
                  <a:gd name="connsiteX1" fmla="*/ 4179889 w 5353486"/>
                  <a:gd name="connsiteY1" fmla="*/ 3349339 h 4310063"/>
                  <a:gd name="connsiteX2" fmla="*/ 4979985 w 5353486"/>
                  <a:gd name="connsiteY2" fmla="*/ 4188424 h 4310063"/>
                  <a:gd name="connsiteX3" fmla="*/ 5146548 w 5353486"/>
                  <a:gd name="connsiteY3" fmla="*/ 4111061 h 4310063"/>
                  <a:gd name="connsiteX4" fmla="*/ 5226855 w 5353486"/>
                  <a:gd name="connsiteY4" fmla="*/ 3997993 h 4310063"/>
                  <a:gd name="connsiteX5" fmla="*/ 5229829 w 5353486"/>
                  <a:gd name="connsiteY5" fmla="*/ 3947410 h 4310063"/>
                  <a:gd name="connsiteX6" fmla="*/ 4426759 w 5353486"/>
                  <a:gd name="connsiteY6" fmla="*/ 3108325 h 4310063"/>
                  <a:gd name="connsiteX7" fmla="*/ 4429524 w 5353486"/>
                  <a:gd name="connsiteY7" fmla="*/ 2965450 h 4310063"/>
                  <a:gd name="connsiteX8" fmla="*/ 4474172 w 5353486"/>
                  <a:gd name="connsiteY8" fmla="*/ 2983299 h 4310063"/>
                  <a:gd name="connsiteX9" fmla="*/ 5316539 w 5353486"/>
                  <a:gd name="connsiteY9" fmla="*/ 3863842 h 4310063"/>
                  <a:gd name="connsiteX10" fmla="*/ 5340352 w 5353486"/>
                  <a:gd name="connsiteY10" fmla="*/ 4033406 h 4310063"/>
                  <a:gd name="connsiteX11" fmla="*/ 5230219 w 5353486"/>
                  <a:gd name="connsiteY11" fmla="*/ 4197021 h 4310063"/>
                  <a:gd name="connsiteX12" fmla="*/ 4998047 w 5353486"/>
                  <a:gd name="connsiteY12" fmla="*/ 4310063 h 4310063"/>
                  <a:gd name="connsiteX13" fmla="*/ 4893867 w 5353486"/>
                  <a:gd name="connsiteY13" fmla="*/ 4268416 h 4310063"/>
                  <a:gd name="connsiteX14" fmla="*/ 4051500 w 5353486"/>
                  <a:gd name="connsiteY14" fmla="*/ 3387873 h 4310063"/>
                  <a:gd name="connsiteX15" fmla="*/ 4051500 w 5353486"/>
                  <a:gd name="connsiteY15" fmla="*/ 3304578 h 4310063"/>
                  <a:gd name="connsiteX16" fmla="*/ 4387852 w 5353486"/>
                  <a:gd name="connsiteY16" fmla="*/ 2980324 h 4310063"/>
                  <a:gd name="connsiteX17" fmla="*/ 4429524 w 5353486"/>
                  <a:gd name="connsiteY17" fmla="*/ 2965450 h 4310063"/>
                  <a:gd name="connsiteX18" fmla="*/ 2509837 w 5353486"/>
                  <a:gd name="connsiteY18" fmla="*/ 1616075 h 4310063"/>
                  <a:gd name="connsiteX19" fmla="*/ 2509837 w 5353486"/>
                  <a:gd name="connsiteY19" fmla="*/ 1735138 h 4310063"/>
                  <a:gd name="connsiteX20" fmla="*/ 3462337 w 5353486"/>
                  <a:gd name="connsiteY20" fmla="*/ 1735138 h 4310063"/>
                  <a:gd name="connsiteX21" fmla="*/ 3462337 w 5353486"/>
                  <a:gd name="connsiteY21" fmla="*/ 1616075 h 4310063"/>
                  <a:gd name="connsiteX22" fmla="*/ 2509837 w 5353486"/>
                  <a:gd name="connsiteY22" fmla="*/ 1616075 h 4310063"/>
                  <a:gd name="connsiteX23" fmla="*/ 288925 w 5353486"/>
                  <a:gd name="connsiteY23" fmla="*/ 1616075 h 4310063"/>
                  <a:gd name="connsiteX24" fmla="*/ 288925 w 5353486"/>
                  <a:gd name="connsiteY24" fmla="*/ 1735138 h 4310063"/>
                  <a:gd name="connsiteX25" fmla="*/ 1244600 w 5353486"/>
                  <a:gd name="connsiteY25" fmla="*/ 1735138 h 4310063"/>
                  <a:gd name="connsiteX26" fmla="*/ 1244600 w 5353486"/>
                  <a:gd name="connsiteY26" fmla="*/ 1616075 h 4310063"/>
                  <a:gd name="connsiteX27" fmla="*/ 288925 w 5353486"/>
                  <a:gd name="connsiteY27" fmla="*/ 1616075 h 4310063"/>
                  <a:gd name="connsiteX28" fmla="*/ 2509837 w 5353486"/>
                  <a:gd name="connsiteY28" fmla="*/ 1301750 h 4310063"/>
                  <a:gd name="connsiteX29" fmla="*/ 2509837 w 5353486"/>
                  <a:gd name="connsiteY29" fmla="*/ 1420813 h 4310063"/>
                  <a:gd name="connsiteX30" fmla="*/ 3462337 w 5353486"/>
                  <a:gd name="connsiteY30" fmla="*/ 1420813 h 4310063"/>
                  <a:gd name="connsiteX31" fmla="*/ 3462337 w 5353486"/>
                  <a:gd name="connsiteY31" fmla="*/ 1301750 h 4310063"/>
                  <a:gd name="connsiteX32" fmla="*/ 2509837 w 5353486"/>
                  <a:gd name="connsiteY32" fmla="*/ 1301750 h 4310063"/>
                  <a:gd name="connsiteX33" fmla="*/ 288925 w 5353486"/>
                  <a:gd name="connsiteY33" fmla="*/ 1301750 h 4310063"/>
                  <a:gd name="connsiteX34" fmla="*/ 288925 w 5353486"/>
                  <a:gd name="connsiteY34" fmla="*/ 1420813 h 4310063"/>
                  <a:gd name="connsiteX35" fmla="*/ 1244600 w 5353486"/>
                  <a:gd name="connsiteY35" fmla="*/ 1420813 h 4310063"/>
                  <a:gd name="connsiteX36" fmla="*/ 1244600 w 5353486"/>
                  <a:gd name="connsiteY36" fmla="*/ 1301750 h 4310063"/>
                  <a:gd name="connsiteX37" fmla="*/ 288925 w 5353486"/>
                  <a:gd name="connsiteY37" fmla="*/ 1301750 h 4310063"/>
                  <a:gd name="connsiteX38" fmla="*/ 2703501 w 5353486"/>
                  <a:gd name="connsiteY38" fmla="*/ 1101725 h 4310063"/>
                  <a:gd name="connsiteX39" fmla="*/ 3360846 w 5353486"/>
                  <a:gd name="connsiteY39" fmla="*/ 1101725 h 4310063"/>
                  <a:gd name="connsiteX40" fmla="*/ 3679108 w 5353486"/>
                  <a:gd name="connsiteY40" fmla="*/ 1313215 h 4310063"/>
                  <a:gd name="connsiteX41" fmla="*/ 3786187 w 5353486"/>
                  <a:gd name="connsiteY41" fmla="*/ 1447258 h 4310063"/>
                  <a:gd name="connsiteX42" fmla="*/ 3786187 w 5353486"/>
                  <a:gd name="connsiteY42" fmla="*/ 1894067 h 4310063"/>
                  <a:gd name="connsiteX43" fmla="*/ 3759417 w 5353486"/>
                  <a:gd name="connsiteY43" fmla="*/ 1920875 h 4310063"/>
                  <a:gd name="connsiteX44" fmla="*/ 2138362 w 5353486"/>
                  <a:gd name="connsiteY44" fmla="*/ 1920875 h 4310063"/>
                  <a:gd name="connsiteX45" fmla="*/ 2162158 w 5353486"/>
                  <a:gd name="connsiteY45" fmla="*/ 1736194 h 4310063"/>
                  <a:gd name="connsiteX46" fmla="*/ 2370366 w 5353486"/>
                  <a:gd name="connsiteY46" fmla="*/ 1736194 h 4310063"/>
                  <a:gd name="connsiteX47" fmla="*/ 2370366 w 5353486"/>
                  <a:gd name="connsiteY47" fmla="*/ 1617045 h 4310063"/>
                  <a:gd name="connsiteX48" fmla="*/ 2197851 w 5353486"/>
                  <a:gd name="connsiteY48" fmla="*/ 1617045 h 4310063"/>
                  <a:gd name="connsiteX49" fmla="*/ 2298981 w 5353486"/>
                  <a:gd name="connsiteY49" fmla="*/ 1420449 h 4310063"/>
                  <a:gd name="connsiteX50" fmla="*/ 2370366 w 5353486"/>
                  <a:gd name="connsiteY50" fmla="*/ 1420449 h 4310063"/>
                  <a:gd name="connsiteX51" fmla="*/ 2370366 w 5353486"/>
                  <a:gd name="connsiteY51" fmla="*/ 1331087 h 4310063"/>
                  <a:gd name="connsiteX52" fmla="*/ 2414983 w 5353486"/>
                  <a:gd name="connsiteY52" fmla="*/ 1289385 h 4310063"/>
                  <a:gd name="connsiteX53" fmla="*/ 2703501 w 5353486"/>
                  <a:gd name="connsiteY53" fmla="*/ 1101725 h 4310063"/>
                  <a:gd name="connsiteX54" fmla="*/ 288925 w 5353486"/>
                  <a:gd name="connsiteY54" fmla="*/ 979487 h 4310063"/>
                  <a:gd name="connsiteX55" fmla="*/ 288925 w 5353486"/>
                  <a:gd name="connsiteY55" fmla="*/ 1098550 h 4310063"/>
                  <a:gd name="connsiteX56" fmla="*/ 1244600 w 5353486"/>
                  <a:gd name="connsiteY56" fmla="*/ 1098550 h 4310063"/>
                  <a:gd name="connsiteX57" fmla="*/ 1244600 w 5353486"/>
                  <a:gd name="connsiteY57" fmla="*/ 979487 h 4310063"/>
                  <a:gd name="connsiteX58" fmla="*/ 288925 w 5353486"/>
                  <a:gd name="connsiteY58" fmla="*/ 979487 h 4310063"/>
                  <a:gd name="connsiteX59" fmla="*/ 1417637 w 5353486"/>
                  <a:gd name="connsiteY59" fmla="*/ 663575 h 4310063"/>
                  <a:gd name="connsiteX60" fmla="*/ 1417637 w 5353486"/>
                  <a:gd name="connsiteY60" fmla="*/ 782638 h 4310063"/>
                  <a:gd name="connsiteX61" fmla="*/ 2370137 w 5353486"/>
                  <a:gd name="connsiteY61" fmla="*/ 782638 h 4310063"/>
                  <a:gd name="connsiteX62" fmla="*/ 2370137 w 5353486"/>
                  <a:gd name="connsiteY62" fmla="*/ 663575 h 4310063"/>
                  <a:gd name="connsiteX63" fmla="*/ 1417637 w 5353486"/>
                  <a:gd name="connsiteY63" fmla="*/ 663575 h 4310063"/>
                  <a:gd name="connsiteX64" fmla="*/ 288925 w 5353486"/>
                  <a:gd name="connsiteY64" fmla="*/ 663575 h 4310063"/>
                  <a:gd name="connsiteX65" fmla="*/ 288925 w 5353486"/>
                  <a:gd name="connsiteY65" fmla="*/ 782638 h 4310063"/>
                  <a:gd name="connsiteX66" fmla="*/ 1244600 w 5353486"/>
                  <a:gd name="connsiteY66" fmla="*/ 782638 h 4310063"/>
                  <a:gd name="connsiteX67" fmla="*/ 1244600 w 5353486"/>
                  <a:gd name="connsiteY67" fmla="*/ 663575 h 4310063"/>
                  <a:gd name="connsiteX68" fmla="*/ 288925 w 5353486"/>
                  <a:gd name="connsiteY68" fmla="*/ 663575 h 4310063"/>
                  <a:gd name="connsiteX69" fmla="*/ 2572947 w 5353486"/>
                  <a:gd name="connsiteY69" fmla="*/ 182562 h 4310063"/>
                  <a:gd name="connsiteX70" fmla="*/ 2543175 w 5353486"/>
                  <a:gd name="connsiteY70" fmla="*/ 209288 h 4310063"/>
                  <a:gd name="connsiteX71" fmla="*/ 2543175 w 5353486"/>
                  <a:gd name="connsiteY71" fmla="*/ 405279 h 4310063"/>
                  <a:gd name="connsiteX72" fmla="*/ 2572947 w 5353486"/>
                  <a:gd name="connsiteY72" fmla="*/ 434975 h 4310063"/>
                  <a:gd name="connsiteX73" fmla="*/ 3472056 w 5353486"/>
                  <a:gd name="connsiteY73" fmla="*/ 434975 h 4310063"/>
                  <a:gd name="connsiteX74" fmla="*/ 3498850 w 5353486"/>
                  <a:gd name="connsiteY74" fmla="*/ 405279 h 4310063"/>
                  <a:gd name="connsiteX75" fmla="*/ 3498850 w 5353486"/>
                  <a:gd name="connsiteY75" fmla="*/ 209288 h 4310063"/>
                  <a:gd name="connsiteX76" fmla="*/ 3472056 w 5353486"/>
                  <a:gd name="connsiteY76" fmla="*/ 182562 h 4310063"/>
                  <a:gd name="connsiteX77" fmla="*/ 2572947 w 5353486"/>
                  <a:gd name="connsiteY77" fmla="*/ 182562 h 4310063"/>
                  <a:gd name="connsiteX78" fmla="*/ 1444426 w 5353486"/>
                  <a:gd name="connsiteY78" fmla="*/ 182562 h 4310063"/>
                  <a:gd name="connsiteX79" fmla="*/ 1417637 w 5353486"/>
                  <a:gd name="connsiteY79" fmla="*/ 209288 h 4310063"/>
                  <a:gd name="connsiteX80" fmla="*/ 1417637 w 5353486"/>
                  <a:gd name="connsiteY80" fmla="*/ 405279 h 4310063"/>
                  <a:gd name="connsiteX81" fmla="*/ 1444426 w 5353486"/>
                  <a:gd name="connsiteY81" fmla="*/ 434975 h 4310063"/>
                  <a:gd name="connsiteX82" fmla="*/ 2343348 w 5353486"/>
                  <a:gd name="connsiteY82" fmla="*/ 434975 h 4310063"/>
                  <a:gd name="connsiteX83" fmla="*/ 2370137 w 5353486"/>
                  <a:gd name="connsiteY83" fmla="*/ 405279 h 4310063"/>
                  <a:gd name="connsiteX84" fmla="*/ 2370137 w 5353486"/>
                  <a:gd name="connsiteY84" fmla="*/ 209288 h 4310063"/>
                  <a:gd name="connsiteX85" fmla="*/ 2343348 w 5353486"/>
                  <a:gd name="connsiteY85" fmla="*/ 182562 h 4310063"/>
                  <a:gd name="connsiteX86" fmla="*/ 1444426 w 5353486"/>
                  <a:gd name="connsiteY86" fmla="*/ 182562 h 4310063"/>
                  <a:gd name="connsiteX87" fmla="*/ 315720 w 5353486"/>
                  <a:gd name="connsiteY87" fmla="*/ 182562 h 4310063"/>
                  <a:gd name="connsiteX88" fmla="*/ 288925 w 5353486"/>
                  <a:gd name="connsiteY88" fmla="*/ 209288 h 4310063"/>
                  <a:gd name="connsiteX89" fmla="*/ 288925 w 5353486"/>
                  <a:gd name="connsiteY89" fmla="*/ 405279 h 4310063"/>
                  <a:gd name="connsiteX90" fmla="*/ 315720 w 5353486"/>
                  <a:gd name="connsiteY90" fmla="*/ 434975 h 4310063"/>
                  <a:gd name="connsiteX91" fmla="*/ 1217806 w 5353486"/>
                  <a:gd name="connsiteY91" fmla="*/ 434975 h 4310063"/>
                  <a:gd name="connsiteX92" fmla="*/ 1244600 w 5353486"/>
                  <a:gd name="connsiteY92" fmla="*/ 405279 h 4310063"/>
                  <a:gd name="connsiteX93" fmla="*/ 1244600 w 5353486"/>
                  <a:gd name="connsiteY93" fmla="*/ 209288 h 4310063"/>
                  <a:gd name="connsiteX94" fmla="*/ 1217806 w 5353486"/>
                  <a:gd name="connsiteY94" fmla="*/ 182562 h 4310063"/>
                  <a:gd name="connsiteX95" fmla="*/ 315720 w 5353486"/>
                  <a:gd name="connsiteY95" fmla="*/ 182562 h 4310063"/>
                  <a:gd name="connsiteX96" fmla="*/ 26789 w 5353486"/>
                  <a:gd name="connsiteY96" fmla="*/ 0 h 4310063"/>
                  <a:gd name="connsiteX97" fmla="*/ 3759399 w 5353486"/>
                  <a:gd name="connsiteY97" fmla="*/ 0 h 4310063"/>
                  <a:gd name="connsiteX98" fmla="*/ 3786188 w 5353486"/>
                  <a:gd name="connsiteY98" fmla="*/ 26803 h 4310063"/>
                  <a:gd name="connsiteX99" fmla="*/ 3786188 w 5353486"/>
                  <a:gd name="connsiteY99" fmla="*/ 884496 h 4310063"/>
                  <a:gd name="connsiteX100" fmla="*/ 3461743 w 5353486"/>
                  <a:gd name="connsiteY100" fmla="*/ 717722 h 4310063"/>
                  <a:gd name="connsiteX101" fmla="*/ 3461743 w 5353486"/>
                  <a:gd name="connsiteY101" fmla="*/ 664117 h 4310063"/>
                  <a:gd name="connsiteX102" fmla="*/ 3247430 w 5353486"/>
                  <a:gd name="connsiteY102" fmla="*/ 664117 h 4310063"/>
                  <a:gd name="connsiteX103" fmla="*/ 3033118 w 5353486"/>
                  <a:gd name="connsiteY103" fmla="*/ 646248 h 4310063"/>
                  <a:gd name="connsiteX104" fmla="*/ 2821782 w 5353486"/>
                  <a:gd name="connsiteY104" fmla="*/ 664117 h 4310063"/>
                  <a:gd name="connsiteX105" fmla="*/ 2506266 w 5353486"/>
                  <a:gd name="connsiteY105" fmla="*/ 664117 h 4310063"/>
                  <a:gd name="connsiteX106" fmla="*/ 2506266 w 5353486"/>
                  <a:gd name="connsiteY106" fmla="*/ 756438 h 4310063"/>
                  <a:gd name="connsiteX107" fmla="*/ 2163961 w 5353486"/>
                  <a:gd name="connsiteY107" fmla="*/ 979795 h 4310063"/>
                  <a:gd name="connsiteX108" fmla="*/ 1416844 w 5353486"/>
                  <a:gd name="connsiteY108" fmla="*/ 979795 h 4310063"/>
                  <a:gd name="connsiteX109" fmla="*/ 1416844 w 5353486"/>
                  <a:gd name="connsiteY109" fmla="*/ 1098919 h 4310063"/>
                  <a:gd name="connsiteX110" fmla="*/ 2047875 w 5353486"/>
                  <a:gd name="connsiteY110" fmla="*/ 1098919 h 4310063"/>
                  <a:gd name="connsiteX111" fmla="*/ 1910954 w 5353486"/>
                  <a:gd name="connsiteY111" fmla="*/ 1301430 h 4310063"/>
                  <a:gd name="connsiteX112" fmla="*/ 1416844 w 5353486"/>
                  <a:gd name="connsiteY112" fmla="*/ 1301430 h 4310063"/>
                  <a:gd name="connsiteX113" fmla="*/ 1416844 w 5353486"/>
                  <a:gd name="connsiteY113" fmla="*/ 1420554 h 4310063"/>
                  <a:gd name="connsiteX114" fmla="*/ 1848446 w 5353486"/>
                  <a:gd name="connsiteY114" fmla="*/ 1420554 h 4310063"/>
                  <a:gd name="connsiteX115" fmla="*/ 1782961 w 5353486"/>
                  <a:gd name="connsiteY115" fmla="*/ 1617109 h 4310063"/>
                  <a:gd name="connsiteX116" fmla="*/ 1416844 w 5353486"/>
                  <a:gd name="connsiteY116" fmla="*/ 1617109 h 4310063"/>
                  <a:gd name="connsiteX117" fmla="*/ 1416844 w 5353486"/>
                  <a:gd name="connsiteY117" fmla="*/ 1736233 h 4310063"/>
                  <a:gd name="connsiteX118" fmla="*/ 1759149 w 5353486"/>
                  <a:gd name="connsiteY118" fmla="*/ 1736233 h 4310063"/>
                  <a:gd name="connsiteX119" fmla="*/ 1744266 w 5353486"/>
                  <a:gd name="connsiteY119" fmla="*/ 1920875 h 4310063"/>
                  <a:gd name="connsiteX120" fmla="*/ 26789 w 5353486"/>
                  <a:gd name="connsiteY120" fmla="*/ 1920875 h 4310063"/>
                  <a:gd name="connsiteX121" fmla="*/ 0 w 5353486"/>
                  <a:gd name="connsiteY121" fmla="*/ 1894072 h 4310063"/>
                  <a:gd name="connsiteX122" fmla="*/ 0 w 5353486"/>
                  <a:gd name="connsiteY122" fmla="*/ 26803 h 4310063"/>
                  <a:gd name="connsiteX123" fmla="*/ 26789 w 5353486"/>
                  <a:gd name="connsiteY123" fmla="*/ 0 h 43100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</a:cxnLst>
                <a:rect l="l" t="t" r="r" b="b"/>
                <a:pathLst>
                  <a:path w="5353486" h="4310063">
                    <a:moveTo>
                      <a:pt x="4426759" y="3108325"/>
                    </a:moveTo>
                    <a:cubicBezTo>
                      <a:pt x="4179889" y="3349339"/>
                      <a:pt x="4179889" y="3349339"/>
                      <a:pt x="4179889" y="3349339"/>
                    </a:cubicBezTo>
                    <a:cubicBezTo>
                      <a:pt x="4979985" y="4188424"/>
                      <a:pt x="4979985" y="4188424"/>
                      <a:pt x="4979985" y="4188424"/>
                    </a:cubicBezTo>
                    <a:cubicBezTo>
                      <a:pt x="4988908" y="4197350"/>
                      <a:pt x="5066241" y="4188424"/>
                      <a:pt x="5146548" y="4111061"/>
                    </a:cubicBezTo>
                    <a:cubicBezTo>
                      <a:pt x="5185214" y="4075356"/>
                      <a:pt x="5211983" y="4033699"/>
                      <a:pt x="5226855" y="3997993"/>
                    </a:cubicBezTo>
                    <a:cubicBezTo>
                      <a:pt x="5238752" y="3968238"/>
                      <a:pt x="5232804" y="3950386"/>
                      <a:pt x="5229829" y="3947410"/>
                    </a:cubicBezTo>
                    <a:cubicBezTo>
                      <a:pt x="4426759" y="3108325"/>
                      <a:pt x="4426759" y="3108325"/>
                      <a:pt x="4426759" y="3108325"/>
                    </a:cubicBezTo>
                    <a:close/>
                    <a:moveTo>
                      <a:pt x="4429524" y="2965450"/>
                    </a:moveTo>
                    <a:cubicBezTo>
                      <a:pt x="4447383" y="2965450"/>
                      <a:pt x="4462266" y="2971400"/>
                      <a:pt x="4474172" y="2983299"/>
                    </a:cubicBezTo>
                    <a:cubicBezTo>
                      <a:pt x="5316539" y="3863842"/>
                      <a:pt x="5316539" y="3863842"/>
                      <a:pt x="5316539" y="3863842"/>
                    </a:cubicBezTo>
                    <a:cubicBezTo>
                      <a:pt x="5355234" y="3905489"/>
                      <a:pt x="5364164" y="3967960"/>
                      <a:pt x="5340352" y="4033406"/>
                    </a:cubicBezTo>
                    <a:cubicBezTo>
                      <a:pt x="5322492" y="4089927"/>
                      <a:pt x="5280820" y="4149424"/>
                      <a:pt x="5230219" y="4197021"/>
                    </a:cubicBezTo>
                    <a:cubicBezTo>
                      <a:pt x="5152828" y="4271391"/>
                      <a:pt x="5069485" y="4310063"/>
                      <a:pt x="4998047" y="4310063"/>
                    </a:cubicBezTo>
                    <a:cubicBezTo>
                      <a:pt x="4956375" y="4310063"/>
                      <a:pt x="4920656" y="4295189"/>
                      <a:pt x="4893867" y="4268416"/>
                    </a:cubicBezTo>
                    <a:cubicBezTo>
                      <a:pt x="4051500" y="3387873"/>
                      <a:pt x="4051500" y="3387873"/>
                      <a:pt x="4051500" y="3387873"/>
                    </a:cubicBezTo>
                    <a:cubicBezTo>
                      <a:pt x="4030664" y="3364074"/>
                      <a:pt x="4030664" y="3328377"/>
                      <a:pt x="4051500" y="3304578"/>
                    </a:cubicBezTo>
                    <a:cubicBezTo>
                      <a:pt x="4387852" y="2980324"/>
                      <a:pt x="4387852" y="2980324"/>
                      <a:pt x="4387852" y="2980324"/>
                    </a:cubicBezTo>
                    <a:cubicBezTo>
                      <a:pt x="4399758" y="2968425"/>
                      <a:pt x="4414641" y="2965450"/>
                      <a:pt x="4429524" y="2965450"/>
                    </a:cubicBezTo>
                    <a:close/>
                    <a:moveTo>
                      <a:pt x="2509837" y="1616075"/>
                    </a:moveTo>
                    <a:cubicBezTo>
                      <a:pt x="2509837" y="1616075"/>
                      <a:pt x="2509837" y="1616075"/>
                      <a:pt x="2509837" y="1735138"/>
                    </a:cubicBezTo>
                    <a:cubicBezTo>
                      <a:pt x="2509837" y="1735138"/>
                      <a:pt x="2509837" y="1735138"/>
                      <a:pt x="3462337" y="1735138"/>
                    </a:cubicBezTo>
                    <a:cubicBezTo>
                      <a:pt x="3462337" y="1735138"/>
                      <a:pt x="3462337" y="1735138"/>
                      <a:pt x="3462337" y="1616075"/>
                    </a:cubicBezTo>
                    <a:cubicBezTo>
                      <a:pt x="3462337" y="1616075"/>
                      <a:pt x="3462337" y="1616075"/>
                      <a:pt x="2509837" y="1616075"/>
                    </a:cubicBezTo>
                    <a:close/>
                    <a:moveTo>
                      <a:pt x="288925" y="1616075"/>
                    </a:moveTo>
                    <a:cubicBezTo>
                      <a:pt x="288925" y="1616075"/>
                      <a:pt x="288925" y="1616075"/>
                      <a:pt x="288925" y="1735138"/>
                    </a:cubicBezTo>
                    <a:cubicBezTo>
                      <a:pt x="288925" y="1735138"/>
                      <a:pt x="288925" y="1735138"/>
                      <a:pt x="1244600" y="1735138"/>
                    </a:cubicBezTo>
                    <a:cubicBezTo>
                      <a:pt x="1244600" y="1735138"/>
                      <a:pt x="1244600" y="1735138"/>
                      <a:pt x="1244600" y="1616075"/>
                    </a:cubicBezTo>
                    <a:cubicBezTo>
                      <a:pt x="1244600" y="1616075"/>
                      <a:pt x="1244600" y="1616075"/>
                      <a:pt x="288925" y="1616075"/>
                    </a:cubicBezTo>
                    <a:close/>
                    <a:moveTo>
                      <a:pt x="2509837" y="1301750"/>
                    </a:moveTo>
                    <a:cubicBezTo>
                      <a:pt x="2509837" y="1301750"/>
                      <a:pt x="2509837" y="1301750"/>
                      <a:pt x="2509837" y="1420813"/>
                    </a:cubicBezTo>
                    <a:cubicBezTo>
                      <a:pt x="2509837" y="1420813"/>
                      <a:pt x="2509837" y="1420813"/>
                      <a:pt x="3462337" y="1420813"/>
                    </a:cubicBezTo>
                    <a:cubicBezTo>
                      <a:pt x="3462337" y="1420813"/>
                      <a:pt x="3462337" y="1420813"/>
                      <a:pt x="3462337" y="1301750"/>
                    </a:cubicBezTo>
                    <a:cubicBezTo>
                      <a:pt x="3462337" y="1301750"/>
                      <a:pt x="3462337" y="1301750"/>
                      <a:pt x="2509837" y="1301750"/>
                    </a:cubicBezTo>
                    <a:close/>
                    <a:moveTo>
                      <a:pt x="288925" y="1301750"/>
                    </a:moveTo>
                    <a:cubicBezTo>
                      <a:pt x="288925" y="1301750"/>
                      <a:pt x="288925" y="1301750"/>
                      <a:pt x="288925" y="1420813"/>
                    </a:cubicBezTo>
                    <a:cubicBezTo>
                      <a:pt x="288925" y="1420813"/>
                      <a:pt x="288925" y="1420813"/>
                      <a:pt x="1244600" y="1420813"/>
                    </a:cubicBezTo>
                    <a:cubicBezTo>
                      <a:pt x="1244600" y="1420813"/>
                      <a:pt x="1244600" y="1420813"/>
                      <a:pt x="1244600" y="1301750"/>
                    </a:cubicBezTo>
                    <a:cubicBezTo>
                      <a:pt x="1244600" y="1301750"/>
                      <a:pt x="1244600" y="1301750"/>
                      <a:pt x="288925" y="1301750"/>
                    </a:cubicBezTo>
                    <a:close/>
                    <a:moveTo>
                      <a:pt x="2703501" y="1101725"/>
                    </a:moveTo>
                    <a:cubicBezTo>
                      <a:pt x="2703501" y="1101725"/>
                      <a:pt x="2703501" y="1101725"/>
                      <a:pt x="3360846" y="1101725"/>
                    </a:cubicBezTo>
                    <a:cubicBezTo>
                      <a:pt x="3479823" y="1149385"/>
                      <a:pt x="3586901" y="1217895"/>
                      <a:pt x="3679108" y="1313215"/>
                    </a:cubicBezTo>
                    <a:cubicBezTo>
                      <a:pt x="3720750" y="1354917"/>
                      <a:pt x="3756443" y="1402577"/>
                      <a:pt x="3786187" y="1447258"/>
                    </a:cubicBezTo>
                    <a:cubicBezTo>
                      <a:pt x="3786187" y="1447258"/>
                      <a:pt x="3786187" y="1447258"/>
                      <a:pt x="3786187" y="1894067"/>
                    </a:cubicBezTo>
                    <a:cubicBezTo>
                      <a:pt x="3786187" y="1905982"/>
                      <a:pt x="3774290" y="1920875"/>
                      <a:pt x="3759417" y="1920875"/>
                    </a:cubicBezTo>
                    <a:cubicBezTo>
                      <a:pt x="3759417" y="1920875"/>
                      <a:pt x="3759417" y="1920875"/>
                      <a:pt x="2138362" y="1920875"/>
                    </a:cubicBezTo>
                    <a:cubicBezTo>
                      <a:pt x="2138362" y="1858322"/>
                      <a:pt x="2147285" y="1795769"/>
                      <a:pt x="2162158" y="1736194"/>
                    </a:cubicBezTo>
                    <a:cubicBezTo>
                      <a:pt x="2162158" y="1736194"/>
                      <a:pt x="2162158" y="1736194"/>
                      <a:pt x="2370366" y="1736194"/>
                    </a:cubicBezTo>
                    <a:cubicBezTo>
                      <a:pt x="2370366" y="1736194"/>
                      <a:pt x="2370366" y="1736194"/>
                      <a:pt x="2370366" y="1617045"/>
                    </a:cubicBezTo>
                    <a:cubicBezTo>
                      <a:pt x="2370366" y="1617045"/>
                      <a:pt x="2370366" y="1617045"/>
                      <a:pt x="2197851" y="1617045"/>
                    </a:cubicBezTo>
                    <a:cubicBezTo>
                      <a:pt x="2221646" y="1548534"/>
                      <a:pt x="2257339" y="1483002"/>
                      <a:pt x="2298981" y="1420449"/>
                    </a:cubicBezTo>
                    <a:cubicBezTo>
                      <a:pt x="2298981" y="1420449"/>
                      <a:pt x="2298981" y="1420449"/>
                      <a:pt x="2370366" y="1420449"/>
                    </a:cubicBezTo>
                    <a:cubicBezTo>
                      <a:pt x="2370366" y="1420449"/>
                      <a:pt x="2370366" y="1420449"/>
                      <a:pt x="2370366" y="1331087"/>
                    </a:cubicBezTo>
                    <a:cubicBezTo>
                      <a:pt x="2385239" y="1319172"/>
                      <a:pt x="2397136" y="1301300"/>
                      <a:pt x="2414983" y="1289385"/>
                    </a:cubicBezTo>
                    <a:cubicBezTo>
                      <a:pt x="2498266" y="1208959"/>
                      <a:pt x="2599396" y="1146406"/>
                      <a:pt x="2703501" y="1101725"/>
                    </a:cubicBezTo>
                    <a:close/>
                    <a:moveTo>
                      <a:pt x="288925" y="979487"/>
                    </a:moveTo>
                    <a:cubicBezTo>
                      <a:pt x="288925" y="979487"/>
                      <a:pt x="288925" y="979487"/>
                      <a:pt x="288925" y="1098550"/>
                    </a:cubicBezTo>
                    <a:cubicBezTo>
                      <a:pt x="288925" y="1098550"/>
                      <a:pt x="288925" y="1098550"/>
                      <a:pt x="1244600" y="1098550"/>
                    </a:cubicBezTo>
                    <a:cubicBezTo>
                      <a:pt x="1244600" y="1098550"/>
                      <a:pt x="1244600" y="1098550"/>
                      <a:pt x="1244600" y="979487"/>
                    </a:cubicBezTo>
                    <a:cubicBezTo>
                      <a:pt x="1244600" y="979487"/>
                      <a:pt x="1244600" y="979487"/>
                      <a:pt x="288925" y="979487"/>
                    </a:cubicBezTo>
                    <a:close/>
                    <a:moveTo>
                      <a:pt x="1417637" y="663575"/>
                    </a:moveTo>
                    <a:cubicBezTo>
                      <a:pt x="1417637" y="663575"/>
                      <a:pt x="1417637" y="663575"/>
                      <a:pt x="1417637" y="782638"/>
                    </a:cubicBezTo>
                    <a:cubicBezTo>
                      <a:pt x="1417637" y="782638"/>
                      <a:pt x="1417637" y="782638"/>
                      <a:pt x="2370137" y="782638"/>
                    </a:cubicBezTo>
                    <a:cubicBezTo>
                      <a:pt x="2370137" y="782638"/>
                      <a:pt x="2370137" y="782638"/>
                      <a:pt x="2370137" y="663575"/>
                    </a:cubicBezTo>
                    <a:cubicBezTo>
                      <a:pt x="2370137" y="663575"/>
                      <a:pt x="2370137" y="663575"/>
                      <a:pt x="1417637" y="663575"/>
                    </a:cubicBezTo>
                    <a:close/>
                    <a:moveTo>
                      <a:pt x="288925" y="663575"/>
                    </a:moveTo>
                    <a:cubicBezTo>
                      <a:pt x="288925" y="663575"/>
                      <a:pt x="288925" y="663575"/>
                      <a:pt x="288925" y="782638"/>
                    </a:cubicBezTo>
                    <a:cubicBezTo>
                      <a:pt x="288925" y="782638"/>
                      <a:pt x="288925" y="782638"/>
                      <a:pt x="1244600" y="782638"/>
                    </a:cubicBezTo>
                    <a:cubicBezTo>
                      <a:pt x="1244600" y="782638"/>
                      <a:pt x="1244600" y="782638"/>
                      <a:pt x="1244600" y="663575"/>
                    </a:cubicBezTo>
                    <a:cubicBezTo>
                      <a:pt x="1244600" y="663575"/>
                      <a:pt x="1244600" y="663575"/>
                      <a:pt x="288925" y="663575"/>
                    </a:cubicBezTo>
                    <a:close/>
                    <a:moveTo>
                      <a:pt x="2572947" y="182562"/>
                    </a:moveTo>
                    <a:cubicBezTo>
                      <a:pt x="2555084" y="182562"/>
                      <a:pt x="2543175" y="194440"/>
                      <a:pt x="2543175" y="209288"/>
                    </a:cubicBezTo>
                    <a:cubicBezTo>
                      <a:pt x="2543175" y="209288"/>
                      <a:pt x="2543175" y="209288"/>
                      <a:pt x="2543175" y="405279"/>
                    </a:cubicBezTo>
                    <a:cubicBezTo>
                      <a:pt x="2543175" y="423097"/>
                      <a:pt x="2555084" y="434975"/>
                      <a:pt x="2572947" y="434975"/>
                    </a:cubicBezTo>
                    <a:cubicBezTo>
                      <a:pt x="2572947" y="434975"/>
                      <a:pt x="2572947" y="434975"/>
                      <a:pt x="3472056" y="434975"/>
                    </a:cubicBezTo>
                    <a:cubicBezTo>
                      <a:pt x="3483964" y="434975"/>
                      <a:pt x="3498850" y="423097"/>
                      <a:pt x="3498850" y="405279"/>
                    </a:cubicBezTo>
                    <a:cubicBezTo>
                      <a:pt x="3498850" y="405279"/>
                      <a:pt x="3498850" y="405279"/>
                      <a:pt x="3498850" y="209288"/>
                    </a:cubicBezTo>
                    <a:cubicBezTo>
                      <a:pt x="3498850" y="194440"/>
                      <a:pt x="3483964" y="182562"/>
                      <a:pt x="3472056" y="182562"/>
                    </a:cubicBezTo>
                    <a:cubicBezTo>
                      <a:pt x="3472056" y="182562"/>
                      <a:pt x="3472056" y="182562"/>
                      <a:pt x="2572947" y="182562"/>
                    </a:cubicBezTo>
                    <a:close/>
                    <a:moveTo>
                      <a:pt x="1444426" y="182562"/>
                    </a:moveTo>
                    <a:cubicBezTo>
                      <a:pt x="1429543" y="182562"/>
                      <a:pt x="1417637" y="194440"/>
                      <a:pt x="1417637" y="209288"/>
                    </a:cubicBezTo>
                    <a:cubicBezTo>
                      <a:pt x="1417637" y="209288"/>
                      <a:pt x="1417637" y="209288"/>
                      <a:pt x="1417637" y="405279"/>
                    </a:cubicBezTo>
                    <a:cubicBezTo>
                      <a:pt x="1417637" y="423097"/>
                      <a:pt x="1429543" y="434975"/>
                      <a:pt x="1444426" y="434975"/>
                    </a:cubicBezTo>
                    <a:cubicBezTo>
                      <a:pt x="1444426" y="434975"/>
                      <a:pt x="1444426" y="434975"/>
                      <a:pt x="2343348" y="434975"/>
                    </a:cubicBezTo>
                    <a:cubicBezTo>
                      <a:pt x="2358231" y="434975"/>
                      <a:pt x="2370137" y="423097"/>
                      <a:pt x="2370137" y="405279"/>
                    </a:cubicBezTo>
                    <a:cubicBezTo>
                      <a:pt x="2370137" y="405279"/>
                      <a:pt x="2370137" y="405279"/>
                      <a:pt x="2370137" y="209288"/>
                    </a:cubicBezTo>
                    <a:cubicBezTo>
                      <a:pt x="2370137" y="194440"/>
                      <a:pt x="2358231" y="182562"/>
                      <a:pt x="2343348" y="182562"/>
                    </a:cubicBezTo>
                    <a:cubicBezTo>
                      <a:pt x="2343348" y="182562"/>
                      <a:pt x="2343348" y="182562"/>
                      <a:pt x="1444426" y="182562"/>
                    </a:cubicBezTo>
                    <a:close/>
                    <a:moveTo>
                      <a:pt x="315720" y="182562"/>
                    </a:moveTo>
                    <a:cubicBezTo>
                      <a:pt x="303811" y="182562"/>
                      <a:pt x="288925" y="194440"/>
                      <a:pt x="288925" y="209288"/>
                    </a:cubicBezTo>
                    <a:cubicBezTo>
                      <a:pt x="288925" y="209288"/>
                      <a:pt x="288925" y="209288"/>
                      <a:pt x="288925" y="405279"/>
                    </a:cubicBezTo>
                    <a:cubicBezTo>
                      <a:pt x="288925" y="423097"/>
                      <a:pt x="303811" y="434975"/>
                      <a:pt x="315720" y="434975"/>
                    </a:cubicBezTo>
                    <a:cubicBezTo>
                      <a:pt x="315720" y="434975"/>
                      <a:pt x="315720" y="434975"/>
                      <a:pt x="1217806" y="434975"/>
                    </a:cubicBezTo>
                    <a:cubicBezTo>
                      <a:pt x="1229714" y="434975"/>
                      <a:pt x="1244600" y="423097"/>
                      <a:pt x="1244600" y="405279"/>
                    </a:cubicBezTo>
                    <a:cubicBezTo>
                      <a:pt x="1244600" y="405279"/>
                      <a:pt x="1244600" y="405279"/>
                      <a:pt x="1244600" y="209288"/>
                    </a:cubicBezTo>
                    <a:cubicBezTo>
                      <a:pt x="1244600" y="194440"/>
                      <a:pt x="1229714" y="182562"/>
                      <a:pt x="1217806" y="182562"/>
                    </a:cubicBezTo>
                    <a:cubicBezTo>
                      <a:pt x="1217806" y="182562"/>
                      <a:pt x="1217806" y="182562"/>
                      <a:pt x="315720" y="182562"/>
                    </a:cubicBezTo>
                    <a:close/>
                    <a:moveTo>
                      <a:pt x="26789" y="0"/>
                    </a:moveTo>
                    <a:cubicBezTo>
                      <a:pt x="26789" y="0"/>
                      <a:pt x="26789" y="0"/>
                      <a:pt x="3759399" y="0"/>
                    </a:cubicBezTo>
                    <a:cubicBezTo>
                      <a:pt x="3774282" y="0"/>
                      <a:pt x="3786188" y="11912"/>
                      <a:pt x="3786188" y="26803"/>
                    </a:cubicBezTo>
                    <a:cubicBezTo>
                      <a:pt x="3786188" y="26803"/>
                      <a:pt x="3786188" y="26803"/>
                      <a:pt x="3786188" y="884496"/>
                    </a:cubicBezTo>
                    <a:cubicBezTo>
                      <a:pt x="3687962" y="813022"/>
                      <a:pt x="3574852" y="759416"/>
                      <a:pt x="3461743" y="717722"/>
                    </a:cubicBezTo>
                    <a:cubicBezTo>
                      <a:pt x="3461743" y="717722"/>
                      <a:pt x="3461743" y="717722"/>
                      <a:pt x="3461743" y="664117"/>
                    </a:cubicBezTo>
                    <a:cubicBezTo>
                      <a:pt x="3461743" y="664117"/>
                      <a:pt x="3461743" y="664117"/>
                      <a:pt x="3247430" y="664117"/>
                    </a:cubicBezTo>
                    <a:cubicBezTo>
                      <a:pt x="3175993" y="649226"/>
                      <a:pt x="3104555" y="646248"/>
                      <a:pt x="3033118" y="646248"/>
                    </a:cubicBezTo>
                    <a:cubicBezTo>
                      <a:pt x="2961680" y="646248"/>
                      <a:pt x="2890243" y="649226"/>
                      <a:pt x="2821782" y="664117"/>
                    </a:cubicBezTo>
                    <a:cubicBezTo>
                      <a:pt x="2821782" y="664117"/>
                      <a:pt x="2821782" y="664117"/>
                      <a:pt x="2506266" y="664117"/>
                    </a:cubicBezTo>
                    <a:cubicBezTo>
                      <a:pt x="2506266" y="664117"/>
                      <a:pt x="2506266" y="664117"/>
                      <a:pt x="2506266" y="756438"/>
                    </a:cubicBezTo>
                    <a:cubicBezTo>
                      <a:pt x="2381250" y="810044"/>
                      <a:pt x="2265164" y="884496"/>
                      <a:pt x="2163961" y="979795"/>
                    </a:cubicBezTo>
                    <a:cubicBezTo>
                      <a:pt x="2163961" y="979795"/>
                      <a:pt x="2163961" y="979795"/>
                      <a:pt x="1416844" y="979795"/>
                    </a:cubicBezTo>
                    <a:cubicBezTo>
                      <a:pt x="1416844" y="979795"/>
                      <a:pt x="1416844" y="979795"/>
                      <a:pt x="1416844" y="1098919"/>
                    </a:cubicBezTo>
                    <a:cubicBezTo>
                      <a:pt x="1416844" y="1098919"/>
                      <a:pt x="1416844" y="1098919"/>
                      <a:pt x="2047875" y="1098919"/>
                    </a:cubicBezTo>
                    <a:cubicBezTo>
                      <a:pt x="1994297" y="1161459"/>
                      <a:pt x="1946672" y="1229956"/>
                      <a:pt x="1910954" y="1301430"/>
                    </a:cubicBezTo>
                    <a:cubicBezTo>
                      <a:pt x="1910954" y="1301430"/>
                      <a:pt x="1910954" y="1301430"/>
                      <a:pt x="1416844" y="1301430"/>
                    </a:cubicBezTo>
                    <a:cubicBezTo>
                      <a:pt x="1416844" y="1301430"/>
                      <a:pt x="1416844" y="1301430"/>
                      <a:pt x="1416844" y="1420554"/>
                    </a:cubicBezTo>
                    <a:cubicBezTo>
                      <a:pt x="1416844" y="1420554"/>
                      <a:pt x="1416844" y="1420554"/>
                      <a:pt x="1848446" y="1420554"/>
                    </a:cubicBezTo>
                    <a:cubicBezTo>
                      <a:pt x="1821657" y="1486072"/>
                      <a:pt x="1800821" y="1548613"/>
                      <a:pt x="1782961" y="1617109"/>
                    </a:cubicBezTo>
                    <a:cubicBezTo>
                      <a:pt x="1782961" y="1617109"/>
                      <a:pt x="1782961" y="1617109"/>
                      <a:pt x="1416844" y="1617109"/>
                    </a:cubicBezTo>
                    <a:cubicBezTo>
                      <a:pt x="1416844" y="1617109"/>
                      <a:pt x="1416844" y="1617109"/>
                      <a:pt x="1416844" y="1736233"/>
                    </a:cubicBezTo>
                    <a:cubicBezTo>
                      <a:pt x="1416844" y="1736233"/>
                      <a:pt x="1416844" y="1736233"/>
                      <a:pt x="1759149" y="1736233"/>
                    </a:cubicBezTo>
                    <a:cubicBezTo>
                      <a:pt x="1750219" y="1795795"/>
                      <a:pt x="1744266" y="1858335"/>
                      <a:pt x="1744266" y="1920875"/>
                    </a:cubicBezTo>
                    <a:cubicBezTo>
                      <a:pt x="1744266" y="1920875"/>
                      <a:pt x="1744266" y="1920875"/>
                      <a:pt x="26789" y="1920875"/>
                    </a:cubicBezTo>
                    <a:cubicBezTo>
                      <a:pt x="11906" y="1920875"/>
                      <a:pt x="0" y="1905985"/>
                      <a:pt x="0" y="1894072"/>
                    </a:cubicBezTo>
                    <a:cubicBezTo>
                      <a:pt x="0" y="1894072"/>
                      <a:pt x="0" y="1894072"/>
                      <a:pt x="0" y="26803"/>
                    </a:cubicBezTo>
                    <a:cubicBezTo>
                      <a:pt x="0" y="11912"/>
                      <a:pt x="11906" y="0"/>
                      <a:pt x="26789" y="0"/>
                    </a:cubicBez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/>
              </a:p>
            </p:txBody>
          </p:sp>
        </p:grpSp>
      </p:grpSp>
      <p:sp>
        <p:nvSpPr>
          <p:cNvPr id="2" name="Rectangle 1">
            <a:extLst>
              <a:ext uri="{FF2B5EF4-FFF2-40B4-BE49-F238E27FC236}">
                <a16:creationId xmlns:a16="http://schemas.microsoft.com/office/drawing/2014/main" id="{910CCD9E-258C-4175-AAB1-6F4E65B1696B}"/>
              </a:ext>
            </a:extLst>
          </p:cNvPr>
          <p:cNvSpPr/>
          <p:nvPr/>
        </p:nvSpPr>
        <p:spPr>
          <a:xfrm>
            <a:off x="8909824" y="2783339"/>
            <a:ext cx="234176" cy="236016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4000"/>
              </a:lnSpc>
            </a:pPr>
            <a:endParaRPr lang="en-US"/>
          </a:p>
        </p:txBody>
      </p:sp>
      <p:grpSp>
        <p:nvGrpSpPr>
          <p:cNvPr id="29" name="Group 28">
            <a:extLst>
              <a:ext uri="{FF2B5EF4-FFF2-40B4-BE49-F238E27FC236}">
                <a16:creationId xmlns:a16="http://schemas.microsoft.com/office/drawing/2014/main" id="{B9B1C822-C0CC-4A92-9D92-46770CD9E5C3}"/>
              </a:ext>
            </a:extLst>
          </p:cNvPr>
          <p:cNvGrpSpPr>
            <a:grpSpLocks noChangeAspect="1"/>
          </p:cNvGrpSpPr>
          <p:nvPr/>
        </p:nvGrpSpPr>
        <p:grpSpPr>
          <a:xfrm>
            <a:off x="727059" y="2410521"/>
            <a:ext cx="1644650" cy="1644650"/>
            <a:chOff x="5273675" y="2606675"/>
            <a:chExt cx="1644650" cy="1644650"/>
          </a:xfrm>
        </p:grpSpPr>
        <p:sp>
          <p:nvSpPr>
            <p:cNvPr id="30" name="AutoShape 3">
              <a:extLst>
                <a:ext uri="{FF2B5EF4-FFF2-40B4-BE49-F238E27FC236}">
                  <a16:creationId xmlns:a16="http://schemas.microsoft.com/office/drawing/2014/main" id="{C8D2C937-1AAD-405D-930C-8B22F70C7F20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5273675" y="2606675"/>
              <a:ext cx="1644650" cy="16446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" name="Freeform 23">
              <a:extLst>
                <a:ext uri="{FF2B5EF4-FFF2-40B4-BE49-F238E27FC236}">
                  <a16:creationId xmlns:a16="http://schemas.microsoft.com/office/drawing/2014/main" id="{1AF45CBA-4EC2-40D8-AB9D-80AF4128B22A}"/>
                </a:ext>
              </a:extLst>
            </p:cNvPr>
            <p:cNvSpPr>
              <a:spLocks/>
            </p:cNvSpPr>
            <p:nvPr/>
          </p:nvSpPr>
          <p:spPr bwMode="auto">
            <a:xfrm>
              <a:off x="5449646" y="2761199"/>
              <a:ext cx="1310377" cy="1318677"/>
            </a:xfrm>
            <a:custGeom>
              <a:avLst/>
              <a:gdLst>
                <a:gd name="connsiteX0" fmla="*/ 104555 w 1310377"/>
                <a:gd name="connsiteY0" fmla="*/ 1077376 h 1318677"/>
                <a:gd name="connsiteX1" fmla="*/ 31118 w 1310377"/>
                <a:gd name="connsiteY1" fmla="*/ 1207393 h 1318677"/>
                <a:gd name="connsiteX2" fmla="*/ 66054 w 1310377"/>
                <a:gd name="connsiteY2" fmla="*/ 1273830 h 1318677"/>
                <a:gd name="connsiteX3" fmla="*/ 128084 w 1310377"/>
                <a:gd name="connsiteY3" fmla="*/ 1285260 h 1318677"/>
                <a:gd name="connsiteX4" fmla="*/ 233605 w 1310377"/>
                <a:gd name="connsiteY4" fmla="*/ 1175246 h 1318677"/>
                <a:gd name="connsiteX5" fmla="*/ 104555 w 1310377"/>
                <a:gd name="connsiteY5" fmla="*/ 1077376 h 1318677"/>
                <a:gd name="connsiteX6" fmla="*/ 98011 w 1310377"/>
                <a:gd name="connsiteY6" fmla="*/ 1043721 h 1318677"/>
                <a:gd name="connsiteX7" fmla="*/ 115166 w 1310377"/>
                <a:gd name="connsiteY7" fmla="*/ 1044435 h 1318677"/>
                <a:gd name="connsiteX8" fmla="*/ 263843 w 1310377"/>
                <a:gd name="connsiteY8" fmla="*/ 1157274 h 1318677"/>
                <a:gd name="connsiteX9" fmla="*/ 268846 w 1310377"/>
                <a:gd name="connsiteY9" fmla="*/ 1175843 h 1318677"/>
                <a:gd name="connsiteX10" fmla="*/ 137325 w 1310377"/>
                <a:gd name="connsiteY10" fmla="*/ 1314392 h 1318677"/>
                <a:gd name="connsiteX11" fmla="*/ 107303 w 1310377"/>
                <a:gd name="connsiteY11" fmla="*/ 1318677 h 1318677"/>
                <a:gd name="connsiteX12" fmla="*/ 47261 w 1310377"/>
                <a:gd name="connsiteY12" fmla="*/ 1297252 h 1318677"/>
                <a:gd name="connsiteX13" fmla="*/ 85 w 1310377"/>
                <a:gd name="connsiteY13" fmla="*/ 1205124 h 1318677"/>
                <a:gd name="connsiteX14" fmla="*/ 98011 w 1310377"/>
                <a:gd name="connsiteY14" fmla="*/ 1043721 h 1318677"/>
                <a:gd name="connsiteX15" fmla="*/ 760337 w 1310377"/>
                <a:gd name="connsiteY15" fmla="*/ 1005939 h 1318677"/>
                <a:gd name="connsiteX16" fmla="*/ 650323 w 1310377"/>
                <a:gd name="connsiteY16" fmla="*/ 1111461 h 1318677"/>
                <a:gd name="connsiteX17" fmla="*/ 661039 w 1310377"/>
                <a:gd name="connsiteY17" fmla="*/ 1172777 h 1318677"/>
                <a:gd name="connsiteX18" fmla="*/ 727476 w 1310377"/>
                <a:gd name="connsiteY18" fmla="*/ 1208426 h 1318677"/>
                <a:gd name="connsiteX19" fmla="*/ 857492 w 1310377"/>
                <a:gd name="connsiteY19" fmla="*/ 1134989 h 1318677"/>
                <a:gd name="connsiteX20" fmla="*/ 760337 w 1310377"/>
                <a:gd name="connsiteY20" fmla="*/ 1005939 h 1318677"/>
                <a:gd name="connsiteX21" fmla="*/ 768834 w 1310377"/>
                <a:gd name="connsiteY21" fmla="*/ 969982 h 1318677"/>
                <a:gd name="connsiteX22" fmla="*/ 777334 w 1310377"/>
                <a:gd name="connsiteY22" fmla="*/ 975697 h 1318677"/>
                <a:gd name="connsiteX23" fmla="*/ 889711 w 1310377"/>
                <a:gd name="connsiteY23" fmla="*/ 1124288 h 1318677"/>
                <a:gd name="connsiteX24" fmla="*/ 890426 w 1310377"/>
                <a:gd name="connsiteY24" fmla="*/ 1141433 h 1318677"/>
                <a:gd name="connsiteX25" fmla="*/ 728661 w 1310377"/>
                <a:gd name="connsiteY25" fmla="*/ 1238588 h 1318677"/>
                <a:gd name="connsiteX26" fmla="*/ 725798 w 1310377"/>
                <a:gd name="connsiteY26" fmla="*/ 1239302 h 1318677"/>
                <a:gd name="connsiteX27" fmla="*/ 635610 w 1310377"/>
                <a:gd name="connsiteY27" fmla="*/ 1191439 h 1318677"/>
                <a:gd name="connsiteX28" fmla="*/ 619147 w 1310377"/>
                <a:gd name="connsiteY28" fmla="*/ 1101428 h 1318677"/>
                <a:gd name="connsiteX29" fmla="*/ 758724 w 1310377"/>
                <a:gd name="connsiteY29" fmla="*/ 970697 h 1318677"/>
                <a:gd name="connsiteX30" fmla="*/ 768834 w 1310377"/>
                <a:gd name="connsiteY30" fmla="*/ 969982 h 1318677"/>
                <a:gd name="connsiteX31" fmla="*/ 457142 w 1310377"/>
                <a:gd name="connsiteY31" fmla="*/ 744942 h 1318677"/>
                <a:gd name="connsiteX32" fmla="*/ 208204 w 1310377"/>
                <a:gd name="connsiteY32" fmla="*/ 958809 h 1318677"/>
                <a:gd name="connsiteX33" fmla="*/ 325520 w 1310377"/>
                <a:gd name="connsiteY33" fmla="*/ 1082139 h 1318677"/>
                <a:gd name="connsiteX34" fmla="*/ 460003 w 1310377"/>
                <a:gd name="connsiteY34" fmla="*/ 1013702 h 1318677"/>
                <a:gd name="connsiteX35" fmla="*/ 547990 w 1310377"/>
                <a:gd name="connsiteY35" fmla="*/ 772745 h 1318677"/>
                <a:gd name="connsiteX36" fmla="*/ 457142 w 1310377"/>
                <a:gd name="connsiteY36" fmla="*/ 744942 h 1318677"/>
                <a:gd name="connsiteX37" fmla="*/ 452342 w 1310377"/>
                <a:gd name="connsiteY37" fmla="*/ 713911 h 1318677"/>
                <a:gd name="connsiteX38" fmla="*/ 571971 w 1310377"/>
                <a:gd name="connsiteY38" fmla="*/ 753156 h 1318677"/>
                <a:gd name="connsiteX39" fmla="*/ 480995 w 1310377"/>
                <a:gd name="connsiteY39" fmla="*/ 1037147 h 1318677"/>
                <a:gd name="connsiteX40" fmla="*/ 320535 w 1310377"/>
                <a:gd name="connsiteY40" fmla="*/ 1116351 h 1318677"/>
                <a:gd name="connsiteX41" fmla="*/ 316237 w 1310377"/>
                <a:gd name="connsiteY41" fmla="*/ 1117064 h 1318677"/>
                <a:gd name="connsiteX42" fmla="*/ 301911 w 1310377"/>
                <a:gd name="connsiteY42" fmla="*/ 1108502 h 1318677"/>
                <a:gd name="connsiteX43" fmla="*/ 179417 w 1310377"/>
                <a:gd name="connsiteY43" fmla="*/ 978636 h 1318677"/>
                <a:gd name="connsiteX44" fmla="*/ 172970 w 1310377"/>
                <a:gd name="connsiteY44" fmla="*/ 958657 h 1318677"/>
                <a:gd name="connsiteX45" fmla="*/ 452342 w 1310377"/>
                <a:gd name="connsiteY45" fmla="*/ 713911 h 1318677"/>
                <a:gd name="connsiteX46" fmla="*/ 1087888 w 1310377"/>
                <a:gd name="connsiteY46" fmla="*/ 674879 h 1318677"/>
                <a:gd name="connsiteX47" fmla="*/ 920758 w 1310377"/>
                <a:gd name="connsiteY47" fmla="*/ 779797 h 1318677"/>
                <a:gd name="connsiteX48" fmla="*/ 851142 w 1310377"/>
                <a:gd name="connsiteY48" fmla="*/ 914476 h 1318677"/>
                <a:gd name="connsiteX49" fmla="*/ 974584 w 1310377"/>
                <a:gd name="connsiteY49" fmla="*/ 1031340 h 1318677"/>
                <a:gd name="connsiteX50" fmla="*/ 1190606 w 1310377"/>
                <a:gd name="connsiteY50" fmla="*/ 784072 h 1318677"/>
                <a:gd name="connsiteX51" fmla="*/ 1162617 w 1310377"/>
                <a:gd name="connsiteY51" fmla="*/ 692861 h 1318677"/>
                <a:gd name="connsiteX52" fmla="*/ 1087888 w 1310377"/>
                <a:gd name="connsiteY52" fmla="*/ 674879 h 1318677"/>
                <a:gd name="connsiteX53" fmla="*/ 1093449 w 1310377"/>
                <a:gd name="connsiteY53" fmla="*/ 642341 h 1318677"/>
                <a:gd name="connsiteX54" fmla="*/ 1181695 w 1310377"/>
                <a:gd name="connsiteY54" fmla="*/ 668840 h 1318677"/>
                <a:gd name="connsiteX55" fmla="*/ 1220242 w 1310377"/>
                <a:gd name="connsiteY55" fmla="*/ 788758 h 1318677"/>
                <a:gd name="connsiteX56" fmla="*/ 975400 w 1310377"/>
                <a:gd name="connsiteY56" fmla="*/ 1066425 h 1318677"/>
                <a:gd name="connsiteX57" fmla="*/ 968976 w 1310377"/>
                <a:gd name="connsiteY57" fmla="*/ 1067852 h 1318677"/>
                <a:gd name="connsiteX58" fmla="*/ 955413 w 1310377"/>
                <a:gd name="connsiteY58" fmla="*/ 1060714 h 1318677"/>
                <a:gd name="connsiteX59" fmla="*/ 826211 w 1310377"/>
                <a:gd name="connsiteY59" fmla="*/ 937228 h 1318677"/>
                <a:gd name="connsiteX60" fmla="*/ 818359 w 1310377"/>
                <a:gd name="connsiteY60" fmla="*/ 919383 h 1318677"/>
                <a:gd name="connsiteX61" fmla="*/ 898307 w 1310377"/>
                <a:gd name="connsiteY61" fmla="*/ 758779 h 1318677"/>
                <a:gd name="connsiteX62" fmla="*/ 1093449 w 1310377"/>
                <a:gd name="connsiteY62" fmla="*/ 642341 h 1318677"/>
                <a:gd name="connsiteX63" fmla="*/ 810026 w 1310377"/>
                <a:gd name="connsiteY63" fmla="*/ 330934 h 1318677"/>
                <a:gd name="connsiteX64" fmla="*/ 827171 w 1310377"/>
                <a:gd name="connsiteY64" fmla="*/ 332364 h 1318677"/>
                <a:gd name="connsiteX65" fmla="*/ 975047 w 1310377"/>
                <a:gd name="connsiteY65" fmla="*/ 445267 h 1318677"/>
                <a:gd name="connsiteX66" fmla="*/ 980048 w 1310377"/>
                <a:gd name="connsiteY66" fmla="*/ 463846 h 1318677"/>
                <a:gd name="connsiteX67" fmla="*/ 849316 w 1310377"/>
                <a:gd name="connsiteY67" fmla="*/ 602474 h 1318677"/>
                <a:gd name="connsiteX68" fmla="*/ 819313 w 1310377"/>
                <a:gd name="connsiteY68" fmla="*/ 607476 h 1318677"/>
                <a:gd name="connsiteX69" fmla="*/ 760019 w 1310377"/>
                <a:gd name="connsiteY69" fmla="*/ 586039 h 1318677"/>
                <a:gd name="connsiteX70" fmla="*/ 712871 w 1310377"/>
                <a:gd name="connsiteY70" fmla="*/ 493144 h 1318677"/>
                <a:gd name="connsiteX71" fmla="*/ 810026 w 1310377"/>
                <a:gd name="connsiteY71" fmla="*/ 330934 h 1318677"/>
                <a:gd name="connsiteX72" fmla="*/ 1200372 w 1310377"/>
                <a:gd name="connsiteY72" fmla="*/ 353 h 1318677"/>
                <a:gd name="connsiteX73" fmla="*/ 1283331 w 1310377"/>
                <a:gd name="connsiteY73" fmla="*/ 40545 h 1318677"/>
                <a:gd name="connsiteX74" fmla="*/ 1192518 w 1310377"/>
                <a:gd name="connsiteY74" fmla="*/ 324921 h 1318677"/>
                <a:gd name="connsiteX75" fmla="*/ 1033057 w 1310377"/>
                <a:gd name="connsiteY75" fmla="*/ 405148 h 1318677"/>
                <a:gd name="connsiteX76" fmla="*/ 1028767 w 1310377"/>
                <a:gd name="connsiteY76" fmla="*/ 405864 h 1318677"/>
                <a:gd name="connsiteX77" fmla="*/ 1014465 w 1310377"/>
                <a:gd name="connsiteY77" fmla="*/ 396552 h 1318677"/>
                <a:gd name="connsiteX78" fmla="*/ 892188 w 1310377"/>
                <a:gd name="connsiteY78" fmla="*/ 266183 h 1318677"/>
                <a:gd name="connsiteX79" fmla="*/ 885753 w 1310377"/>
                <a:gd name="connsiteY79" fmla="*/ 246843 h 1318677"/>
                <a:gd name="connsiteX80" fmla="*/ 1163915 w 1310377"/>
                <a:gd name="connsiteY80" fmla="*/ 1864 h 1318677"/>
                <a:gd name="connsiteX81" fmla="*/ 1200372 w 1310377"/>
                <a:gd name="connsiteY81" fmla="*/ 353 h 13186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</a:cxnLst>
              <a:rect l="l" t="t" r="r" b="b"/>
              <a:pathLst>
                <a:path w="1310377" h="1318677">
                  <a:moveTo>
                    <a:pt x="104555" y="1077376"/>
                  </a:moveTo>
                  <a:cubicBezTo>
                    <a:pt x="68906" y="1105237"/>
                    <a:pt x="32544" y="1177389"/>
                    <a:pt x="31118" y="1207393"/>
                  </a:cubicBezTo>
                  <a:cubicBezTo>
                    <a:pt x="30405" y="1223109"/>
                    <a:pt x="41813" y="1254542"/>
                    <a:pt x="66054" y="1273830"/>
                  </a:cubicBezTo>
                  <a:cubicBezTo>
                    <a:pt x="84592" y="1288117"/>
                    <a:pt x="105268" y="1291689"/>
                    <a:pt x="128084" y="1285260"/>
                  </a:cubicBezTo>
                  <a:cubicBezTo>
                    <a:pt x="180845" y="1268829"/>
                    <a:pt x="220059" y="1201678"/>
                    <a:pt x="233605" y="1175246"/>
                  </a:cubicBezTo>
                  <a:cubicBezTo>
                    <a:pt x="104555" y="1077376"/>
                    <a:pt x="104555" y="1077376"/>
                    <a:pt x="104555" y="1077376"/>
                  </a:cubicBezTo>
                  <a:close/>
                  <a:moveTo>
                    <a:pt x="98011" y="1043721"/>
                  </a:moveTo>
                  <a:cubicBezTo>
                    <a:pt x="103729" y="1040864"/>
                    <a:pt x="110163" y="1040864"/>
                    <a:pt x="115166" y="1044435"/>
                  </a:cubicBezTo>
                  <a:cubicBezTo>
                    <a:pt x="263843" y="1157274"/>
                    <a:pt x="263843" y="1157274"/>
                    <a:pt x="263843" y="1157274"/>
                  </a:cubicBezTo>
                  <a:cubicBezTo>
                    <a:pt x="269561" y="1161559"/>
                    <a:pt x="271705" y="1169415"/>
                    <a:pt x="268846" y="1175843"/>
                  </a:cubicBezTo>
                  <a:cubicBezTo>
                    <a:pt x="266702" y="1180842"/>
                    <a:pt x="218096" y="1290110"/>
                    <a:pt x="137325" y="1314392"/>
                  </a:cubicBezTo>
                  <a:cubicBezTo>
                    <a:pt x="127318" y="1317249"/>
                    <a:pt x="117310" y="1318677"/>
                    <a:pt x="107303" y="1318677"/>
                  </a:cubicBezTo>
                  <a:cubicBezTo>
                    <a:pt x="85860" y="1318677"/>
                    <a:pt x="65846" y="1311535"/>
                    <a:pt x="47261" y="1297252"/>
                  </a:cubicBezTo>
                  <a:cubicBezTo>
                    <a:pt x="15095" y="1272256"/>
                    <a:pt x="-1345" y="1230834"/>
                    <a:pt x="85" y="1205124"/>
                  </a:cubicBezTo>
                  <a:cubicBezTo>
                    <a:pt x="2229" y="1164416"/>
                    <a:pt x="48691" y="1071574"/>
                    <a:pt x="98011" y="1043721"/>
                  </a:cubicBezTo>
                  <a:close/>
                  <a:moveTo>
                    <a:pt x="760337" y="1005939"/>
                  </a:moveTo>
                  <a:cubicBezTo>
                    <a:pt x="733191" y="1019486"/>
                    <a:pt x="666039" y="1057987"/>
                    <a:pt x="650323" y="1111461"/>
                  </a:cubicBezTo>
                  <a:cubicBezTo>
                    <a:pt x="643179" y="1133563"/>
                    <a:pt x="646751" y="1154239"/>
                    <a:pt x="661039" y="1172777"/>
                  </a:cubicBezTo>
                  <a:cubicBezTo>
                    <a:pt x="680327" y="1197018"/>
                    <a:pt x="711759" y="1209139"/>
                    <a:pt x="727476" y="1208426"/>
                  </a:cubicBezTo>
                  <a:cubicBezTo>
                    <a:pt x="757480" y="1206287"/>
                    <a:pt x="829632" y="1170638"/>
                    <a:pt x="857492" y="1134989"/>
                  </a:cubicBezTo>
                  <a:cubicBezTo>
                    <a:pt x="760337" y="1005939"/>
                    <a:pt x="760337" y="1005939"/>
                    <a:pt x="760337" y="1005939"/>
                  </a:cubicBezTo>
                  <a:close/>
                  <a:moveTo>
                    <a:pt x="768834" y="969982"/>
                  </a:moveTo>
                  <a:cubicBezTo>
                    <a:pt x="772145" y="970875"/>
                    <a:pt x="775187" y="972840"/>
                    <a:pt x="777334" y="975697"/>
                  </a:cubicBezTo>
                  <a:cubicBezTo>
                    <a:pt x="889711" y="1124288"/>
                    <a:pt x="889711" y="1124288"/>
                    <a:pt x="889711" y="1124288"/>
                  </a:cubicBezTo>
                  <a:cubicBezTo>
                    <a:pt x="893289" y="1129288"/>
                    <a:pt x="894005" y="1135718"/>
                    <a:pt x="890426" y="1141433"/>
                  </a:cubicBezTo>
                  <a:cubicBezTo>
                    <a:pt x="862511" y="1190725"/>
                    <a:pt x="769460" y="1237159"/>
                    <a:pt x="728661" y="1238588"/>
                  </a:cubicBezTo>
                  <a:cubicBezTo>
                    <a:pt x="727229" y="1239302"/>
                    <a:pt x="726514" y="1239302"/>
                    <a:pt x="725798" y="1239302"/>
                  </a:cubicBezTo>
                  <a:cubicBezTo>
                    <a:pt x="699314" y="1239302"/>
                    <a:pt x="660662" y="1222871"/>
                    <a:pt x="635610" y="1191439"/>
                  </a:cubicBezTo>
                  <a:cubicBezTo>
                    <a:pt x="615568" y="1165007"/>
                    <a:pt x="609842" y="1133574"/>
                    <a:pt x="619147" y="1101428"/>
                  </a:cubicBezTo>
                  <a:cubicBezTo>
                    <a:pt x="644199" y="1020703"/>
                    <a:pt x="753713" y="972840"/>
                    <a:pt x="758724" y="970697"/>
                  </a:cubicBezTo>
                  <a:cubicBezTo>
                    <a:pt x="761945" y="969268"/>
                    <a:pt x="765524" y="969089"/>
                    <a:pt x="768834" y="969982"/>
                  </a:cubicBezTo>
                  <a:close/>
                  <a:moveTo>
                    <a:pt x="457142" y="744942"/>
                  </a:moveTo>
                  <a:cubicBezTo>
                    <a:pt x="377739" y="755636"/>
                    <a:pt x="271154" y="825499"/>
                    <a:pt x="208204" y="958809"/>
                  </a:cubicBezTo>
                  <a:cubicBezTo>
                    <a:pt x="233241" y="975919"/>
                    <a:pt x="291183" y="1020118"/>
                    <a:pt x="325520" y="1082139"/>
                  </a:cubicBezTo>
                  <a:cubicBezTo>
                    <a:pt x="353418" y="1072872"/>
                    <a:pt x="422090" y="1048633"/>
                    <a:pt x="460003" y="1013702"/>
                  </a:cubicBezTo>
                  <a:cubicBezTo>
                    <a:pt x="466441" y="1007286"/>
                    <a:pt x="620954" y="861856"/>
                    <a:pt x="547990" y="772745"/>
                  </a:cubicBezTo>
                  <a:cubicBezTo>
                    <a:pt x="529391" y="749220"/>
                    <a:pt x="496485" y="739239"/>
                    <a:pt x="457142" y="744942"/>
                  </a:cubicBezTo>
                  <a:close/>
                  <a:moveTo>
                    <a:pt x="452342" y="713911"/>
                  </a:moveTo>
                  <a:cubicBezTo>
                    <a:pt x="503202" y="707489"/>
                    <a:pt x="546182" y="721046"/>
                    <a:pt x="571971" y="753156"/>
                  </a:cubicBezTo>
                  <a:cubicBezTo>
                    <a:pt x="662229" y="863756"/>
                    <a:pt x="499620" y="1019308"/>
                    <a:pt x="480995" y="1037147"/>
                  </a:cubicBezTo>
                  <a:cubicBezTo>
                    <a:pt x="427270" y="1086382"/>
                    <a:pt x="324833" y="1115637"/>
                    <a:pt x="320535" y="1116351"/>
                  </a:cubicBezTo>
                  <a:cubicBezTo>
                    <a:pt x="319103" y="1117064"/>
                    <a:pt x="317670" y="1117064"/>
                    <a:pt x="316237" y="1117064"/>
                  </a:cubicBezTo>
                  <a:cubicBezTo>
                    <a:pt x="310507" y="1117064"/>
                    <a:pt x="304776" y="1114210"/>
                    <a:pt x="301911" y="1108502"/>
                  </a:cubicBezTo>
                  <a:cubicBezTo>
                    <a:pt x="265377" y="1031439"/>
                    <a:pt x="180133" y="979350"/>
                    <a:pt x="179417" y="978636"/>
                  </a:cubicBezTo>
                  <a:cubicBezTo>
                    <a:pt x="172253" y="974355"/>
                    <a:pt x="170104" y="965793"/>
                    <a:pt x="172970" y="958657"/>
                  </a:cubicBezTo>
                  <a:cubicBezTo>
                    <a:pt x="240305" y="806672"/>
                    <a:pt x="361367" y="726041"/>
                    <a:pt x="452342" y="713911"/>
                  </a:cubicBezTo>
                  <a:close/>
                  <a:moveTo>
                    <a:pt x="1087888" y="674879"/>
                  </a:moveTo>
                  <a:cubicBezTo>
                    <a:pt x="1008763" y="687606"/>
                    <a:pt x="925602" y="774987"/>
                    <a:pt x="920758" y="779797"/>
                  </a:cubicBezTo>
                  <a:cubicBezTo>
                    <a:pt x="885591" y="817564"/>
                    <a:pt x="860472" y="885972"/>
                    <a:pt x="851142" y="914476"/>
                  </a:cubicBezTo>
                  <a:cubicBezTo>
                    <a:pt x="912863" y="948680"/>
                    <a:pt x="957359" y="1006400"/>
                    <a:pt x="974584" y="1031340"/>
                  </a:cubicBezTo>
                  <a:cubicBezTo>
                    <a:pt x="1108791" y="969345"/>
                    <a:pt x="1179124" y="863169"/>
                    <a:pt x="1190606" y="784072"/>
                  </a:cubicBezTo>
                  <a:cubicBezTo>
                    <a:pt x="1195630" y="744167"/>
                    <a:pt x="1186300" y="712101"/>
                    <a:pt x="1162617" y="692861"/>
                  </a:cubicBezTo>
                  <a:cubicBezTo>
                    <a:pt x="1140189" y="674690"/>
                    <a:pt x="1114263" y="670637"/>
                    <a:pt x="1087888" y="674879"/>
                  </a:cubicBezTo>
                  <a:close/>
                  <a:moveTo>
                    <a:pt x="1093449" y="642341"/>
                  </a:moveTo>
                  <a:cubicBezTo>
                    <a:pt x="1123831" y="639575"/>
                    <a:pt x="1154213" y="646356"/>
                    <a:pt x="1181695" y="668840"/>
                  </a:cubicBezTo>
                  <a:cubicBezTo>
                    <a:pt x="1213818" y="695251"/>
                    <a:pt x="1227380" y="737365"/>
                    <a:pt x="1220242" y="788758"/>
                  </a:cubicBezTo>
                  <a:cubicBezTo>
                    <a:pt x="1208107" y="878696"/>
                    <a:pt x="1127445" y="1000042"/>
                    <a:pt x="975400" y="1066425"/>
                  </a:cubicBezTo>
                  <a:cubicBezTo>
                    <a:pt x="973259" y="1067852"/>
                    <a:pt x="971117" y="1067852"/>
                    <a:pt x="968976" y="1067852"/>
                  </a:cubicBezTo>
                  <a:cubicBezTo>
                    <a:pt x="963979" y="1067852"/>
                    <a:pt x="958268" y="1064997"/>
                    <a:pt x="955413" y="1060714"/>
                  </a:cubicBezTo>
                  <a:cubicBezTo>
                    <a:pt x="954699" y="1059287"/>
                    <a:pt x="902590" y="974345"/>
                    <a:pt x="826211" y="937228"/>
                  </a:cubicBezTo>
                  <a:cubicBezTo>
                    <a:pt x="819786" y="934372"/>
                    <a:pt x="816217" y="926521"/>
                    <a:pt x="818359" y="919383"/>
                  </a:cubicBezTo>
                  <a:cubicBezTo>
                    <a:pt x="819073" y="914386"/>
                    <a:pt x="848339" y="812313"/>
                    <a:pt x="898307" y="758779"/>
                  </a:cubicBezTo>
                  <a:cubicBezTo>
                    <a:pt x="911156" y="744860"/>
                    <a:pt x="1002302" y="650639"/>
                    <a:pt x="1093449" y="642341"/>
                  </a:cubicBezTo>
                  <a:close/>
                  <a:moveTo>
                    <a:pt x="810026" y="330934"/>
                  </a:moveTo>
                  <a:cubicBezTo>
                    <a:pt x="815741" y="328076"/>
                    <a:pt x="822170" y="328076"/>
                    <a:pt x="827171" y="332364"/>
                  </a:cubicBezTo>
                  <a:cubicBezTo>
                    <a:pt x="975047" y="445267"/>
                    <a:pt x="975047" y="445267"/>
                    <a:pt x="975047" y="445267"/>
                  </a:cubicBezTo>
                  <a:cubicBezTo>
                    <a:pt x="981476" y="449554"/>
                    <a:pt x="982905" y="457415"/>
                    <a:pt x="980048" y="463846"/>
                  </a:cubicBezTo>
                  <a:cubicBezTo>
                    <a:pt x="977905" y="468848"/>
                    <a:pt x="930041" y="578178"/>
                    <a:pt x="849316" y="602474"/>
                  </a:cubicBezTo>
                  <a:cubicBezTo>
                    <a:pt x="839315" y="605332"/>
                    <a:pt x="829314" y="607476"/>
                    <a:pt x="819313" y="607476"/>
                  </a:cubicBezTo>
                  <a:cubicBezTo>
                    <a:pt x="797881" y="607476"/>
                    <a:pt x="777164" y="599616"/>
                    <a:pt x="760019" y="586039"/>
                  </a:cubicBezTo>
                  <a:cubicBezTo>
                    <a:pt x="727872" y="560314"/>
                    <a:pt x="711442" y="518868"/>
                    <a:pt x="712871" y="493144"/>
                  </a:cubicBezTo>
                  <a:cubicBezTo>
                    <a:pt x="715014" y="452413"/>
                    <a:pt x="761448" y="359518"/>
                    <a:pt x="810026" y="330934"/>
                  </a:cubicBezTo>
                  <a:close/>
                  <a:moveTo>
                    <a:pt x="1200372" y="353"/>
                  </a:moveTo>
                  <a:cubicBezTo>
                    <a:pt x="1235064" y="2670"/>
                    <a:pt x="1264024" y="16370"/>
                    <a:pt x="1283331" y="40545"/>
                  </a:cubicBezTo>
                  <a:cubicBezTo>
                    <a:pt x="1373430" y="151573"/>
                    <a:pt x="1211109" y="307729"/>
                    <a:pt x="1192518" y="324921"/>
                  </a:cubicBezTo>
                  <a:cubicBezTo>
                    <a:pt x="1138887" y="375063"/>
                    <a:pt x="1037347" y="403715"/>
                    <a:pt x="1033057" y="405148"/>
                  </a:cubicBezTo>
                  <a:cubicBezTo>
                    <a:pt x="1031627" y="405148"/>
                    <a:pt x="1030197" y="405864"/>
                    <a:pt x="1028767" y="405864"/>
                  </a:cubicBezTo>
                  <a:cubicBezTo>
                    <a:pt x="1023046" y="405864"/>
                    <a:pt x="1017325" y="402283"/>
                    <a:pt x="1014465" y="396552"/>
                  </a:cubicBezTo>
                  <a:cubicBezTo>
                    <a:pt x="977997" y="319907"/>
                    <a:pt x="892903" y="266900"/>
                    <a:pt x="892188" y="266183"/>
                  </a:cubicBezTo>
                  <a:cubicBezTo>
                    <a:pt x="885037" y="262602"/>
                    <a:pt x="882892" y="254006"/>
                    <a:pt x="885753" y="246843"/>
                  </a:cubicBezTo>
                  <a:cubicBezTo>
                    <a:pt x="952969" y="94268"/>
                    <a:pt x="1073101" y="14042"/>
                    <a:pt x="1163915" y="1864"/>
                  </a:cubicBezTo>
                  <a:cubicBezTo>
                    <a:pt x="1176607" y="73"/>
                    <a:pt x="1188808" y="-419"/>
                    <a:pt x="1200372" y="35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/>
            </a:p>
          </p:txBody>
        </p:sp>
      </p:grpSp>
      <p:pic>
        <p:nvPicPr>
          <p:cNvPr id="36" name="Grafik 2" descr="countdown.gif">
            <a:extLst>
              <a:ext uri="{FF2B5EF4-FFF2-40B4-BE49-F238E27FC236}">
                <a16:creationId xmlns:a16="http://schemas.microsoft.com/office/drawing/2014/main" id="{786317EB-2BE3-48B6-822B-488BDCE5DA5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85113" y="4575685"/>
            <a:ext cx="1258887" cy="571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5" name="Fußzeilenplatzhalter 4">
            <a:extLst>
              <a:ext uri="{FF2B5EF4-FFF2-40B4-BE49-F238E27FC236}">
                <a16:creationId xmlns:a16="http://schemas.microsoft.com/office/drawing/2014/main" id="{E400F14E-631A-859A-9124-B95053AB6913}"/>
              </a:ext>
            </a:extLst>
          </p:cNvPr>
          <p:cNvSpPr txBox="1">
            <a:spLocks/>
          </p:cNvSpPr>
          <p:nvPr/>
        </p:nvSpPr>
        <p:spPr>
          <a:xfrm>
            <a:off x="311162" y="4854985"/>
            <a:ext cx="7829538" cy="28851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1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r>
              <a:rPr lang="en-US" dirty="0">
                <a:latin typeface="Arial"/>
                <a:cs typeface="Arial"/>
              </a:rPr>
              <a:t>◻︎ Outline | ◻︎ Organizational</a:t>
            </a:r>
            <a:r>
              <a:rPr lang="en-US" b="1" dirty="0">
                <a:latin typeface="Arial"/>
                <a:cs typeface="Arial"/>
              </a:rPr>
              <a:t> </a:t>
            </a:r>
            <a:r>
              <a:rPr lang="en-US" dirty="0">
                <a:latin typeface="Arial"/>
                <a:cs typeface="Arial"/>
              </a:rPr>
              <a:t>structure</a:t>
            </a:r>
            <a:r>
              <a:rPr lang="en-US" b="1" dirty="0">
                <a:latin typeface="Arial"/>
                <a:cs typeface="Arial"/>
              </a:rPr>
              <a:t> </a:t>
            </a:r>
            <a:r>
              <a:rPr lang="en-US" dirty="0">
                <a:latin typeface="Arial"/>
                <a:cs typeface="Arial"/>
              </a:rPr>
              <a:t>| ◻︎ Research Topics | ◻︎ ML Pipeline  | ◼︎ </a:t>
            </a:r>
            <a:r>
              <a:rPr lang="en-US" b="1" dirty="0">
                <a:latin typeface="Arial"/>
                <a:cs typeface="Arial"/>
              </a:rPr>
              <a:t>Next steps</a:t>
            </a:r>
          </a:p>
        </p:txBody>
      </p:sp>
    </p:spTree>
    <p:extLst>
      <p:ext uri="{BB962C8B-B14F-4D97-AF65-F5344CB8AC3E}">
        <p14:creationId xmlns:p14="http://schemas.microsoft.com/office/powerpoint/2010/main" val="215680990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6BDC872E-2D5E-4910-8936-F6E0D86CBDC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314252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6BDC872E-2D5E-4910-8936-F6E0D86CBD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el 2">
            <a:extLst>
              <a:ext uri="{FF2B5EF4-FFF2-40B4-BE49-F238E27FC236}">
                <a16:creationId xmlns:a16="http://schemas.microsoft.com/office/drawing/2014/main" id="{37327073-11DD-47A1-A0A3-AEC7A599651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7501" y="282065"/>
            <a:ext cx="7891317" cy="380810"/>
          </a:xfrm>
        </p:spPr>
        <p:txBody>
          <a:bodyPr vert="horz"/>
          <a:lstStyle/>
          <a:p>
            <a:r>
              <a:rPr lang="en-GB" dirty="0"/>
              <a:t>What has been achieved since the last time?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F623D925-8B03-4C79-B8CE-4001D099571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3</a:t>
            </a:fld>
            <a:endParaRPr lang="de-DE" dirty="0"/>
          </a:p>
        </p:txBody>
      </p:sp>
      <p:pic>
        <p:nvPicPr>
          <p:cNvPr id="8" name="Grafik 2" descr="countdown.gif">
            <a:extLst>
              <a:ext uri="{FF2B5EF4-FFF2-40B4-BE49-F238E27FC236}">
                <a16:creationId xmlns:a16="http://schemas.microsoft.com/office/drawing/2014/main" id="{9F18EF32-707B-47E4-B94B-5CA81854BA99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85113" y="4575685"/>
            <a:ext cx="1258887" cy="571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27" name="Group 26">
            <a:extLst>
              <a:ext uri="{FF2B5EF4-FFF2-40B4-BE49-F238E27FC236}">
                <a16:creationId xmlns:a16="http://schemas.microsoft.com/office/drawing/2014/main" id="{87D838D0-1897-4460-B48B-6BB288269542}"/>
              </a:ext>
            </a:extLst>
          </p:cNvPr>
          <p:cNvGrpSpPr/>
          <p:nvPr/>
        </p:nvGrpSpPr>
        <p:grpSpPr>
          <a:xfrm>
            <a:off x="611343" y="3087444"/>
            <a:ext cx="7273769" cy="695325"/>
            <a:chOff x="611343" y="3994883"/>
            <a:chExt cx="7273769" cy="695325"/>
          </a:xfrm>
        </p:grpSpPr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8E4DF226-F3C6-442F-83D1-38EB62BCCAEA}"/>
                </a:ext>
              </a:extLst>
            </p:cNvPr>
            <p:cNvSpPr txBox="1"/>
            <p:nvPr/>
          </p:nvSpPr>
          <p:spPr>
            <a:xfrm>
              <a:off x="1396999" y="4073561"/>
              <a:ext cx="6488113" cy="53796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ct val="114000"/>
                </a:lnSpc>
              </a:pPr>
              <a:r>
                <a:rPr lang="en-US" sz="1600" b="1" dirty="0">
                  <a:latin typeface="+mn-lt"/>
                </a:rPr>
                <a:t>Coding environment </a:t>
              </a:r>
              <a:r>
                <a:rPr lang="en-US" sz="1600" dirty="0">
                  <a:latin typeface="+mn-lt"/>
                </a:rPr>
                <a:t>setup defined (auto-formatter, VS Code packages, coding style alignment)</a:t>
              </a:r>
            </a:p>
          </p:txBody>
        </p:sp>
        <p:grpSp>
          <p:nvGrpSpPr>
            <p:cNvPr id="28" name="Group 27">
              <a:extLst>
                <a:ext uri="{FF2B5EF4-FFF2-40B4-BE49-F238E27FC236}">
                  <a16:creationId xmlns:a16="http://schemas.microsoft.com/office/drawing/2014/main" id="{E9A640AA-8C0B-47C6-B1AE-ED0241092D11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611343" y="3994883"/>
              <a:ext cx="695325" cy="695325"/>
              <a:chOff x="1113743" y="1826004"/>
              <a:chExt cx="1644650" cy="1644650"/>
            </a:xfrm>
          </p:grpSpPr>
          <p:sp>
            <p:nvSpPr>
              <p:cNvPr id="29" name="AutoShape 77">
                <a:extLst>
                  <a:ext uri="{FF2B5EF4-FFF2-40B4-BE49-F238E27FC236}">
                    <a16:creationId xmlns:a16="http://schemas.microsoft.com/office/drawing/2014/main" id="{9CC95CF1-11FB-463F-878F-8C52559F2BD5}"/>
                  </a:ext>
                </a:extLst>
              </p:cNvPr>
              <p:cNvSpPr>
                <a:spLocks noChangeAspect="1" noChangeArrowheads="1" noTextEdit="1"/>
              </p:cNvSpPr>
              <p:nvPr/>
            </p:nvSpPr>
            <p:spPr bwMode="auto">
              <a:xfrm>
                <a:off x="1113743" y="1826004"/>
                <a:ext cx="1644650" cy="164465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grpSp>
            <p:nvGrpSpPr>
              <p:cNvPr id="30" name="Group 29">
                <a:extLst>
                  <a:ext uri="{FF2B5EF4-FFF2-40B4-BE49-F238E27FC236}">
                    <a16:creationId xmlns:a16="http://schemas.microsoft.com/office/drawing/2014/main" id="{6407374B-CFEE-4A9E-BBFA-5E810B7E27ED}"/>
                  </a:ext>
                </a:extLst>
              </p:cNvPr>
              <p:cNvGrpSpPr/>
              <p:nvPr/>
            </p:nvGrpSpPr>
            <p:grpSpPr>
              <a:xfrm>
                <a:off x="1486806" y="2108579"/>
                <a:ext cx="898525" cy="1192213"/>
                <a:chOff x="1486806" y="2108579"/>
                <a:chExt cx="898525" cy="1192213"/>
              </a:xfrm>
            </p:grpSpPr>
            <p:sp>
              <p:nvSpPr>
                <p:cNvPr id="31" name="Freeform 79">
                  <a:extLst>
                    <a:ext uri="{FF2B5EF4-FFF2-40B4-BE49-F238E27FC236}">
                      <a16:creationId xmlns:a16="http://schemas.microsoft.com/office/drawing/2014/main" id="{DDAB9A77-6657-425C-A2BB-041481935426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486806" y="2108579"/>
                  <a:ext cx="898525" cy="1192213"/>
                </a:xfrm>
                <a:custGeom>
                  <a:avLst/>
                  <a:gdLst>
                    <a:gd name="T0" fmla="*/ 1236 w 1258"/>
                    <a:gd name="T1" fmla="*/ 0 h 1671"/>
                    <a:gd name="T2" fmla="*/ 22 w 1258"/>
                    <a:gd name="T3" fmla="*/ 0 h 1671"/>
                    <a:gd name="T4" fmla="*/ 0 w 1258"/>
                    <a:gd name="T5" fmla="*/ 22 h 1671"/>
                    <a:gd name="T6" fmla="*/ 0 w 1258"/>
                    <a:gd name="T7" fmla="*/ 1649 h 1671"/>
                    <a:gd name="T8" fmla="*/ 22 w 1258"/>
                    <a:gd name="T9" fmla="*/ 1671 h 1671"/>
                    <a:gd name="T10" fmla="*/ 1236 w 1258"/>
                    <a:gd name="T11" fmla="*/ 1671 h 1671"/>
                    <a:gd name="T12" fmla="*/ 1258 w 1258"/>
                    <a:gd name="T13" fmla="*/ 1649 h 1671"/>
                    <a:gd name="T14" fmla="*/ 1258 w 1258"/>
                    <a:gd name="T15" fmla="*/ 22 h 1671"/>
                    <a:gd name="T16" fmla="*/ 1236 w 1258"/>
                    <a:gd name="T17" fmla="*/ 0 h 1671"/>
                    <a:gd name="T18" fmla="*/ 1213 w 1258"/>
                    <a:gd name="T19" fmla="*/ 1626 h 1671"/>
                    <a:gd name="T20" fmla="*/ 45 w 1258"/>
                    <a:gd name="T21" fmla="*/ 1626 h 1671"/>
                    <a:gd name="T22" fmla="*/ 45 w 1258"/>
                    <a:gd name="T23" fmla="*/ 44 h 1671"/>
                    <a:gd name="T24" fmla="*/ 1213 w 1258"/>
                    <a:gd name="T25" fmla="*/ 44 h 1671"/>
                    <a:gd name="T26" fmla="*/ 1213 w 1258"/>
                    <a:gd name="T27" fmla="*/ 1626 h 1671"/>
                    <a:gd name="T28" fmla="*/ 462 w 1258"/>
                    <a:gd name="T29" fmla="*/ 1175 h 1671"/>
                    <a:gd name="T30" fmla="*/ 472 w 1258"/>
                    <a:gd name="T31" fmla="*/ 1177 h 1671"/>
                    <a:gd name="T32" fmla="*/ 491 w 1258"/>
                    <a:gd name="T33" fmla="*/ 1165 h 1671"/>
                    <a:gd name="T34" fmla="*/ 825 w 1258"/>
                    <a:gd name="T35" fmla="*/ 525 h 1671"/>
                    <a:gd name="T36" fmla="*/ 816 w 1258"/>
                    <a:gd name="T37" fmla="*/ 495 h 1671"/>
                    <a:gd name="T38" fmla="*/ 786 w 1258"/>
                    <a:gd name="T39" fmla="*/ 504 h 1671"/>
                    <a:gd name="T40" fmla="*/ 452 w 1258"/>
                    <a:gd name="T41" fmla="*/ 1145 h 1671"/>
                    <a:gd name="T42" fmla="*/ 462 w 1258"/>
                    <a:gd name="T43" fmla="*/ 1175 h 1671"/>
                    <a:gd name="T44" fmla="*/ 214 w 1258"/>
                    <a:gd name="T45" fmla="*/ 879 h 1671"/>
                    <a:gd name="T46" fmla="*/ 392 w 1258"/>
                    <a:gd name="T47" fmla="*/ 1058 h 1671"/>
                    <a:gd name="T48" fmla="*/ 408 w 1258"/>
                    <a:gd name="T49" fmla="*/ 1064 h 1671"/>
                    <a:gd name="T50" fmla="*/ 423 w 1258"/>
                    <a:gd name="T51" fmla="*/ 1058 h 1671"/>
                    <a:gd name="T52" fmla="*/ 423 w 1258"/>
                    <a:gd name="T53" fmla="*/ 1027 h 1671"/>
                    <a:gd name="T54" fmla="*/ 259 w 1258"/>
                    <a:gd name="T55" fmla="*/ 862 h 1671"/>
                    <a:gd name="T56" fmla="*/ 510 w 1258"/>
                    <a:gd name="T57" fmla="*/ 608 h 1671"/>
                    <a:gd name="T58" fmla="*/ 510 w 1258"/>
                    <a:gd name="T59" fmla="*/ 577 h 1671"/>
                    <a:gd name="T60" fmla="*/ 479 w 1258"/>
                    <a:gd name="T61" fmla="*/ 577 h 1671"/>
                    <a:gd name="T62" fmla="*/ 214 w 1258"/>
                    <a:gd name="T63" fmla="*/ 844 h 1671"/>
                    <a:gd name="T64" fmla="*/ 212 w 1258"/>
                    <a:gd name="T65" fmla="*/ 846 h 1671"/>
                    <a:gd name="T66" fmla="*/ 206 w 1258"/>
                    <a:gd name="T67" fmla="*/ 862 h 1671"/>
                    <a:gd name="T68" fmla="*/ 212 w 1258"/>
                    <a:gd name="T69" fmla="*/ 877 h 1671"/>
                    <a:gd name="T70" fmla="*/ 214 w 1258"/>
                    <a:gd name="T71" fmla="*/ 879 h 1671"/>
                    <a:gd name="T72" fmla="*/ 998 w 1258"/>
                    <a:gd name="T73" fmla="*/ 861 h 1671"/>
                    <a:gd name="T74" fmla="*/ 747 w 1258"/>
                    <a:gd name="T75" fmla="*/ 1113 h 1671"/>
                    <a:gd name="T76" fmla="*/ 747 w 1258"/>
                    <a:gd name="T77" fmla="*/ 1144 h 1671"/>
                    <a:gd name="T78" fmla="*/ 763 w 1258"/>
                    <a:gd name="T79" fmla="*/ 1151 h 1671"/>
                    <a:gd name="T80" fmla="*/ 778 w 1258"/>
                    <a:gd name="T81" fmla="*/ 1144 h 1671"/>
                    <a:gd name="T82" fmla="*/ 1043 w 1258"/>
                    <a:gd name="T83" fmla="*/ 878 h 1671"/>
                    <a:gd name="T84" fmla="*/ 1045 w 1258"/>
                    <a:gd name="T85" fmla="*/ 877 h 1671"/>
                    <a:gd name="T86" fmla="*/ 1052 w 1258"/>
                    <a:gd name="T87" fmla="*/ 861 h 1671"/>
                    <a:gd name="T88" fmla="*/ 1045 w 1258"/>
                    <a:gd name="T89" fmla="*/ 845 h 1671"/>
                    <a:gd name="T90" fmla="*/ 1043 w 1258"/>
                    <a:gd name="T91" fmla="*/ 843 h 1671"/>
                    <a:gd name="T92" fmla="*/ 865 w 1258"/>
                    <a:gd name="T93" fmla="*/ 665 h 1671"/>
                    <a:gd name="T94" fmla="*/ 834 w 1258"/>
                    <a:gd name="T95" fmla="*/ 665 h 1671"/>
                    <a:gd name="T96" fmla="*/ 834 w 1258"/>
                    <a:gd name="T97" fmla="*/ 696 h 1671"/>
                    <a:gd name="T98" fmla="*/ 998 w 1258"/>
                    <a:gd name="T99" fmla="*/ 861 h 167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</a:cxnLst>
                  <a:rect l="0" t="0" r="r" b="b"/>
                  <a:pathLst>
                    <a:path w="1258" h="1671">
                      <a:moveTo>
                        <a:pt x="1236" y="0"/>
                      </a:moveTo>
                      <a:cubicBezTo>
                        <a:pt x="22" y="0"/>
                        <a:pt x="22" y="0"/>
                        <a:pt x="22" y="0"/>
                      </a:cubicBezTo>
                      <a:cubicBezTo>
                        <a:pt x="9" y="0"/>
                        <a:pt x="0" y="10"/>
                        <a:pt x="0" y="22"/>
                      </a:cubicBezTo>
                      <a:cubicBezTo>
                        <a:pt x="0" y="1649"/>
                        <a:pt x="0" y="1649"/>
                        <a:pt x="0" y="1649"/>
                      </a:cubicBezTo>
                      <a:cubicBezTo>
                        <a:pt x="0" y="1662"/>
                        <a:pt x="9" y="1671"/>
                        <a:pt x="22" y="1671"/>
                      </a:cubicBezTo>
                      <a:cubicBezTo>
                        <a:pt x="1236" y="1671"/>
                        <a:pt x="1236" y="1671"/>
                        <a:pt x="1236" y="1671"/>
                      </a:cubicBezTo>
                      <a:cubicBezTo>
                        <a:pt x="1249" y="1671"/>
                        <a:pt x="1258" y="1662"/>
                        <a:pt x="1258" y="1649"/>
                      </a:cubicBezTo>
                      <a:cubicBezTo>
                        <a:pt x="1258" y="22"/>
                        <a:pt x="1258" y="22"/>
                        <a:pt x="1258" y="22"/>
                      </a:cubicBezTo>
                      <a:cubicBezTo>
                        <a:pt x="1258" y="10"/>
                        <a:pt x="1249" y="0"/>
                        <a:pt x="1236" y="0"/>
                      </a:cubicBezTo>
                      <a:close/>
                      <a:moveTo>
                        <a:pt x="1213" y="1626"/>
                      </a:moveTo>
                      <a:cubicBezTo>
                        <a:pt x="45" y="1626"/>
                        <a:pt x="45" y="1626"/>
                        <a:pt x="45" y="1626"/>
                      </a:cubicBezTo>
                      <a:cubicBezTo>
                        <a:pt x="45" y="44"/>
                        <a:pt x="45" y="44"/>
                        <a:pt x="45" y="44"/>
                      </a:cubicBezTo>
                      <a:cubicBezTo>
                        <a:pt x="1213" y="44"/>
                        <a:pt x="1213" y="44"/>
                        <a:pt x="1213" y="44"/>
                      </a:cubicBezTo>
                      <a:lnTo>
                        <a:pt x="1213" y="1626"/>
                      </a:lnTo>
                      <a:close/>
                      <a:moveTo>
                        <a:pt x="462" y="1175"/>
                      </a:moveTo>
                      <a:cubicBezTo>
                        <a:pt x="465" y="1176"/>
                        <a:pt x="468" y="1177"/>
                        <a:pt x="472" y="1177"/>
                      </a:cubicBezTo>
                      <a:cubicBezTo>
                        <a:pt x="480" y="1177"/>
                        <a:pt x="487" y="1173"/>
                        <a:pt x="491" y="1165"/>
                      </a:cubicBezTo>
                      <a:cubicBezTo>
                        <a:pt x="491" y="1165"/>
                        <a:pt x="491" y="1165"/>
                        <a:pt x="825" y="525"/>
                      </a:cubicBezTo>
                      <a:cubicBezTo>
                        <a:pt x="831" y="514"/>
                        <a:pt x="827" y="501"/>
                        <a:pt x="816" y="495"/>
                      </a:cubicBezTo>
                      <a:cubicBezTo>
                        <a:pt x="805" y="490"/>
                        <a:pt x="792" y="494"/>
                        <a:pt x="786" y="504"/>
                      </a:cubicBezTo>
                      <a:cubicBezTo>
                        <a:pt x="786" y="504"/>
                        <a:pt x="786" y="504"/>
                        <a:pt x="452" y="1145"/>
                      </a:cubicBezTo>
                      <a:cubicBezTo>
                        <a:pt x="447" y="1156"/>
                        <a:pt x="451" y="1169"/>
                        <a:pt x="462" y="1175"/>
                      </a:cubicBezTo>
                      <a:close/>
                      <a:moveTo>
                        <a:pt x="214" y="879"/>
                      </a:moveTo>
                      <a:cubicBezTo>
                        <a:pt x="214" y="879"/>
                        <a:pt x="214" y="879"/>
                        <a:pt x="392" y="1058"/>
                      </a:cubicBezTo>
                      <a:cubicBezTo>
                        <a:pt x="397" y="1062"/>
                        <a:pt x="402" y="1064"/>
                        <a:pt x="408" y="1064"/>
                      </a:cubicBezTo>
                      <a:cubicBezTo>
                        <a:pt x="413" y="1064"/>
                        <a:pt x="419" y="1062"/>
                        <a:pt x="423" y="1058"/>
                      </a:cubicBezTo>
                      <a:cubicBezTo>
                        <a:pt x="432" y="1049"/>
                        <a:pt x="432" y="1035"/>
                        <a:pt x="423" y="1027"/>
                      </a:cubicBezTo>
                      <a:cubicBezTo>
                        <a:pt x="423" y="1027"/>
                        <a:pt x="423" y="1027"/>
                        <a:pt x="259" y="862"/>
                      </a:cubicBezTo>
                      <a:cubicBezTo>
                        <a:pt x="259" y="862"/>
                        <a:pt x="259" y="862"/>
                        <a:pt x="510" y="608"/>
                      </a:cubicBezTo>
                      <a:cubicBezTo>
                        <a:pt x="519" y="600"/>
                        <a:pt x="519" y="586"/>
                        <a:pt x="510" y="577"/>
                      </a:cubicBezTo>
                      <a:cubicBezTo>
                        <a:pt x="502" y="569"/>
                        <a:pt x="488" y="569"/>
                        <a:pt x="479" y="577"/>
                      </a:cubicBezTo>
                      <a:cubicBezTo>
                        <a:pt x="479" y="577"/>
                        <a:pt x="479" y="577"/>
                        <a:pt x="214" y="844"/>
                      </a:cubicBezTo>
                      <a:cubicBezTo>
                        <a:pt x="214" y="845"/>
                        <a:pt x="213" y="845"/>
                        <a:pt x="212" y="846"/>
                      </a:cubicBezTo>
                      <a:cubicBezTo>
                        <a:pt x="208" y="850"/>
                        <a:pt x="206" y="856"/>
                        <a:pt x="206" y="862"/>
                      </a:cubicBezTo>
                      <a:cubicBezTo>
                        <a:pt x="206" y="867"/>
                        <a:pt x="208" y="873"/>
                        <a:pt x="212" y="877"/>
                      </a:cubicBezTo>
                      <a:cubicBezTo>
                        <a:pt x="213" y="878"/>
                        <a:pt x="214" y="878"/>
                        <a:pt x="214" y="879"/>
                      </a:cubicBezTo>
                      <a:close/>
                      <a:moveTo>
                        <a:pt x="998" y="861"/>
                      </a:moveTo>
                      <a:cubicBezTo>
                        <a:pt x="998" y="861"/>
                        <a:pt x="998" y="861"/>
                        <a:pt x="747" y="1113"/>
                      </a:cubicBezTo>
                      <a:cubicBezTo>
                        <a:pt x="739" y="1122"/>
                        <a:pt x="739" y="1136"/>
                        <a:pt x="747" y="1144"/>
                      </a:cubicBezTo>
                      <a:cubicBezTo>
                        <a:pt x="751" y="1148"/>
                        <a:pt x="757" y="1151"/>
                        <a:pt x="763" y="1151"/>
                      </a:cubicBezTo>
                      <a:cubicBezTo>
                        <a:pt x="768" y="1151"/>
                        <a:pt x="774" y="1148"/>
                        <a:pt x="778" y="1144"/>
                      </a:cubicBezTo>
                      <a:cubicBezTo>
                        <a:pt x="778" y="1144"/>
                        <a:pt x="778" y="1144"/>
                        <a:pt x="1043" y="878"/>
                      </a:cubicBezTo>
                      <a:cubicBezTo>
                        <a:pt x="1044" y="878"/>
                        <a:pt x="1045" y="877"/>
                        <a:pt x="1045" y="877"/>
                      </a:cubicBezTo>
                      <a:cubicBezTo>
                        <a:pt x="1050" y="872"/>
                        <a:pt x="1052" y="867"/>
                        <a:pt x="1052" y="861"/>
                      </a:cubicBezTo>
                      <a:cubicBezTo>
                        <a:pt x="1052" y="855"/>
                        <a:pt x="1050" y="849"/>
                        <a:pt x="1045" y="845"/>
                      </a:cubicBezTo>
                      <a:cubicBezTo>
                        <a:pt x="1045" y="844"/>
                        <a:pt x="1044" y="844"/>
                        <a:pt x="1043" y="843"/>
                      </a:cubicBezTo>
                      <a:cubicBezTo>
                        <a:pt x="1043" y="843"/>
                        <a:pt x="1043" y="843"/>
                        <a:pt x="865" y="665"/>
                      </a:cubicBezTo>
                      <a:cubicBezTo>
                        <a:pt x="857" y="656"/>
                        <a:pt x="843" y="656"/>
                        <a:pt x="834" y="665"/>
                      </a:cubicBezTo>
                      <a:cubicBezTo>
                        <a:pt x="826" y="673"/>
                        <a:pt x="826" y="687"/>
                        <a:pt x="834" y="696"/>
                      </a:cubicBezTo>
                      <a:cubicBezTo>
                        <a:pt x="834" y="696"/>
                        <a:pt x="834" y="696"/>
                        <a:pt x="998" y="861"/>
                      </a:cubicBezTo>
                      <a:close/>
                    </a:path>
                  </a:pathLst>
                </a:custGeom>
                <a:solidFill>
                  <a:schemeClr val="accent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2" name="Freeform 80">
                  <a:extLst>
                    <a:ext uri="{FF2B5EF4-FFF2-40B4-BE49-F238E27FC236}">
                      <a16:creationId xmlns:a16="http://schemas.microsoft.com/office/drawing/2014/main" id="{7DF362B0-9BEC-4E5F-B6DE-C14FED7393E5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648731" y="2294317"/>
                  <a:ext cx="574675" cy="820738"/>
                </a:xfrm>
                <a:custGeom>
                  <a:avLst/>
                  <a:gdLst>
                    <a:gd name="T0" fmla="*/ 767 w 806"/>
                    <a:gd name="T1" fmla="*/ 729 h 1149"/>
                    <a:gd name="T2" fmla="*/ 776 w 806"/>
                    <a:gd name="T3" fmla="*/ 784 h 1149"/>
                    <a:gd name="T4" fmla="*/ 776 w 806"/>
                    <a:gd name="T5" fmla="*/ 729 h 1149"/>
                    <a:gd name="T6" fmla="*/ 28 w 806"/>
                    <a:gd name="T7" fmla="*/ 1093 h 1149"/>
                    <a:gd name="T8" fmla="*/ 2 w 806"/>
                    <a:gd name="T9" fmla="*/ 1131 h 1149"/>
                    <a:gd name="T10" fmla="*/ 778 w 806"/>
                    <a:gd name="T11" fmla="*/ 1149 h 1149"/>
                    <a:gd name="T12" fmla="*/ 804 w 806"/>
                    <a:gd name="T13" fmla="*/ 1115 h 1149"/>
                    <a:gd name="T14" fmla="*/ 28 w 806"/>
                    <a:gd name="T15" fmla="*/ 784 h 1149"/>
                    <a:gd name="T16" fmla="*/ 37 w 806"/>
                    <a:gd name="T17" fmla="*/ 729 h 1149"/>
                    <a:gd name="T18" fmla="*/ 0 w 806"/>
                    <a:gd name="T19" fmla="*/ 756 h 1149"/>
                    <a:gd name="T20" fmla="*/ 28 w 806"/>
                    <a:gd name="T21" fmla="*/ 967 h 1149"/>
                    <a:gd name="T22" fmla="*/ 806 w 806"/>
                    <a:gd name="T23" fmla="*/ 939 h 1149"/>
                    <a:gd name="T24" fmla="*/ 777 w 806"/>
                    <a:gd name="T25" fmla="*/ 911 h 1149"/>
                    <a:gd name="T26" fmla="*/ 583 w 806"/>
                    <a:gd name="T27" fmla="*/ 913 h 1149"/>
                    <a:gd name="T28" fmla="*/ 490 w 806"/>
                    <a:gd name="T29" fmla="*/ 913 h 1149"/>
                    <a:gd name="T30" fmla="*/ 311 w 806"/>
                    <a:gd name="T31" fmla="*/ 911 h 1149"/>
                    <a:gd name="T32" fmla="*/ 246 w 806"/>
                    <a:gd name="T33" fmla="*/ 959 h 1149"/>
                    <a:gd name="T34" fmla="*/ 218 w 806"/>
                    <a:gd name="T35" fmla="*/ 954 h 1149"/>
                    <a:gd name="T36" fmla="*/ 182 w 806"/>
                    <a:gd name="T37" fmla="*/ 911 h 1149"/>
                    <a:gd name="T38" fmla="*/ 0 w 806"/>
                    <a:gd name="T39" fmla="*/ 938 h 1149"/>
                    <a:gd name="T40" fmla="*/ 28 w 806"/>
                    <a:gd name="T41" fmla="*/ 967 h 1149"/>
                    <a:gd name="T42" fmla="*/ 513 w 806"/>
                    <a:gd name="T43" fmla="*/ 238 h 1149"/>
                    <a:gd name="T44" fmla="*/ 522 w 806"/>
                    <a:gd name="T45" fmla="*/ 220 h 1149"/>
                    <a:gd name="T46" fmla="*/ 608 w 806"/>
                    <a:gd name="T47" fmla="*/ 193 h 1149"/>
                    <a:gd name="T48" fmla="*/ 611 w 806"/>
                    <a:gd name="T49" fmla="*/ 195 h 1149"/>
                    <a:gd name="T50" fmla="*/ 776 w 806"/>
                    <a:gd name="T51" fmla="*/ 238 h 1149"/>
                    <a:gd name="T52" fmla="*/ 776 w 806"/>
                    <a:gd name="T53" fmla="*/ 182 h 1149"/>
                    <a:gd name="T54" fmla="*/ 0 w 806"/>
                    <a:gd name="T55" fmla="*/ 209 h 1149"/>
                    <a:gd name="T56" fmla="*/ 28 w 806"/>
                    <a:gd name="T57" fmla="*/ 418 h 1149"/>
                    <a:gd name="T58" fmla="*/ 142 w 806"/>
                    <a:gd name="T59" fmla="*/ 364 h 1149"/>
                    <a:gd name="T60" fmla="*/ 0 w 806"/>
                    <a:gd name="T61" fmla="*/ 392 h 1149"/>
                    <a:gd name="T62" fmla="*/ 28 w 806"/>
                    <a:gd name="T63" fmla="*/ 56 h 1149"/>
                    <a:gd name="T64" fmla="*/ 804 w 806"/>
                    <a:gd name="T65" fmla="*/ 28 h 1149"/>
                    <a:gd name="T66" fmla="*/ 28 w 806"/>
                    <a:gd name="T67" fmla="*/ 0 h 1149"/>
                    <a:gd name="T68" fmla="*/ 28 w 806"/>
                    <a:gd name="T69" fmla="*/ 56 h 1149"/>
                    <a:gd name="T70" fmla="*/ 662 w 806"/>
                    <a:gd name="T71" fmla="*/ 364 h 1149"/>
                    <a:gd name="T72" fmla="*/ 716 w 806"/>
                    <a:gd name="T73" fmla="*/ 418 h 1149"/>
                    <a:gd name="T74" fmla="*/ 804 w 806"/>
                    <a:gd name="T75" fmla="*/ 392 h 114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</a:cxnLst>
                  <a:rect l="0" t="0" r="r" b="b"/>
                  <a:pathLst>
                    <a:path w="806" h="1149">
                      <a:moveTo>
                        <a:pt x="776" y="729"/>
                      </a:moveTo>
                      <a:cubicBezTo>
                        <a:pt x="776" y="729"/>
                        <a:pt x="776" y="729"/>
                        <a:pt x="767" y="729"/>
                      </a:cubicBezTo>
                      <a:cubicBezTo>
                        <a:pt x="712" y="784"/>
                        <a:pt x="712" y="784"/>
                        <a:pt x="712" y="784"/>
                      </a:cubicBezTo>
                      <a:cubicBezTo>
                        <a:pt x="776" y="784"/>
                        <a:pt x="776" y="784"/>
                        <a:pt x="776" y="784"/>
                      </a:cubicBezTo>
                      <a:cubicBezTo>
                        <a:pt x="793" y="784"/>
                        <a:pt x="804" y="771"/>
                        <a:pt x="804" y="756"/>
                      </a:cubicBezTo>
                      <a:cubicBezTo>
                        <a:pt x="804" y="741"/>
                        <a:pt x="793" y="729"/>
                        <a:pt x="776" y="729"/>
                      </a:cubicBezTo>
                      <a:close/>
                      <a:moveTo>
                        <a:pt x="777" y="1093"/>
                      </a:moveTo>
                      <a:cubicBezTo>
                        <a:pt x="777" y="1093"/>
                        <a:pt x="777" y="1093"/>
                        <a:pt x="28" y="1093"/>
                      </a:cubicBezTo>
                      <a:cubicBezTo>
                        <a:pt x="13" y="1093"/>
                        <a:pt x="0" y="1105"/>
                        <a:pt x="0" y="1120"/>
                      </a:cubicBezTo>
                      <a:cubicBezTo>
                        <a:pt x="0" y="1124"/>
                        <a:pt x="1" y="1127"/>
                        <a:pt x="2" y="1131"/>
                      </a:cubicBezTo>
                      <a:cubicBezTo>
                        <a:pt x="6" y="1141"/>
                        <a:pt x="16" y="1149"/>
                        <a:pt x="28" y="1149"/>
                      </a:cubicBezTo>
                      <a:cubicBezTo>
                        <a:pt x="28" y="1149"/>
                        <a:pt x="28" y="1149"/>
                        <a:pt x="778" y="1149"/>
                      </a:cubicBezTo>
                      <a:cubicBezTo>
                        <a:pt x="794" y="1149"/>
                        <a:pt x="806" y="1137"/>
                        <a:pt x="806" y="1123"/>
                      </a:cubicBezTo>
                      <a:cubicBezTo>
                        <a:pt x="806" y="1120"/>
                        <a:pt x="805" y="1117"/>
                        <a:pt x="804" y="1115"/>
                      </a:cubicBezTo>
                      <a:cubicBezTo>
                        <a:pt x="802" y="1102"/>
                        <a:pt x="791" y="1093"/>
                        <a:pt x="777" y="1093"/>
                      </a:cubicBezTo>
                      <a:close/>
                      <a:moveTo>
                        <a:pt x="28" y="784"/>
                      </a:moveTo>
                      <a:cubicBezTo>
                        <a:pt x="28" y="784"/>
                        <a:pt x="28" y="784"/>
                        <a:pt x="92" y="784"/>
                      </a:cubicBezTo>
                      <a:cubicBezTo>
                        <a:pt x="37" y="729"/>
                        <a:pt x="37" y="729"/>
                        <a:pt x="37" y="729"/>
                      </a:cubicBezTo>
                      <a:cubicBezTo>
                        <a:pt x="28" y="729"/>
                        <a:pt x="28" y="729"/>
                        <a:pt x="28" y="729"/>
                      </a:cubicBezTo>
                      <a:cubicBezTo>
                        <a:pt x="13" y="729"/>
                        <a:pt x="0" y="741"/>
                        <a:pt x="0" y="756"/>
                      </a:cubicBezTo>
                      <a:cubicBezTo>
                        <a:pt x="0" y="771"/>
                        <a:pt x="13" y="784"/>
                        <a:pt x="28" y="784"/>
                      </a:cubicBezTo>
                      <a:close/>
                      <a:moveTo>
                        <a:pt x="28" y="967"/>
                      </a:moveTo>
                      <a:cubicBezTo>
                        <a:pt x="28" y="967"/>
                        <a:pt x="28" y="967"/>
                        <a:pt x="778" y="967"/>
                      </a:cubicBezTo>
                      <a:cubicBezTo>
                        <a:pt x="794" y="967"/>
                        <a:pt x="806" y="954"/>
                        <a:pt x="806" y="939"/>
                      </a:cubicBezTo>
                      <a:cubicBezTo>
                        <a:pt x="806" y="934"/>
                        <a:pt x="804" y="930"/>
                        <a:pt x="802" y="926"/>
                      </a:cubicBezTo>
                      <a:cubicBezTo>
                        <a:pt x="797" y="917"/>
                        <a:pt x="789" y="911"/>
                        <a:pt x="777" y="911"/>
                      </a:cubicBezTo>
                      <a:cubicBezTo>
                        <a:pt x="777" y="911"/>
                        <a:pt x="777" y="911"/>
                        <a:pt x="586" y="911"/>
                      </a:cubicBezTo>
                      <a:cubicBezTo>
                        <a:pt x="583" y="913"/>
                        <a:pt x="583" y="913"/>
                        <a:pt x="583" y="913"/>
                      </a:cubicBezTo>
                      <a:cubicBezTo>
                        <a:pt x="571" y="926"/>
                        <a:pt x="554" y="933"/>
                        <a:pt x="537" y="933"/>
                      </a:cubicBezTo>
                      <a:cubicBezTo>
                        <a:pt x="520" y="933"/>
                        <a:pt x="503" y="926"/>
                        <a:pt x="490" y="913"/>
                      </a:cubicBezTo>
                      <a:cubicBezTo>
                        <a:pt x="489" y="913"/>
                        <a:pt x="488" y="912"/>
                        <a:pt x="488" y="911"/>
                      </a:cubicBezTo>
                      <a:cubicBezTo>
                        <a:pt x="311" y="911"/>
                        <a:pt x="311" y="911"/>
                        <a:pt x="311" y="911"/>
                      </a:cubicBezTo>
                      <a:cubicBezTo>
                        <a:pt x="304" y="924"/>
                        <a:pt x="304" y="924"/>
                        <a:pt x="304" y="924"/>
                      </a:cubicBezTo>
                      <a:cubicBezTo>
                        <a:pt x="293" y="946"/>
                        <a:pt x="271" y="959"/>
                        <a:pt x="246" y="959"/>
                      </a:cubicBezTo>
                      <a:cubicBezTo>
                        <a:pt x="235" y="959"/>
                        <a:pt x="227" y="957"/>
                        <a:pt x="222" y="955"/>
                      </a:cubicBezTo>
                      <a:cubicBezTo>
                        <a:pt x="218" y="954"/>
                        <a:pt x="218" y="954"/>
                        <a:pt x="218" y="954"/>
                      </a:cubicBezTo>
                      <a:cubicBezTo>
                        <a:pt x="215" y="952"/>
                        <a:pt x="215" y="952"/>
                        <a:pt x="215" y="952"/>
                      </a:cubicBezTo>
                      <a:cubicBezTo>
                        <a:pt x="198" y="943"/>
                        <a:pt x="187" y="928"/>
                        <a:pt x="182" y="911"/>
                      </a:cubicBezTo>
                      <a:cubicBezTo>
                        <a:pt x="28" y="911"/>
                        <a:pt x="28" y="911"/>
                        <a:pt x="28" y="911"/>
                      </a:cubicBezTo>
                      <a:cubicBezTo>
                        <a:pt x="13" y="911"/>
                        <a:pt x="0" y="924"/>
                        <a:pt x="0" y="938"/>
                      </a:cubicBezTo>
                      <a:cubicBezTo>
                        <a:pt x="0" y="945"/>
                        <a:pt x="3" y="951"/>
                        <a:pt x="7" y="956"/>
                      </a:cubicBezTo>
                      <a:cubicBezTo>
                        <a:pt x="12" y="963"/>
                        <a:pt x="20" y="967"/>
                        <a:pt x="28" y="967"/>
                      </a:cubicBezTo>
                      <a:close/>
                      <a:moveTo>
                        <a:pt x="28" y="238"/>
                      </a:moveTo>
                      <a:cubicBezTo>
                        <a:pt x="28" y="238"/>
                        <a:pt x="28" y="238"/>
                        <a:pt x="513" y="238"/>
                      </a:cubicBezTo>
                      <a:cubicBezTo>
                        <a:pt x="522" y="221"/>
                        <a:pt x="522" y="221"/>
                        <a:pt x="522" y="221"/>
                      </a:cubicBezTo>
                      <a:cubicBezTo>
                        <a:pt x="522" y="220"/>
                        <a:pt x="522" y="220"/>
                        <a:pt x="522" y="220"/>
                      </a:cubicBezTo>
                      <a:cubicBezTo>
                        <a:pt x="534" y="200"/>
                        <a:pt x="556" y="187"/>
                        <a:pt x="580" y="187"/>
                      </a:cubicBezTo>
                      <a:cubicBezTo>
                        <a:pt x="590" y="187"/>
                        <a:pt x="599" y="189"/>
                        <a:pt x="608" y="193"/>
                      </a:cubicBezTo>
                      <a:cubicBezTo>
                        <a:pt x="610" y="194"/>
                        <a:pt x="610" y="194"/>
                        <a:pt x="610" y="194"/>
                      </a:cubicBezTo>
                      <a:cubicBezTo>
                        <a:pt x="611" y="195"/>
                        <a:pt x="611" y="195"/>
                        <a:pt x="611" y="195"/>
                      </a:cubicBezTo>
                      <a:cubicBezTo>
                        <a:pt x="629" y="204"/>
                        <a:pt x="640" y="220"/>
                        <a:pt x="644" y="238"/>
                      </a:cubicBezTo>
                      <a:cubicBezTo>
                        <a:pt x="776" y="238"/>
                        <a:pt x="776" y="238"/>
                        <a:pt x="776" y="238"/>
                      </a:cubicBezTo>
                      <a:cubicBezTo>
                        <a:pt x="793" y="238"/>
                        <a:pt x="804" y="225"/>
                        <a:pt x="804" y="209"/>
                      </a:cubicBezTo>
                      <a:cubicBezTo>
                        <a:pt x="804" y="194"/>
                        <a:pt x="793" y="182"/>
                        <a:pt x="776" y="182"/>
                      </a:cubicBezTo>
                      <a:cubicBezTo>
                        <a:pt x="776" y="182"/>
                        <a:pt x="776" y="182"/>
                        <a:pt x="28" y="182"/>
                      </a:cubicBezTo>
                      <a:cubicBezTo>
                        <a:pt x="13" y="182"/>
                        <a:pt x="0" y="194"/>
                        <a:pt x="0" y="209"/>
                      </a:cubicBezTo>
                      <a:cubicBezTo>
                        <a:pt x="0" y="225"/>
                        <a:pt x="13" y="238"/>
                        <a:pt x="28" y="238"/>
                      </a:cubicBezTo>
                      <a:close/>
                      <a:moveTo>
                        <a:pt x="28" y="418"/>
                      </a:moveTo>
                      <a:cubicBezTo>
                        <a:pt x="28" y="418"/>
                        <a:pt x="28" y="418"/>
                        <a:pt x="89" y="418"/>
                      </a:cubicBezTo>
                      <a:cubicBezTo>
                        <a:pt x="142" y="364"/>
                        <a:pt x="142" y="364"/>
                        <a:pt x="142" y="364"/>
                      </a:cubicBezTo>
                      <a:cubicBezTo>
                        <a:pt x="28" y="364"/>
                        <a:pt x="28" y="364"/>
                        <a:pt x="28" y="364"/>
                      </a:cubicBezTo>
                      <a:cubicBezTo>
                        <a:pt x="13" y="364"/>
                        <a:pt x="0" y="377"/>
                        <a:pt x="0" y="392"/>
                      </a:cubicBezTo>
                      <a:cubicBezTo>
                        <a:pt x="0" y="406"/>
                        <a:pt x="13" y="418"/>
                        <a:pt x="28" y="418"/>
                      </a:cubicBezTo>
                      <a:close/>
                      <a:moveTo>
                        <a:pt x="28" y="56"/>
                      </a:moveTo>
                      <a:cubicBezTo>
                        <a:pt x="28" y="56"/>
                        <a:pt x="28" y="56"/>
                        <a:pt x="776" y="56"/>
                      </a:cubicBezTo>
                      <a:cubicBezTo>
                        <a:pt x="793" y="56"/>
                        <a:pt x="804" y="43"/>
                        <a:pt x="804" y="28"/>
                      </a:cubicBezTo>
                      <a:cubicBezTo>
                        <a:pt x="804" y="11"/>
                        <a:pt x="793" y="0"/>
                        <a:pt x="776" y="0"/>
                      </a:cubicBezTo>
                      <a:cubicBezTo>
                        <a:pt x="776" y="0"/>
                        <a:pt x="776" y="0"/>
                        <a:pt x="28" y="0"/>
                      </a:cubicBezTo>
                      <a:cubicBezTo>
                        <a:pt x="13" y="0"/>
                        <a:pt x="0" y="11"/>
                        <a:pt x="0" y="28"/>
                      </a:cubicBezTo>
                      <a:cubicBezTo>
                        <a:pt x="0" y="43"/>
                        <a:pt x="13" y="56"/>
                        <a:pt x="28" y="56"/>
                      </a:cubicBezTo>
                      <a:close/>
                      <a:moveTo>
                        <a:pt x="776" y="364"/>
                      </a:moveTo>
                      <a:cubicBezTo>
                        <a:pt x="776" y="364"/>
                        <a:pt x="776" y="364"/>
                        <a:pt x="662" y="364"/>
                      </a:cubicBezTo>
                      <a:cubicBezTo>
                        <a:pt x="665" y="367"/>
                        <a:pt x="668" y="369"/>
                        <a:pt x="671" y="372"/>
                      </a:cubicBezTo>
                      <a:cubicBezTo>
                        <a:pt x="716" y="418"/>
                        <a:pt x="716" y="418"/>
                        <a:pt x="716" y="418"/>
                      </a:cubicBezTo>
                      <a:cubicBezTo>
                        <a:pt x="776" y="418"/>
                        <a:pt x="776" y="418"/>
                        <a:pt x="776" y="418"/>
                      </a:cubicBezTo>
                      <a:cubicBezTo>
                        <a:pt x="793" y="418"/>
                        <a:pt x="804" y="406"/>
                        <a:pt x="804" y="392"/>
                      </a:cubicBezTo>
                      <a:cubicBezTo>
                        <a:pt x="804" y="377"/>
                        <a:pt x="793" y="364"/>
                        <a:pt x="776" y="364"/>
                      </a:cubicBezTo>
                      <a:close/>
                    </a:path>
                  </a:pathLst>
                </a:custGeom>
                <a:solidFill>
                  <a:schemeClr val="tx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</p:grpSp>
        </p:grpSp>
      </p:grpSp>
      <p:grpSp>
        <p:nvGrpSpPr>
          <p:cNvPr id="34" name="Group 33">
            <a:extLst>
              <a:ext uri="{FF2B5EF4-FFF2-40B4-BE49-F238E27FC236}">
                <a16:creationId xmlns:a16="http://schemas.microsoft.com/office/drawing/2014/main" id="{52092F37-9AA7-4568-8495-3DD4FEBB5A76}"/>
              </a:ext>
            </a:extLst>
          </p:cNvPr>
          <p:cNvGrpSpPr/>
          <p:nvPr/>
        </p:nvGrpSpPr>
        <p:grpSpPr>
          <a:xfrm>
            <a:off x="611343" y="912037"/>
            <a:ext cx="4214657" cy="695325"/>
            <a:chOff x="611343" y="912037"/>
            <a:chExt cx="4214657" cy="695325"/>
          </a:xfrm>
        </p:grpSpPr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13BBB2E7-8D55-4105-A4CE-3898459D193B}"/>
                </a:ext>
              </a:extLst>
            </p:cNvPr>
            <p:cNvSpPr txBox="1"/>
            <p:nvPr/>
          </p:nvSpPr>
          <p:spPr>
            <a:xfrm>
              <a:off x="1397000" y="1131075"/>
              <a:ext cx="3429000" cy="25725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ct val="114000"/>
                </a:lnSpc>
              </a:pPr>
              <a:r>
                <a:rPr lang="en-US" sz="1600" b="1" dirty="0">
                  <a:latin typeface="+mn-lt"/>
                </a:rPr>
                <a:t>Confluence</a:t>
              </a:r>
              <a:r>
                <a:rPr lang="en-US" sz="1600" dirty="0">
                  <a:latin typeface="+mn-lt"/>
                </a:rPr>
                <a:t> Wiki and Jira setup done</a:t>
              </a:r>
            </a:p>
          </p:txBody>
        </p:sp>
        <p:pic>
          <p:nvPicPr>
            <p:cNvPr id="50180" name="Picture 4">
              <a:extLst>
                <a:ext uri="{FF2B5EF4-FFF2-40B4-BE49-F238E27FC236}">
                  <a16:creationId xmlns:a16="http://schemas.microsoft.com/office/drawing/2014/main" id="{AD001128-EC2F-4D32-B009-F572086BC7AF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11343" y="912037"/>
              <a:ext cx="695325" cy="69532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33" name="Group 32">
            <a:extLst>
              <a:ext uri="{FF2B5EF4-FFF2-40B4-BE49-F238E27FC236}">
                <a16:creationId xmlns:a16="http://schemas.microsoft.com/office/drawing/2014/main" id="{7EE95551-36B3-4753-9963-9375EF60732C}"/>
              </a:ext>
            </a:extLst>
          </p:cNvPr>
          <p:cNvGrpSpPr/>
          <p:nvPr/>
        </p:nvGrpSpPr>
        <p:grpSpPr>
          <a:xfrm>
            <a:off x="611008" y="2337774"/>
            <a:ext cx="4214657" cy="632114"/>
            <a:chOff x="611343" y="1679265"/>
            <a:chExt cx="4214657" cy="632114"/>
          </a:xfrm>
        </p:grpSpPr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4CEBF81B-FA96-4532-B710-967C8ECB8538}"/>
                </a:ext>
              </a:extLst>
            </p:cNvPr>
            <p:cNvSpPr txBox="1"/>
            <p:nvPr/>
          </p:nvSpPr>
          <p:spPr>
            <a:xfrm>
              <a:off x="1397000" y="1866697"/>
              <a:ext cx="3429000" cy="25725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ct val="114000"/>
                </a:lnSpc>
              </a:pPr>
              <a:r>
                <a:rPr lang="en-US" sz="1600" b="1" dirty="0">
                  <a:latin typeface="+mn-lt"/>
                </a:rPr>
                <a:t>CI/CD </a:t>
              </a:r>
              <a:r>
                <a:rPr lang="en-US" sz="1600" dirty="0">
                  <a:latin typeface="+mn-lt"/>
                </a:rPr>
                <a:t>setup is being implemented</a:t>
              </a:r>
            </a:p>
          </p:txBody>
        </p:sp>
        <p:pic>
          <p:nvPicPr>
            <p:cNvPr id="50182" name="Picture 6">
              <a:extLst>
                <a:ext uri="{FF2B5EF4-FFF2-40B4-BE49-F238E27FC236}">
                  <a16:creationId xmlns:a16="http://schemas.microsoft.com/office/drawing/2014/main" id="{AA3429EC-F271-4958-8B08-AAF5E0B6BAF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11343" y="1679265"/>
              <a:ext cx="695325" cy="63211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21" name="Group 20">
            <a:extLst>
              <a:ext uri="{FF2B5EF4-FFF2-40B4-BE49-F238E27FC236}">
                <a16:creationId xmlns:a16="http://schemas.microsoft.com/office/drawing/2014/main" id="{7433F627-9D7B-4BF3-AB35-6058E83CA05D}"/>
              </a:ext>
            </a:extLst>
          </p:cNvPr>
          <p:cNvGrpSpPr/>
          <p:nvPr/>
        </p:nvGrpSpPr>
        <p:grpSpPr>
          <a:xfrm>
            <a:off x="611343" y="1724918"/>
            <a:ext cx="4214657" cy="495300"/>
            <a:chOff x="611343" y="3218916"/>
            <a:chExt cx="4214657" cy="495300"/>
          </a:xfrm>
        </p:grpSpPr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6B7C19A5-B7F0-49A4-B146-7BE3F3CF0EDB}"/>
                </a:ext>
              </a:extLst>
            </p:cNvPr>
            <p:cNvSpPr txBox="1"/>
            <p:nvPr/>
          </p:nvSpPr>
          <p:spPr>
            <a:xfrm>
              <a:off x="1397000" y="3337941"/>
              <a:ext cx="3429000" cy="25725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ct val="114000"/>
                </a:lnSpc>
              </a:pPr>
              <a:r>
                <a:rPr lang="en-US" sz="1600" b="1" dirty="0">
                  <a:latin typeface="+mn-lt"/>
                </a:rPr>
                <a:t>Docker</a:t>
              </a:r>
              <a:r>
                <a:rPr lang="en-US" sz="1600" dirty="0">
                  <a:latin typeface="+mn-lt"/>
                </a:rPr>
                <a:t> setup completed</a:t>
              </a:r>
            </a:p>
          </p:txBody>
        </p:sp>
        <p:pic>
          <p:nvPicPr>
            <p:cNvPr id="50178" name="Picture 2">
              <a:extLst>
                <a:ext uri="{FF2B5EF4-FFF2-40B4-BE49-F238E27FC236}">
                  <a16:creationId xmlns:a16="http://schemas.microsoft.com/office/drawing/2014/main" id="{D90D17A9-85E7-4D27-BE20-61C0542B50B7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11343" y="3218916"/>
              <a:ext cx="695325" cy="4953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20" name="Group 19">
            <a:extLst>
              <a:ext uri="{FF2B5EF4-FFF2-40B4-BE49-F238E27FC236}">
                <a16:creationId xmlns:a16="http://schemas.microsoft.com/office/drawing/2014/main" id="{AB5A7202-C769-4FEC-A76D-4A169DB0E834}"/>
              </a:ext>
            </a:extLst>
          </p:cNvPr>
          <p:cNvGrpSpPr/>
          <p:nvPr/>
        </p:nvGrpSpPr>
        <p:grpSpPr>
          <a:xfrm>
            <a:off x="611344" y="3900325"/>
            <a:ext cx="4214992" cy="695325"/>
            <a:chOff x="611008" y="2383281"/>
            <a:chExt cx="4214992" cy="695325"/>
          </a:xfrm>
        </p:grpSpPr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E534A523-D39B-4DB3-82F0-1C0499419878}"/>
                </a:ext>
              </a:extLst>
            </p:cNvPr>
            <p:cNvSpPr txBox="1"/>
            <p:nvPr/>
          </p:nvSpPr>
          <p:spPr>
            <a:xfrm>
              <a:off x="1397000" y="2602319"/>
              <a:ext cx="3429000" cy="25725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ct val="114000"/>
                </a:lnSpc>
              </a:pPr>
              <a:r>
                <a:rPr lang="en-US" sz="1600" dirty="0">
                  <a:latin typeface="+mn-lt"/>
                </a:rPr>
                <a:t>First overview of </a:t>
              </a:r>
              <a:r>
                <a:rPr lang="en-US" sz="1600" b="1" dirty="0">
                  <a:latin typeface="+mn-lt"/>
                </a:rPr>
                <a:t>project data </a:t>
              </a:r>
              <a:r>
                <a:rPr lang="en-US" sz="1600" dirty="0">
                  <a:latin typeface="+mn-lt"/>
                </a:rPr>
                <a:t>done</a:t>
              </a:r>
              <a:endParaRPr lang="en-US" sz="1600" b="1" dirty="0">
                <a:latin typeface="+mn-lt"/>
              </a:endParaRPr>
            </a:p>
          </p:txBody>
        </p:sp>
        <p:grpSp>
          <p:nvGrpSpPr>
            <p:cNvPr id="22" name="Group 21">
              <a:extLst>
                <a:ext uri="{FF2B5EF4-FFF2-40B4-BE49-F238E27FC236}">
                  <a16:creationId xmlns:a16="http://schemas.microsoft.com/office/drawing/2014/main" id="{499C49E4-9511-4018-A505-1B74BF15BC85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611008" y="2383281"/>
              <a:ext cx="695996" cy="695325"/>
              <a:chOff x="5273675" y="2606675"/>
              <a:chExt cx="1646238" cy="1644650"/>
            </a:xfrm>
          </p:grpSpPr>
          <p:sp>
            <p:nvSpPr>
              <p:cNvPr id="23" name="AutoShape 3">
                <a:extLst>
                  <a:ext uri="{FF2B5EF4-FFF2-40B4-BE49-F238E27FC236}">
                    <a16:creationId xmlns:a16="http://schemas.microsoft.com/office/drawing/2014/main" id="{5A4B627D-FC5D-46D9-BBA3-1AAE6A090C05}"/>
                  </a:ext>
                </a:extLst>
              </p:cNvPr>
              <p:cNvSpPr>
                <a:spLocks noChangeAspect="1" noChangeArrowheads="1" noTextEdit="1"/>
              </p:cNvSpPr>
              <p:nvPr/>
            </p:nvSpPr>
            <p:spPr bwMode="auto">
              <a:xfrm>
                <a:off x="5273675" y="2606675"/>
                <a:ext cx="1646238" cy="164465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grpSp>
            <p:nvGrpSpPr>
              <p:cNvPr id="24" name="Group 23">
                <a:extLst>
                  <a:ext uri="{FF2B5EF4-FFF2-40B4-BE49-F238E27FC236}">
                    <a16:creationId xmlns:a16="http://schemas.microsoft.com/office/drawing/2014/main" id="{7FCE4462-D55D-4D52-8653-8EFCD4CF4413}"/>
                  </a:ext>
                </a:extLst>
              </p:cNvPr>
              <p:cNvGrpSpPr/>
              <p:nvPr/>
            </p:nvGrpSpPr>
            <p:grpSpPr>
              <a:xfrm>
                <a:off x="5608638" y="2881313"/>
                <a:ext cx="977900" cy="1093788"/>
                <a:chOff x="5608638" y="2881313"/>
                <a:chExt cx="977900" cy="1093788"/>
              </a:xfrm>
            </p:grpSpPr>
            <p:sp>
              <p:nvSpPr>
                <p:cNvPr id="25" name="Freeform 17">
                  <a:extLst>
                    <a:ext uri="{FF2B5EF4-FFF2-40B4-BE49-F238E27FC236}">
                      <a16:creationId xmlns:a16="http://schemas.microsoft.com/office/drawing/2014/main" id="{BB308A94-18B2-44F3-A3F1-2783A5454E9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608638" y="2881313"/>
                  <a:ext cx="977900" cy="1093788"/>
                </a:xfrm>
                <a:custGeom>
                  <a:avLst/>
                  <a:gdLst>
                    <a:gd name="connsiteX0" fmla="*/ 488514 w 977900"/>
                    <a:gd name="connsiteY0" fmla="*/ 61912 h 1093788"/>
                    <a:gd name="connsiteX1" fmla="*/ 917575 w 977900"/>
                    <a:gd name="connsiteY1" fmla="*/ 219512 h 1093788"/>
                    <a:gd name="connsiteX2" fmla="*/ 488514 w 977900"/>
                    <a:gd name="connsiteY2" fmla="*/ 377825 h 1093788"/>
                    <a:gd name="connsiteX3" fmla="*/ 58737 w 977900"/>
                    <a:gd name="connsiteY3" fmla="*/ 224504 h 1093788"/>
                    <a:gd name="connsiteX4" fmla="*/ 58737 w 977900"/>
                    <a:gd name="connsiteY4" fmla="*/ 215233 h 1093788"/>
                    <a:gd name="connsiteX5" fmla="*/ 488514 w 977900"/>
                    <a:gd name="connsiteY5" fmla="*/ 61912 h 1093788"/>
                    <a:gd name="connsiteX6" fmla="*/ 477508 w 977900"/>
                    <a:gd name="connsiteY6" fmla="*/ 28575 h 1093788"/>
                    <a:gd name="connsiteX7" fmla="*/ 173585 w 977900"/>
                    <a:gd name="connsiteY7" fmla="*/ 78482 h 1093788"/>
                    <a:gd name="connsiteX8" fmla="*/ 172155 w 977900"/>
                    <a:gd name="connsiteY8" fmla="*/ 79195 h 1093788"/>
                    <a:gd name="connsiteX9" fmla="*/ 165719 w 977900"/>
                    <a:gd name="connsiteY9" fmla="*/ 81334 h 1093788"/>
                    <a:gd name="connsiteX10" fmla="*/ 164289 w 977900"/>
                    <a:gd name="connsiteY10" fmla="*/ 82047 h 1093788"/>
                    <a:gd name="connsiteX11" fmla="*/ 157138 w 977900"/>
                    <a:gd name="connsiteY11" fmla="*/ 84899 h 1093788"/>
                    <a:gd name="connsiteX12" fmla="*/ 149271 w 977900"/>
                    <a:gd name="connsiteY12" fmla="*/ 88463 h 1093788"/>
                    <a:gd name="connsiteX13" fmla="*/ 144981 w 977900"/>
                    <a:gd name="connsiteY13" fmla="*/ 89889 h 1093788"/>
                    <a:gd name="connsiteX14" fmla="*/ 142835 w 977900"/>
                    <a:gd name="connsiteY14" fmla="*/ 91315 h 1093788"/>
                    <a:gd name="connsiteX15" fmla="*/ 50586 w 977900"/>
                    <a:gd name="connsiteY15" fmla="*/ 153342 h 1093788"/>
                    <a:gd name="connsiteX16" fmla="*/ 49156 w 977900"/>
                    <a:gd name="connsiteY16" fmla="*/ 154768 h 1093788"/>
                    <a:gd name="connsiteX17" fmla="*/ 47726 w 977900"/>
                    <a:gd name="connsiteY17" fmla="*/ 156907 h 1093788"/>
                    <a:gd name="connsiteX18" fmla="*/ 44150 w 977900"/>
                    <a:gd name="connsiteY18" fmla="*/ 161185 h 1093788"/>
                    <a:gd name="connsiteX19" fmla="*/ 43435 w 977900"/>
                    <a:gd name="connsiteY19" fmla="*/ 161898 h 1093788"/>
                    <a:gd name="connsiteX20" fmla="*/ 41289 w 977900"/>
                    <a:gd name="connsiteY20" fmla="*/ 165463 h 1093788"/>
                    <a:gd name="connsiteX21" fmla="*/ 39859 w 977900"/>
                    <a:gd name="connsiteY21" fmla="*/ 167602 h 1093788"/>
                    <a:gd name="connsiteX22" fmla="*/ 38429 w 977900"/>
                    <a:gd name="connsiteY22" fmla="*/ 169740 h 1093788"/>
                    <a:gd name="connsiteX23" fmla="*/ 36999 w 977900"/>
                    <a:gd name="connsiteY23" fmla="*/ 171879 h 1093788"/>
                    <a:gd name="connsiteX24" fmla="*/ 36284 w 977900"/>
                    <a:gd name="connsiteY24" fmla="*/ 174018 h 1093788"/>
                    <a:gd name="connsiteX25" fmla="*/ 34853 w 977900"/>
                    <a:gd name="connsiteY25" fmla="*/ 176870 h 1093788"/>
                    <a:gd name="connsiteX26" fmla="*/ 34138 w 977900"/>
                    <a:gd name="connsiteY26" fmla="*/ 178296 h 1093788"/>
                    <a:gd name="connsiteX27" fmla="*/ 32708 w 977900"/>
                    <a:gd name="connsiteY27" fmla="*/ 181148 h 1093788"/>
                    <a:gd name="connsiteX28" fmla="*/ 31993 w 977900"/>
                    <a:gd name="connsiteY28" fmla="*/ 182574 h 1093788"/>
                    <a:gd name="connsiteX29" fmla="*/ 31278 w 977900"/>
                    <a:gd name="connsiteY29" fmla="*/ 186138 h 1093788"/>
                    <a:gd name="connsiteX30" fmla="*/ 30563 w 977900"/>
                    <a:gd name="connsiteY30" fmla="*/ 187564 h 1093788"/>
                    <a:gd name="connsiteX31" fmla="*/ 29848 w 977900"/>
                    <a:gd name="connsiteY31" fmla="*/ 190416 h 1093788"/>
                    <a:gd name="connsiteX32" fmla="*/ 29133 w 977900"/>
                    <a:gd name="connsiteY32" fmla="*/ 191842 h 1093788"/>
                    <a:gd name="connsiteX33" fmla="*/ 28417 w 977900"/>
                    <a:gd name="connsiteY33" fmla="*/ 195407 h 1093788"/>
                    <a:gd name="connsiteX34" fmla="*/ 28417 w 977900"/>
                    <a:gd name="connsiteY34" fmla="*/ 196833 h 1093788"/>
                    <a:gd name="connsiteX35" fmla="*/ 27702 w 977900"/>
                    <a:gd name="connsiteY35" fmla="*/ 199685 h 1093788"/>
                    <a:gd name="connsiteX36" fmla="*/ 27702 w 977900"/>
                    <a:gd name="connsiteY36" fmla="*/ 201823 h 1093788"/>
                    <a:gd name="connsiteX37" fmla="*/ 26987 w 977900"/>
                    <a:gd name="connsiteY37" fmla="*/ 203962 h 1093788"/>
                    <a:gd name="connsiteX38" fmla="*/ 26987 w 977900"/>
                    <a:gd name="connsiteY38" fmla="*/ 208953 h 1093788"/>
                    <a:gd name="connsiteX39" fmla="*/ 26987 w 977900"/>
                    <a:gd name="connsiteY39" fmla="*/ 210379 h 1093788"/>
                    <a:gd name="connsiteX40" fmla="*/ 26987 w 977900"/>
                    <a:gd name="connsiteY40" fmla="*/ 211092 h 1093788"/>
                    <a:gd name="connsiteX41" fmla="*/ 26987 w 977900"/>
                    <a:gd name="connsiteY41" fmla="*/ 211805 h 1093788"/>
                    <a:gd name="connsiteX42" fmla="*/ 26987 w 977900"/>
                    <a:gd name="connsiteY42" fmla="*/ 215370 h 1093788"/>
                    <a:gd name="connsiteX43" fmla="*/ 27702 w 977900"/>
                    <a:gd name="connsiteY43" fmla="*/ 217508 h 1093788"/>
                    <a:gd name="connsiteX44" fmla="*/ 27702 w 977900"/>
                    <a:gd name="connsiteY44" fmla="*/ 876280 h 1093788"/>
                    <a:gd name="connsiteX45" fmla="*/ 26987 w 977900"/>
                    <a:gd name="connsiteY45" fmla="*/ 878419 h 1093788"/>
                    <a:gd name="connsiteX46" fmla="*/ 26987 w 977900"/>
                    <a:gd name="connsiteY46" fmla="*/ 881983 h 1093788"/>
                    <a:gd name="connsiteX47" fmla="*/ 26987 w 977900"/>
                    <a:gd name="connsiteY47" fmla="*/ 882696 h 1093788"/>
                    <a:gd name="connsiteX48" fmla="*/ 26987 w 977900"/>
                    <a:gd name="connsiteY48" fmla="*/ 883409 h 1093788"/>
                    <a:gd name="connsiteX49" fmla="*/ 26987 w 977900"/>
                    <a:gd name="connsiteY49" fmla="*/ 884835 h 1093788"/>
                    <a:gd name="connsiteX50" fmla="*/ 26987 w 977900"/>
                    <a:gd name="connsiteY50" fmla="*/ 889826 h 1093788"/>
                    <a:gd name="connsiteX51" fmla="*/ 27702 w 977900"/>
                    <a:gd name="connsiteY51" fmla="*/ 891965 h 1093788"/>
                    <a:gd name="connsiteX52" fmla="*/ 27702 w 977900"/>
                    <a:gd name="connsiteY52" fmla="*/ 894104 h 1093788"/>
                    <a:gd name="connsiteX53" fmla="*/ 28417 w 977900"/>
                    <a:gd name="connsiteY53" fmla="*/ 896956 h 1093788"/>
                    <a:gd name="connsiteX54" fmla="*/ 28417 w 977900"/>
                    <a:gd name="connsiteY54" fmla="*/ 898381 h 1093788"/>
                    <a:gd name="connsiteX55" fmla="*/ 29133 w 977900"/>
                    <a:gd name="connsiteY55" fmla="*/ 901946 h 1093788"/>
                    <a:gd name="connsiteX56" fmla="*/ 29848 w 977900"/>
                    <a:gd name="connsiteY56" fmla="*/ 903372 h 1093788"/>
                    <a:gd name="connsiteX57" fmla="*/ 30563 w 977900"/>
                    <a:gd name="connsiteY57" fmla="*/ 906224 h 1093788"/>
                    <a:gd name="connsiteX58" fmla="*/ 31278 w 977900"/>
                    <a:gd name="connsiteY58" fmla="*/ 907650 h 1093788"/>
                    <a:gd name="connsiteX59" fmla="*/ 31993 w 977900"/>
                    <a:gd name="connsiteY59" fmla="*/ 911215 h 1093788"/>
                    <a:gd name="connsiteX60" fmla="*/ 32708 w 977900"/>
                    <a:gd name="connsiteY60" fmla="*/ 912641 h 1093788"/>
                    <a:gd name="connsiteX61" fmla="*/ 34138 w 977900"/>
                    <a:gd name="connsiteY61" fmla="*/ 915492 h 1093788"/>
                    <a:gd name="connsiteX62" fmla="*/ 34853 w 977900"/>
                    <a:gd name="connsiteY62" fmla="*/ 916918 h 1093788"/>
                    <a:gd name="connsiteX63" fmla="*/ 36284 w 977900"/>
                    <a:gd name="connsiteY63" fmla="*/ 919770 h 1093788"/>
                    <a:gd name="connsiteX64" fmla="*/ 36999 w 977900"/>
                    <a:gd name="connsiteY64" fmla="*/ 921909 h 1093788"/>
                    <a:gd name="connsiteX65" fmla="*/ 38429 w 977900"/>
                    <a:gd name="connsiteY65" fmla="*/ 924048 h 1093788"/>
                    <a:gd name="connsiteX66" fmla="*/ 39859 w 977900"/>
                    <a:gd name="connsiteY66" fmla="*/ 926187 h 1093788"/>
                    <a:gd name="connsiteX67" fmla="*/ 41289 w 977900"/>
                    <a:gd name="connsiteY67" fmla="*/ 928326 h 1093788"/>
                    <a:gd name="connsiteX68" fmla="*/ 43435 w 977900"/>
                    <a:gd name="connsiteY68" fmla="*/ 931890 h 1093788"/>
                    <a:gd name="connsiteX69" fmla="*/ 44150 w 977900"/>
                    <a:gd name="connsiteY69" fmla="*/ 931890 h 1093788"/>
                    <a:gd name="connsiteX70" fmla="*/ 47726 w 977900"/>
                    <a:gd name="connsiteY70" fmla="*/ 936881 h 1093788"/>
                    <a:gd name="connsiteX71" fmla="*/ 49156 w 977900"/>
                    <a:gd name="connsiteY71" fmla="*/ 939020 h 1093788"/>
                    <a:gd name="connsiteX72" fmla="*/ 50586 w 977900"/>
                    <a:gd name="connsiteY72" fmla="*/ 940446 h 1093788"/>
                    <a:gd name="connsiteX73" fmla="*/ 142835 w 977900"/>
                    <a:gd name="connsiteY73" fmla="*/ 1002473 h 1093788"/>
                    <a:gd name="connsiteX74" fmla="*/ 144981 w 977900"/>
                    <a:gd name="connsiteY74" fmla="*/ 1003899 h 1093788"/>
                    <a:gd name="connsiteX75" fmla="*/ 149271 w 977900"/>
                    <a:gd name="connsiteY75" fmla="*/ 1005325 h 1093788"/>
                    <a:gd name="connsiteX76" fmla="*/ 157138 w 977900"/>
                    <a:gd name="connsiteY76" fmla="*/ 1008890 h 1093788"/>
                    <a:gd name="connsiteX77" fmla="*/ 162859 w 977900"/>
                    <a:gd name="connsiteY77" fmla="*/ 1011029 h 1093788"/>
                    <a:gd name="connsiteX78" fmla="*/ 164289 w 977900"/>
                    <a:gd name="connsiteY78" fmla="*/ 1011741 h 1093788"/>
                    <a:gd name="connsiteX79" fmla="*/ 172155 w 977900"/>
                    <a:gd name="connsiteY79" fmla="*/ 1014593 h 1093788"/>
                    <a:gd name="connsiteX80" fmla="*/ 172870 w 977900"/>
                    <a:gd name="connsiteY80" fmla="*/ 1015306 h 1093788"/>
                    <a:gd name="connsiteX81" fmla="*/ 477508 w 977900"/>
                    <a:gd name="connsiteY81" fmla="*/ 1065213 h 1093788"/>
                    <a:gd name="connsiteX82" fmla="*/ 486089 w 977900"/>
                    <a:gd name="connsiteY82" fmla="*/ 1065213 h 1093788"/>
                    <a:gd name="connsiteX83" fmla="*/ 488950 w 977900"/>
                    <a:gd name="connsiteY83" fmla="*/ 1065213 h 1093788"/>
                    <a:gd name="connsiteX84" fmla="*/ 491810 w 977900"/>
                    <a:gd name="connsiteY84" fmla="*/ 1065213 h 1093788"/>
                    <a:gd name="connsiteX85" fmla="*/ 500392 w 977900"/>
                    <a:gd name="connsiteY85" fmla="*/ 1065213 h 1093788"/>
                    <a:gd name="connsiteX86" fmla="*/ 805029 w 977900"/>
                    <a:gd name="connsiteY86" fmla="*/ 1015306 h 1093788"/>
                    <a:gd name="connsiteX87" fmla="*/ 805744 w 977900"/>
                    <a:gd name="connsiteY87" fmla="*/ 1014593 h 1093788"/>
                    <a:gd name="connsiteX88" fmla="*/ 813611 w 977900"/>
                    <a:gd name="connsiteY88" fmla="*/ 1011741 h 1093788"/>
                    <a:gd name="connsiteX89" fmla="*/ 814326 w 977900"/>
                    <a:gd name="connsiteY89" fmla="*/ 1011741 h 1093788"/>
                    <a:gd name="connsiteX90" fmla="*/ 820762 w 977900"/>
                    <a:gd name="connsiteY90" fmla="*/ 1008890 h 1093788"/>
                    <a:gd name="connsiteX91" fmla="*/ 828628 w 977900"/>
                    <a:gd name="connsiteY91" fmla="*/ 1005325 h 1093788"/>
                    <a:gd name="connsiteX92" fmla="*/ 832919 w 977900"/>
                    <a:gd name="connsiteY92" fmla="*/ 1003899 h 1093788"/>
                    <a:gd name="connsiteX93" fmla="*/ 835064 w 977900"/>
                    <a:gd name="connsiteY93" fmla="*/ 1002473 h 1093788"/>
                    <a:gd name="connsiteX94" fmla="*/ 927314 w 977900"/>
                    <a:gd name="connsiteY94" fmla="*/ 940446 h 1093788"/>
                    <a:gd name="connsiteX95" fmla="*/ 928744 w 977900"/>
                    <a:gd name="connsiteY95" fmla="*/ 939020 h 1093788"/>
                    <a:gd name="connsiteX96" fmla="*/ 930174 w 977900"/>
                    <a:gd name="connsiteY96" fmla="*/ 936881 h 1093788"/>
                    <a:gd name="connsiteX97" fmla="*/ 933750 w 977900"/>
                    <a:gd name="connsiteY97" fmla="*/ 931890 h 1093788"/>
                    <a:gd name="connsiteX98" fmla="*/ 934465 w 977900"/>
                    <a:gd name="connsiteY98" fmla="*/ 931890 h 1093788"/>
                    <a:gd name="connsiteX99" fmla="*/ 936610 w 977900"/>
                    <a:gd name="connsiteY99" fmla="*/ 928326 h 1093788"/>
                    <a:gd name="connsiteX100" fmla="*/ 938040 w 977900"/>
                    <a:gd name="connsiteY100" fmla="*/ 926187 h 1093788"/>
                    <a:gd name="connsiteX101" fmla="*/ 939470 w 977900"/>
                    <a:gd name="connsiteY101" fmla="*/ 924048 h 1093788"/>
                    <a:gd name="connsiteX102" fmla="*/ 940901 w 977900"/>
                    <a:gd name="connsiteY102" fmla="*/ 921909 h 1093788"/>
                    <a:gd name="connsiteX103" fmla="*/ 941616 w 977900"/>
                    <a:gd name="connsiteY103" fmla="*/ 919770 h 1093788"/>
                    <a:gd name="connsiteX104" fmla="*/ 943046 w 977900"/>
                    <a:gd name="connsiteY104" fmla="*/ 916918 h 1093788"/>
                    <a:gd name="connsiteX105" fmla="*/ 943761 w 977900"/>
                    <a:gd name="connsiteY105" fmla="*/ 915492 h 1093788"/>
                    <a:gd name="connsiteX106" fmla="*/ 945191 w 977900"/>
                    <a:gd name="connsiteY106" fmla="*/ 912641 h 1093788"/>
                    <a:gd name="connsiteX107" fmla="*/ 945906 w 977900"/>
                    <a:gd name="connsiteY107" fmla="*/ 911215 h 1093788"/>
                    <a:gd name="connsiteX108" fmla="*/ 946622 w 977900"/>
                    <a:gd name="connsiteY108" fmla="*/ 907650 h 1093788"/>
                    <a:gd name="connsiteX109" fmla="*/ 947337 w 977900"/>
                    <a:gd name="connsiteY109" fmla="*/ 906224 h 1093788"/>
                    <a:gd name="connsiteX110" fmla="*/ 948052 w 977900"/>
                    <a:gd name="connsiteY110" fmla="*/ 903372 h 1093788"/>
                    <a:gd name="connsiteX111" fmla="*/ 948767 w 977900"/>
                    <a:gd name="connsiteY111" fmla="*/ 901946 h 1093788"/>
                    <a:gd name="connsiteX112" fmla="*/ 949482 w 977900"/>
                    <a:gd name="connsiteY112" fmla="*/ 898381 h 1093788"/>
                    <a:gd name="connsiteX113" fmla="*/ 949482 w 977900"/>
                    <a:gd name="connsiteY113" fmla="*/ 896956 h 1093788"/>
                    <a:gd name="connsiteX114" fmla="*/ 950197 w 977900"/>
                    <a:gd name="connsiteY114" fmla="*/ 894104 h 1093788"/>
                    <a:gd name="connsiteX115" fmla="*/ 950197 w 977900"/>
                    <a:gd name="connsiteY115" fmla="*/ 891965 h 1093788"/>
                    <a:gd name="connsiteX116" fmla="*/ 950912 w 977900"/>
                    <a:gd name="connsiteY116" fmla="*/ 889826 h 1093788"/>
                    <a:gd name="connsiteX117" fmla="*/ 950912 w 977900"/>
                    <a:gd name="connsiteY117" fmla="*/ 884835 h 1093788"/>
                    <a:gd name="connsiteX118" fmla="*/ 950912 w 977900"/>
                    <a:gd name="connsiteY118" fmla="*/ 208240 h 1093788"/>
                    <a:gd name="connsiteX119" fmla="*/ 950912 w 977900"/>
                    <a:gd name="connsiteY119" fmla="*/ 206101 h 1093788"/>
                    <a:gd name="connsiteX120" fmla="*/ 950912 w 977900"/>
                    <a:gd name="connsiteY120" fmla="*/ 203249 h 1093788"/>
                    <a:gd name="connsiteX121" fmla="*/ 950197 w 977900"/>
                    <a:gd name="connsiteY121" fmla="*/ 200398 h 1093788"/>
                    <a:gd name="connsiteX122" fmla="*/ 949482 w 977900"/>
                    <a:gd name="connsiteY122" fmla="*/ 196833 h 1093788"/>
                    <a:gd name="connsiteX123" fmla="*/ 949482 w 977900"/>
                    <a:gd name="connsiteY123" fmla="*/ 195407 h 1093788"/>
                    <a:gd name="connsiteX124" fmla="*/ 948767 w 977900"/>
                    <a:gd name="connsiteY124" fmla="*/ 192555 h 1093788"/>
                    <a:gd name="connsiteX125" fmla="*/ 885122 w 977900"/>
                    <a:gd name="connsiteY125" fmla="*/ 117695 h 1093788"/>
                    <a:gd name="connsiteX126" fmla="*/ 880831 w 977900"/>
                    <a:gd name="connsiteY126" fmla="*/ 114843 h 1093788"/>
                    <a:gd name="connsiteX127" fmla="*/ 879401 w 977900"/>
                    <a:gd name="connsiteY127" fmla="*/ 114130 h 1093788"/>
                    <a:gd name="connsiteX128" fmla="*/ 875110 w 977900"/>
                    <a:gd name="connsiteY128" fmla="*/ 111278 h 1093788"/>
                    <a:gd name="connsiteX129" fmla="*/ 873680 w 977900"/>
                    <a:gd name="connsiteY129" fmla="*/ 110565 h 1093788"/>
                    <a:gd name="connsiteX130" fmla="*/ 870105 w 977900"/>
                    <a:gd name="connsiteY130" fmla="*/ 108426 h 1093788"/>
                    <a:gd name="connsiteX131" fmla="*/ 867959 w 977900"/>
                    <a:gd name="connsiteY131" fmla="*/ 107000 h 1093788"/>
                    <a:gd name="connsiteX132" fmla="*/ 864384 w 977900"/>
                    <a:gd name="connsiteY132" fmla="*/ 104861 h 1093788"/>
                    <a:gd name="connsiteX133" fmla="*/ 861523 w 977900"/>
                    <a:gd name="connsiteY133" fmla="*/ 103436 h 1093788"/>
                    <a:gd name="connsiteX134" fmla="*/ 858663 w 977900"/>
                    <a:gd name="connsiteY134" fmla="*/ 102010 h 1093788"/>
                    <a:gd name="connsiteX135" fmla="*/ 855087 w 977900"/>
                    <a:gd name="connsiteY135" fmla="*/ 99871 h 1093788"/>
                    <a:gd name="connsiteX136" fmla="*/ 852227 w 977900"/>
                    <a:gd name="connsiteY136" fmla="*/ 98445 h 1093788"/>
                    <a:gd name="connsiteX137" fmla="*/ 848651 w 977900"/>
                    <a:gd name="connsiteY137" fmla="*/ 97019 h 1093788"/>
                    <a:gd name="connsiteX138" fmla="*/ 845791 w 977900"/>
                    <a:gd name="connsiteY138" fmla="*/ 95593 h 1093788"/>
                    <a:gd name="connsiteX139" fmla="*/ 841500 w 977900"/>
                    <a:gd name="connsiteY139" fmla="*/ 93454 h 1093788"/>
                    <a:gd name="connsiteX140" fmla="*/ 839355 w 977900"/>
                    <a:gd name="connsiteY140" fmla="*/ 92028 h 1093788"/>
                    <a:gd name="connsiteX141" fmla="*/ 834349 w 977900"/>
                    <a:gd name="connsiteY141" fmla="*/ 90602 h 1093788"/>
                    <a:gd name="connsiteX142" fmla="*/ 830773 w 977900"/>
                    <a:gd name="connsiteY142" fmla="*/ 88463 h 1093788"/>
                    <a:gd name="connsiteX143" fmla="*/ 827198 w 977900"/>
                    <a:gd name="connsiteY143" fmla="*/ 87038 h 1093788"/>
                    <a:gd name="connsiteX144" fmla="*/ 821477 w 977900"/>
                    <a:gd name="connsiteY144" fmla="*/ 84899 h 1093788"/>
                    <a:gd name="connsiteX145" fmla="*/ 820047 w 977900"/>
                    <a:gd name="connsiteY145" fmla="*/ 84186 h 1093788"/>
                    <a:gd name="connsiteX146" fmla="*/ 812180 w 977900"/>
                    <a:gd name="connsiteY146" fmla="*/ 80621 h 1093788"/>
                    <a:gd name="connsiteX147" fmla="*/ 795733 w 977900"/>
                    <a:gd name="connsiteY147" fmla="*/ 74917 h 1093788"/>
                    <a:gd name="connsiteX148" fmla="*/ 795018 w 977900"/>
                    <a:gd name="connsiteY148" fmla="*/ 74917 h 1093788"/>
                    <a:gd name="connsiteX149" fmla="*/ 778570 w 977900"/>
                    <a:gd name="connsiteY149" fmla="*/ 69214 h 1093788"/>
                    <a:gd name="connsiteX150" fmla="*/ 777855 w 977900"/>
                    <a:gd name="connsiteY150" fmla="*/ 68501 h 1093788"/>
                    <a:gd name="connsiteX151" fmla="*/ 760692 w 977900"/>
                    <a:gd name="connsiteY151" fmla="*/ 63510 h 1093788"/>
                    <a:gd name="connsiteX152" fmla="*/ 759977 w 977900"/>
                    <a:gd name="connsiteY152" fmla="*/ 63510 h 1093788"/>
                    <a:gd name="connsiteX153" fmla="*/ 742815 w 977900"/>
                    <a:gd name="connsiteY153" fmla="*/ 58519 h 1093788"/>
                    <a:gd name="connsiteX154" fmla="*/ 741384 w 977900"/>
                    <a:gd name="connsiteY154" fmla="*/ 58519 h 1093788"/>
                    <a:gd name="connsiteX155" fmla="*/ 723507 w 977900"/>
                    <a:gd name="connsiteY155" fmla="*/ 54242 h 1093788"/>
                    <a:gd name="connsiteX156" fmla="*/ 722076 w 977900"/>
                    <a:gd name="connsiteY156" fmla="*/ 53529 h 1093788"/>
                    <a:gd name="connsiteX157" fmla="*/ 704198 w 977900"/>
                    <a:gd name="connsiteY157" fmla="*/ 49251 h 1093788"/>
                    <a:gd name="connsiteX158" fmla="*/ 702768 w 977900"/>
                    <a:gd name="connsiteY158" fmla="*/ 49251 h 1093788"/>
                    <a:gd name="connsiteX159" fmla="*/ 684175 w 977900"/>
                    <a:gd name="connsiteY159" fmla="*/ 45686 h 1093788"/>
                    <a:gd name="connsiteX160" fmla="*/ 682745 w 977900"/>
                    <a:gd name="connsiteY160" fmla="*/ 45686 h 1093788"/>
                    <a:gd name="connsiteX161" fmla="*/ 664152 w 977900"/>
                    <a:gd name="connsiteY161" fmla="*/ 42121 h 1093788"/>
                    <a:gd name="connsiteX162" fmla="*/ 662007 w 977900"/>
                    <a:gd name="connsiteY162" fmla="*/ 42121 h 1093788"/>
                    <a:gd name="connsiteX163" fmla="*/ 643414 w 977900"/>
                    <a:gd name="connsiteY163" fmla="*/ 39269 h 1093788"/>
                    <a:gd name="connsiteX164" fmla="*/ 641984 w 977900"/>
                    <a:gd name="connsiteY164" fmla="*/ 38557 h 1093788"/>
                    <a:gd name="connsiteX165" fmla="*/ 621961 w 977900"/>
                    <a:gd name="connsiteY165" fmla="*/ 36418 h 1093788"/>
                    <a:gd name="connsiteX166" fmla="*/ 620530 w 977900"/>
                    <a:gd name="connsiteY166" fmla="*/ 35705 h 1093788"/>
                    <a:gd name="connsiteX167" fmla="*/ 600507 w 977900"/>
                    <a:gd name="connsiteY167" fmla="*/ 33566 h 1093788"/>
                    <a:gd name="connsiteX168" fmla="*/ 599792 w 977900"/>
                    <a:gd name="connsiteY168" fmla="*/ 33566 h 1093788"/>
                    <a:gd name="connsiteX169" fmla="*/ 578339 w 977900"/>
                    <a:gd name="connsiteY169" fmla="*/ 32140 h 1093788"/>
                    <a:gd name="connsiteX170" fmla="*/ 577624 w 977900"/>
                    <a:gd name="connsiteY170" fmla="*/ 32140 h 1093788"/>
                    <a:gd name="connsiteX171" fmla="*/ 556170 w 977900"/>
                    <a:gd name="connsiteY171" fmla="*/ 30714 h 1093788"/>
                    <a:gd name="connsiteX172" fmla="*/ 534002 w 977900"/>
                    <a:gd name="connsiteY172" fmla="*/ 29288 h 1093788"/>
                    <a:gd name="connsiteX173" fmla="*/ 488950 w 977900"/>
                    <a:gd name="connsiteY173" fmla="*/ 28575 h 1093788"/>
                    <a:gd name="connsiteX174" fmla="*/ 477508 w 977900"/>
                    <a:gd name="connsiteY174" fmla="*/ 28575 h 1093788"/>
                    <a:gd name="connsiteX175" fmla="*/ 488950 w 977900"/>
                    <a:gd name="connsiteY175" fmla="*/ 0 h 1093788"/>
                    <a:gd name="connsiteX176" fmla="*/ 821579 w 977900"/>
                    <a:gd name="connsiteY176" fmla="*/ 54903 h 1093788"/>
                    <a:gd name="connsiteX177" fmla="*/ 976473 w 977900"/>
                    <a:gd name="connsiteY177" fmla="*/ 192518 h 1093788"/>
                    <a:gd name="connsiteX178" fmla="*/ 977900 w 977900"/>
                    <a:gd name="connsiteY178" fmla="*/ 198935 h 1093788"/>
                    <a:gd name="connsiteX179" fmla="*/ 977900 w 977900"/>
                    <a:gd name="connsiteY179" fmla="*/ 884870 h 1093788"/>
                    <a:gd name="connsiteX180" fmla="*/ 488950 w 977900"/>
                    <a:gd name="connsiteY180" fmla="*/ 1093788 h 1093788"/>
                    <a:gd name="connsiteX181" fmla="*/ 0 w 977900"/>
                    <a:gd name="connsiteY181" fmla="*/ 884870 h 1093788"/>
                    <a:gd name="connsiteX182" fmla="*/ 714 w 977900"/>
                    <a:gd name="connsiteY182" fmla="*/ 873462 h 1093788"/>
                    <a:gd name="connsiteX183" fmla="*/ 714 w 977900"/>
                    <a:gd name="connsiteY183" fmla="*/ 220326 h 1093788"/>
                    <a:gd name="connsiteX184" fmla="*/ 0 w 977900"/>
                    <a:gd name="connsiteY184" fmla="*/ 208918 h 1093788"/>
                    <a:gd name="connsiteX185" fmla="*/ 488950 w 977900"/>
                    <a:gd name="connsiteY185" fmla="*/ 0 h 109378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  <a:cxn ang="0">
                      <a:pos x="connsiteX86" y="connsiteY86"/>
                    </a:cxn>
                    <a:cxn ang="0">
                      <a:pos x="connsiteX87" y="connsiteY87"/>
                    </a:cxn>
                    <a:cxn ang="0">
                      <a:pos x="connsiteX88" y="connsiteY88"/>
                    </a:cxn>
                    <a:cxn ang="0">
                      <a:pos x="connsiteX89" y="connsiteY89"/>
                    </a:cxn>
                    <a:cxn ang="0">
                      <a:pos x="connsiteX90" y="connsiteY90"/>
                    </a:cxn>
                    <a:cxn ang="0">
                      <a:pos x="connsiteX91" y="connsiteY91"/>
                    </a:cxn>
                    <a:cxn ang="0">
                      <a:pos x="connsiteX92" y="connsiteY92"/>
                    </a:cxn>
                    <a:cxn ang="0">
                      <a:pos x="connsiteX93" y="connsiteY93"/>
                    </a:cxn>
                    <a:cxn ang="0">
                      <a:pos x="connsiteX94" y="connsiteY94"/>
                    </a:cxn>
                    <a:cxn ang="0">
                      <a:pos x="connsiteX95" y="connsiteY95"/>
                    </a:cxn>
                    <a:cxn ang="0">
                      <a:pos x="connsiteX96" y="connsiteY96"/>
                    </a:cxn>
                    <a:cxn ang="0">
                      <a:pos x="connsiteX97" y="connsiteY97"/>
                    </a:cxn>
                    <a:cxn ang="0">
                      <a:pos x="connsiteX98" y="connsiteY98"/>
                    </a:cxn>
                    <a:cxn ang="0">
                      <a:pos x="connsiteX99" y="connsiteY99"/>
                    </a:cxn>
                    <a:cxn ang="0">
                      <a:pos x="connsiteX100" y="connsiteY100"/>
                    </a:cxn>
                    <a:cxn ang="0">
                      <a:pos x="connsiteX101" y="connsiteY101"/>
                    </a:cxn>
                    <a:cxn ang="0">
                      <a:pos x="connsiteX102" y="connsiteY102"/>
                    </a:cxn>
                    <a:cxn ang="0">
                      <a:pos x="connsiteX103" y="connsiteY103"/>
                    </a:cxn>
                    <a:cxn ang="0">
                      <a:pos x="connsiteX104" y="connsiteY104"/>
                    </a:cxn>
                    <a:cxn ang="0">
                      <a:pos x="connsiteX105" y="connsiteY105"/>
                    </a:cxn>
                    <a:cxn ang="0">
                      <a:pos x="connsiteX106" y="connsiteY106"/>
                    </a:cxn>
                    <a:cxn ang="0">
                      <a:pos x="connsiteX107" y="connsiteY107"/>
                    </a:cxn>
                    <a:cxn ang="0">
                      <a:pos x="connsiteX108" y="connsiteY108"/>
                    </a:cxn>
                    <a:cxn ang="0">
                      <a:pos x="connsiteX109" y="connsiteY109"/>
                    </a:cxn>
                    <a:cxn ang="0">
                      <a:pos x="connsiteX110" y="connsiteY110"/>
                    </a:cxn>
                    <a:cxn ang="0">
                      <a:pos x="connsiteX111" y="connsiteY111"/>
                    </a:cxn>
                    <a:cxn ang="0">
                      <a:pos x="connsiteX112" y="connsiteY112"/>
                    </a:cxn>
                    <a:cxn ang="0">
                      <a:pos x="connsiteX113" y="connsiteY113"/>
                    </a:cxn>
                    <a:cxn ang="0">
                      <a:pos x="connsiteX114" y="connsiteY114"/>
                    </a:cxn>
                    <a:cxn ang="0">
                      <a:pos x="connsiteX115" y="connsiteY115"/>
                    </a:cxn>
                    <a:cxn ang="0">
                      <a:pos x="connsiteX116" y="connsiteY116"/>
                    </a:cxn>
                    <a:cxn ang="0">
                      <a:pos x="connsiteX117" y="connsiteY117"/>
                    </a:cxn>
                    <a:cxn ang="0">
                      <a:pos x="connsiteX118" y="connsiteY118"/>
                    </a:cxn>
                    <a:cxn ang="0">
                      <a:pos x="connsiteX119" y="connsiteY119"/>
                    </a:cxn>
                    <a:cxn ang="0">
                      <a:pos x="connsiteX120" y="connsiteY120"/>
                    </a:cxn>
                    <a:cxn ang="0">
                      <a:pos x="connsiteX121" y="connsiteY121"/>
                    </a:cxn>
                    <a:cxn ang="0">
                      <a:pos x="connsiteX122" y="connsiteY122"/>
                    </a:cxn>
                    <a:cxn ang="0">
                      <a:pos x="connsiteX123" y="connsiteY123"/>
                    </a:cxn>
                    <a:cxn ang="0">
                      <a:pos x="connsiteX124" y="connsiteY124"/>
                    </a:cxn>
                    <a:cxn ang="0">
                      <a:pos x="connsiteX125" y="connsiteY125"/>
                    </a:cxn>
                    <a:cxn ang="0">
                      <a:pos x="connsiteX126" y="connsiteY126"/>
                    </a:cxn>
                    <a:cxn ang="0">
                      <a:pos x="connsiteX127" y="connsiteY127"/>
                    </a:cxn>
                    <a:cxn ang="0">
                      <a:pos x="connsiteX128" y="connsiteY128"/>
                    </a:cxn>
                    <a:cxn ang="0">
                      <a:pos x="connsiteX129" y="connsiteY129"/>
                    </a:cxn>
                    <a:cxn ang="0">
                      <a:pos x="connsiteX130" y="connsiteY130"/>
                    </a:cxn>
                    <a:cxn ang="0">
                      <a:pos x="connsiteX131" y="connsiteY131"/>
                    </a:cxn>
                    <a:cxn ang="0">
                      <a:pos x="connsiteX132" y="connsiteY132"/>
                    </a:cxn>
                    <a:cxn ang="0">
                      <a:pos x="connsiteX133" y="connsiteY133"/>
                    </a:cxn>
                    <a:cxn ang="0">
                      <a:pos x="connsiteX134" y="connsiteY134"/>
                    </a:cxn>
                    <a:cxn ang="0">
                      <a:pos x="connsiteX135" y="connsiteY135"/>
                    </a:cxn>
                    <a:cxn ang="0">
                      <a:pos x="connsiteX136" y="connsiteY136"/>
                    </a:cxn>
                    <a:cxn ang="0">
                      <a:pos x="connsiteX137" y="connsiteY137"/>
                    </a:cxn>
                    <a:cxn ang="0">
                      <a:pos x="connsiteX138" y="connsiteY138"/>
                    </a:cxn>
                    <a:cxn ang="0">
                      <a:pos x="connsiteX139" y="connsiteY139"/>
                    </a:cxn>
                    <a:cxn ang="0">
                      <a:pos x="connsiteX140" y="connsiteY140"/>
                    </a:cxn>
                    <a:cxn ang="0">
                      <a:pos x="connsiteX141" y="connsiteY141"/>
                    </a:cxn>
                    <a:cxn ang="0">
                      <a:pos x="connsiteX142" y="connsiteY142"/>
                    </a:cxn>
                    <a:cxn ang="0">
                      <a:pos x="connsiteX143" y="connsiteY143"/>
                    </a:cxn>
                    <a:cxn ang="0">
                      <a:pos x="connsiteX144" y="connsiteY144"/>
                    </a:cxn>
                    <a:cxn ang="0">
                      <a:pos x="connsiteX145" y="connsiteY145"/>
                    </a:cxn>
                    <a:cxn ang="0">
                      <a:pos x="connsiteX146" y="connsiteY146"/>
                    </a:cxn>
                    <a:cxn ang="0">
                      <a:pos x="connsiteX147" y="connsiteY147"/>
                    </a:cxn>
                    <a:cxn ang="0">
                      <a:pos x="connsiteX148" y="connsiteY148"/>
                    </a:cxn>
                    <a:cxn ang="0">
                      <a:pos x="connsiteX149" y="connsiteY149"/>
                    </a:cxn>
                    <a:cxn ang="0">
                      <a:pos x="connsiteX150" y="connsiteY150"/>
                    </a:cxn>
                    <a:cxn ang="0">
                      <a:pos x="connsiteX151" y="connsiteY151"/>
                    </a:cxn>
                    <a:cxn ang="0">
                      <a:pos x="connsiteX152" y="connsiteY152"/>
                    </a:cxn>
                    <a:cxn ang="0">
                      <a:pos x="connsiteX153" y="connsiteY153"/>
                    </a:cxn>
                    <a:cxn ang="0">
                      <a:pos x="connsiteX154" y="connsiteY154"/>
                    </a:cxn>
                    <a:cxn ang="0">
                      <a:pos x="connsiteX155" y="connsiteY155"/>
                    </a:cxn>
                    <a:cxn ang="0">
                      <a:pos x="connsiteX156" y="connsiteY156"/>
                    </a:cxn>
                    <a:cxn ang="0">
                      <a:pos x="connsiteX157" y="connsiteY157"/>
                    </a:cxn>
                    <a:cxn ang="0">
                      <a:pos x="connsiteX158" y="connsiteY158"/>
                    </a:cxn>
                    <a:cxn ang="0">
                      <a:pos x="connsiteX159" y="connsiteY159"/>
                    </a:cxn>
                    <a:cxn ang="0">
                      <a:pos x="connsiteX160" y="connsiteY160"/>
                    </a:cxn>
                    <a:cxn ang="0">
                      <a:pos x="connsiteX161" y="connsiteY161"/>
                    </a:cxn>
                    <a:cxn ang="0">
                      <a:pos x="connsiteX162" y="connsiteY162"/>
                    </a:cxn>
                    <a:cxn ang="0">
                      <a:pos x="connsiteX163" y="connsiteY163"/>
                    </a:cxn>
                    <a:cxn ang="0">
                      <a:pos x="connsiteX164" y="connsiteY164"/>
                    </a:cxn>
                    <a:cxn ang="0">
                      <a:pos x="connsiteX165" y="connsiteY165"/>
                    </a:cxn>
                    <a:cxn ang="0">
                      <a:pos x="connsiteX166" y="connsiteY166"/>
                    </a:cxn>
                    <a:cxn ang="0">
                      <a:pos x="connsiteX167" y="connsiteY167"/>
                    </a:cxn>
                    <a:cxn ang="0">
                      <a:pos x="connsiteX168" y="connsiteY168"/>
                    </a:cxn>
                    <a:cxn ang="0">
                      <a:pos x="connsiteX169" y="connsiteY169"/>
                    </a:cxn>
                    <a:cxn ang="0">
                      <a:pos x="connsiteX170" y="connsiteY170"/>
                    </a:cxn>
                    <a:cxn ang="0">
                      <a:pos x="connsiteX171" y="connsiteY171"/>
                    </a:cxn>
                    <a:cxn ang="0">
                      <a:pos x="connsiteX172" y="connsiteY172"/>
                    </a:cxn>
                    <a:cxn ang="0">
                      <a:pos x="connsiteX173" y="connsiteY173"/>
                    </a:cxn>
                    <a:cxn ang="0">
                      <a:pos x="connsiteX174" y="connsiteY174"/>
                    </a:cxn>
                    <a:cxn ang="0">
                      <a:pos x="connsiteX175" y="connsiteY175"/>
                    </a:cxn>
                    <a:cxn ang="0">
                      <a:pos x="connsiteX176" y="connsiteY176"/>
                    </a:cxn>
                    <a:cxn ang="0">
                      <a:pos x="connsiteX177" y="connsiteY177"/>
                    </a:cxn>
                    <a:cxn ang="0">
                      <a:pos x="connsiteX178" y="connsiteY178"/>
                    </a:cxn>
                    <a:cxn ang="0">
                      <a:pos x="connsiteX179" y="connsiteY179"/>
                    </a:cxn>
                    <a:cxn ang="0">
                      <a:pos x="connsiteX180" y="connsiteY180"/>
                    </a:cxn>
                    <a:cxn ang="0">
                      <a:pos x="connsiteX181" y="connsiteY181"/>
                    </a:cxn>
                    <a:cxn ang="0">
                      <a:pos x="connsiteX182" y="connsiteY182"/>
                    </a:cxn>
                    <a:cxn ang="0">
                      <a:pos x="connsiteX183" y="connsiteY183"/>
                    </a:cxn>
                    <a:cxn ang="0">
                      <a:pos x="connsiteX184" y="connsiteY184"/>
                    </a:cxn>
                    <a:cxn ang="0">
                      <a:pos x="connsiteX185" y="connsiteY185"/>
                    </a:cxn>
                  </a:cxnLst>
                  <a:rect l="l" t="t" r="r" b="b"/>
                  <a:pathLst>
                    <a:path w="977900" h="1093788">
                      <a:moveTo>
                        <a:pt x="488514" y="61912"/>
                      </a:moveTo>
                      <a:cubicBezTo>
                        <a:pt x="725213" y="61912"/>
                        <a:pt x="917575" y="132511"/>
                        <a:pt x="917575" y="219512"/>
                      </a:cubicBezTo>
                      <a:cubicBezTo>
                        <a:pt x="917575" y="306513"/>
                        <a:pt x="725213" y="377825"/>
                        <a:pt x="488514" y="377825"/>
                      </a:cubicBezTo>
                      <a:cubicBezTo>
                        <a:pt x="255390" y="377825"/>
                        <a:pt x="65173" y="308652"/>
                        <a:pt x="58737" y="224504"/>
                      </a:cubicBezTo>
                      <a:cubicBezTo>
                        <a:pt x="58737" y="224504"/>
                        <a:pt x="58737" y="224504"/>
                        <a:pt x="58737" y="215233"/>
                      </a:cubicBezTo>
                      <a:cubicBezTo>
                        <a:pt x="65173" y="129659"/>
                        <a:pt x="255390" y="61912"/>
                        <a:pt x="488514" y="61912"/>
                      </a:cubicBezTo>
                      <a:close/>
                      <a:moveTo>
                        <a:pt x="477508" y="28575"/>
                      </a:moveTo>
                      <a:cubicBezTo>
                        <a:pt x="361660" y="30001"/>
                        <a:pt x="254393" y="48538"/>
                        <a:pt x="173585" y="78482"/>
                      </a:cubicBezTo>
                      <a:cubicBezTo>
                        <a:pt x="173585" y="78482"/>
                        <a:pt x="172870" y="78482"/>
                        <a:pt x="172155" y="79195"/>
                      </a:cubicBezTo>
                      <a:cubicBezTo>
                        <a:pt x="170010" y="79908"/>
                        <a:pt x="167864" y="80621"/>
                        <a:pt x="165719" y="81334"/>
                      </a:cubicBezTo>
                      <a:cubicBezTo>
                        <a:pt x="165719" y="81334"/>
                        <a:pt x="165004" y="82047"/>
                        <a:pt x="164289" y="82047"/>
                      </a:cubicBezTo>
                      <a:cubicBezTo>
                        <a:pt x="162143" y="82760"/>
                        <a:pt x="159283" y="84186"/>
                        <a:pt x="157138" y="84899"/>
                      </a:cubicBezTo>
                      <a:cubicBezTo>
                        <a:pt x="154277" y="86325"/>
                        <a:pt x="151417" y="87038"/>
                        <a:pt x="149271" y="88463"/>
                      </a:cubicBezTo>
                      <a:cubicBezTo>
                        <a:pt x="147841" y="89176"/>
                        <a:pt x="146411" y="89176"/>
                        <a:pt x="144981" y="89889"/>
                      </a:cubicBezTo>
                      <a:cubicBezTo>
                        <a:pt x="144266" y="90602"/>
                        <a:pt x="143551" y="90602"/>
                        <a:pt x="142835" y="91315"/>
                      </a:cubicBezTo>
                      <a:cubicBezTo>
                        <a:pt x="102074" y="109139"/>
                        <a:pt x="70609" y="130528"/>
                        <a:pt x="50586" y="153342"/>
                      </a:cubicBezTo>
                      <a:cubicBezTo>
                        <a:pt x="49871" y="154055"/>
                        <a:pt x="49871" y="154768"/>
                        <a:pt x="49156" y="154768"/>
                      </a:cubicBezTo>
                      <a:cubicBezTo>
                        <a:pt x="48441" y="155481"/>
                        <a:pt x="47726" y="156194"/>
                        <a:pt x="47726" y="156907"/>
                      </a:cubicBezTo>
                      <a:cubicBezTo>
                        <a:pt x="46295" y="158333"/>
                        <a:pt x="44865" y="159759"/>
                        <a:pt x="44150" y="161185"/>
                      </a:cubicBezTo>
                      <a:cubicBezTo>
                        <a:pt x="44150" y="161898"/>
                        <a:pt x="43435" y="161898"/>
                        <a:pt x="43435" y="161898"/>
                      </a:cubicBezTo>
                      <a:cubicBezTo>
                        <a:pt x="42720" y="163324"/>
                        <a:pt x="42005" y="164750"/>
                        <a:pt x="41289" y="165463"/>
                      </a:cubicBezTo>
                      <a:cubicBezTo>
                        <a:pt x="40574" y="166176"/>
                        <a:pt x="40574" y="166889"/>
                        <a:pt x="39859" y="167602"/>
                      </a:cubicBezTo>
                      <a:cubicBezTo>
                        <a:pt x="39859" y="168315"/>
                        <a:pt x="39144" y="169027"/>
                        <a:pt x="38429" y="169740"/>
                      </a:cubicBezTo>
                      <a:cubicBezTo>
                        <a:pt x="38429" y="170453"/>
                        <a:pt x="37714" y="171166"/>
                        <a:pt x="36999" y="171879"/>
                      </a:cubicBezTo>
                      <a:cubicBezTo>
                        <a:pt x="36999" y="172592"/>
                        <a:pt x="36284" y="173305"/>
                        <a:pt x="36284" y="174018"/>
                      </a:cubicBezTo>
                      <a:cubicBezTo>
                        <a:pt x="35569" y="174731"/>
                        <a:pt x="35569" y="176157"/>
                        <a:pt x="34853" y="176870"/>
                      </a:cubicBezTo>
                      <a:cubicBezTo>
                        <a:pt x="34853" y="177583"/>
                        <a:pt x="34138" y="177583"/>
                        <a:pt x="34138" y="178296"/>
                      </a:cubicBezTo>
                      <a:cubicBezTo>
                        <a:pt x="33423" y="179722"/>
                        <a:pt x="33423" y="180435"/>
                        <a:pt x="32708" y="181148"/>
                      </a:cubicBezTo>
                      <a:cubicBezTo>
                        <a:pt x="32708" y="181861"/>
                        <a:pt x="32708" y="182574"/>
                        <a:pt x="31993" y="182574"/>
                      </a:cubicBezTo>
                      <a:cubicBezTo>
                        <a:pt x="31993" y="184000"/>
                        <a:pt x="31278" y="184712"/>
                        <a:pt x="31278" y="186138"/>
                      </a:cubicBezTo>
                      <a:cubicBezTo>
                        <a:pt x="31278" y="186138"/>
                        <a:pt x="30563" y="186851"/>
                        <a:pt x="30563" y="187564"/>
                      </a:cubicBezTo>
                      <a:cubicBezTo>
                        <a:pt x="30563" y="188277"/>
                        <a:pt x="29848" y="189703"/>
                        <a:pt x="29848" y="190416"/>
                      </a:cubicBezTo>
                      <a:cubicBezTo>
                        <a:pt x="29848" y="191129"/>
                        <a:pt x="29133" y="191129"/>
                        <a:pt x="29133" y="191842"/>
                      </a:cubicBezTo>
                      <a:cubicBezTo>
                        <a:pt x="29133" y="193268"/>
                        <a:pt x="29133" y="193981"/>
                        <a:pt x="28417" y="195407"/>
                      </a:cubicBezTo>
                      <a:cubicBezTo>
                        <a:pt x="28417" y="195407"/>
                        <a:pt x="28417" y="196120"/>
                        <a:pt x="28417" y="196833"/>
                      </a:cubicBezTo>
                      <a:cubicBezTo>
                        <a:pt x="28417" y="197546"/>
                        <a:pt x="27702" y="198972"/>
                        <a:pt x="27702" y="199685"/>
                      </a:cubicBezTo>
                      <a:cubicBezTo>
                        <a:pt x="27702" y="200398"/>
                        <a:pt x="27702" y="201110"/>
                        <a:pt x="27702" y="201823"/>
                      </a:cubicBezTo>
                      <a:cubicBezTo>
                        <a:pt x="27702" y="202536"/>
                        <a:pt x="27702" y="203249"/>
                        <a:pt x="26987" y="203962"/>
                      </a:cubicBezTo>
                      <a:cubicBezTo>
                        <a:pt x="26987" y="206101"/>
                        <a:pt x="26987" y="207527"/>
                        <a:pt x="26987" y="208953"/>
                      </a:cubicBezTo>
                      <a:cubicBezTo>
                        <a:pt x="26987" y="209666"/>
                        <a:pt x="26987" y="209666"/>
                        <a:pt x="26987" y="210379"/>
                      </a:cubicBezTo>
                      <a:cubicBezTo>
                        <a:pt x="26987" y="211092"/>
                        <a:pt x="26987" y="211092"/>
                        <a:pt x="26987" y="211092"/>
                      </a:cubicBezTo>
                      <a:cubicBezTo>
                        <a:pt x="26987" y="211092"/>
                        <a:pt x="26987" y="211805"/>
                        <a:pt x="26987" y="211805"/>
                      </a:cubicBezTo>
                      <a:cubicBezTo>
                        <a:pt x="26987" y="211805"/>
                        <a:pt x="26987" y="211805"/>
                        <a:pt x="26987" y="215370"/>
                      </a:cubicBezTo>
                      <a:cubicBezTo>
                        <a:pt x="26987" y="215370"/>
                        <a:pt x="26987" y="215370"/>
                        <a:pt x="27702" y="217508"/>
                      </a:cubicBezTo>
                      <a:cubicBezTo>
                        <a:pt x="27702" y="217508"/>
                        <a:pt x="27702" y="217508"/>
                        <a:pt x="27702" y="876280"/>
                      </a:cubicBezTo>
                      <a:cubicBezTo>
                        <a:pt x="27702" y="876280"/>
                        <a:pt x="27702" y="876280"/>
                        <a:pt x="26987" y="878419"/>
                      </a:cubicBezTo>
                      <a:cubicBezTo>
                        <a:pt x="26987" y="878419"/>
                        <a:pt x="26987" y="878419"/>
                        <a:pt x="26987" y="881983"/>
                      </a:cubicBezTo>
                      <a:cubicBezTo>
                        <a:pt x="26987" y="881983"/>
                        <a:pt x="26987" y="882696"/>
                        <a:pt x="26987" y="882696"/>
                      </a:cubicBezTo>
                      <a:cubicBezTo>
                        <a:pt x="26987" y="882696"/>
                        <a:pt x="26987" y="882696"/>
                        <a:pt x="26987" y="883409"/>
                      </a:cubicBezTo>
                      <a:cubicBezTo>
                        <a:pt x="26987" y="884122"/>
                        <a:pt x="26987" y="884122"/>
                        <a:pt x="26987" y="884835"/>
                      </a:cubicBezTo>
                      <a:cubicBezTo>
                        <a:pt x="26987" y="886261"/>
                        <a:pt x="26987" y="887687"/>
                        <a:pt x="26987" y="889826"/>
                      </a:cubicBezTo>
                      <a:cubicBezTo>
                        <a:pt x="27702" y="890539"/>
                        <a:pt x="27702" y="891252"/>
                        <a:pt x="27702" y="891965"/>
                      </a:cubicBezTo>
                      <a:cubicBezTo>
                        <a:pt x="27702" y="892678"/>
                        <a:pt x="27702" y="893391"/>
                        <a:pt x="27702" y="894104"/>
                      </a:cubicBezTo>
                      <a:cubicBezTo>
                        <a:pt x="27702" y="894817"/>
                        <a:pt x="28417" y="896243"/>
                        <a:pt x="28417" y="896956"/>
                      </a:cubicBezTo>
                      <a:cubicBezTo>
                        <a:pt x="28417" y="897669"/>
                        <a:pt x="28417" y="898381"/>
                        <a:pt x="28417" y="898381"/>
                      </a:cubicBezTo>
                      <a:cubicBezTo>
                        <a:pt x="29133" y="899807"/>
                        <a:pt x="29133" y="900520"/>
                        <a:pt x="29133" y="901946"/>
                      </a:cubicBezTo>
                      <a:cubicBezTo>
                        <a:pt x="29133" y="902659"/>
                        <a:pt x="29848" y="902659"/>
                        <a:pt x="29848" y="903372"/>
                      </a:cubicBezTo>
                      <a:cubicBezTo>
                        <a:pt x="29848" y="904085"/>
                        <a:pt x="30563" y="905511"/>
                        <a:pt x="30563" y="906224"/>
                      </a:cubicBezTo>
                      <a:cubicBezTo>
                        <a:pt x="30563" y="906937"/>
                        <a:pt x="31278" y="907650"/>
                        <a:pt x="31278" y="907650"/>
                      </a:cubicBezTo>
                      <a:cubicBezTo>
                        <a:pt x="31278" y="909076"/>
                        <a:pt x="31993" y="909789"/>
                        <a:pt x="31993" y="911215"/>
                      </a:cubicBezTo>
                      <a:cubicBezTo>
                        <a:pt x="32708" y="911215"/>
                        <a:pt x="32708" y="911928"/>
                        <a:pt x="32708" y="912641"/>
                      </a:cubicBezTo>
                      <a:cubicBezTo>
                        <a:pt x="33423" y="913354"/>
                        <a:pt x="33423" y="914066"/>
                        <a:pt x="34138" y="915492"/>
                      </a:cubicBezTo>
                      <a:cubicBezTo>
                        <a:pt x="34138" y="916205"/>
                        <a:pt x="34853" y="916205"/>
                        <a:pt x="34853" y="916918"/>
                      </a:cubicBezTo>
                      <a:cubicBezTo>
                        <a:pt x="35569" y="917631"/>
                        <a:pt x="35569" y="919057"/>
                        <a:pt x="36284" y="919770"/>
                      </a:cubicBezTo>
                      <a:cubicBezTo>
                        <a:pt x="36284" y="920483"/>
                        <a:pt x="36999" y="921196"/>
                        <a:pt x="36999" y="921909"/>
                      </a:cubicBezTo>
                      <a:cubicBezTo>
                        <a:pt x="37714" y="922622"/>
                        <a:pt x="38429" y="923335"/>
                        <a:pt x="38429" y="924048"/>
                      </a:cubicBezTo>
                      <a:cubicBezTo>
                        <a:pt x="39144" y="924761"/>
                        <a:pt x="39859" y="925474"/>
                        <a:pt x="39859" y="926187"/>
                      </a:cubicBezTo>
                      <a:cubicBezTo>
                        <a:pt x="40574" y="926900"/>
                        <a:pt x="40574" y="927613"/>
                        <a:pt x="41289" y="928326"/>
                      </a:cubicBezTo>
                      <a:cubicBezTo>
                        <a:pt x="42005" y="929039"/>
                        <a:pt x="42720" y="930464"/>
                        <a:pt x="43435" y="931890"/>
                      </a:cubicBezTo>
                      <a:cubicBezTo>
                        <a:pt x="43435" y="931890"/>
                        <a:pt x="44150" y="931890"/>
                        <a:pt x="44150" y="931890"/>
                      </a:cubicBezTo>
                      <a:cubicBezTo>
                        <a:pt x="44865" y="934029"/>
                        <a:pt x="46295" y="935455"/>
                        <a:pt x="47726" y="936881"/>
                      </a:cubicBezTo>
                      <a:cubicBezTo>
                        <a:pt x="47726" y="937594"/>
                        <a:pt x="48441" y="938307"/>
                        <a:pt x="49156" y="939020"/>
                      </a:cubicBezTo>
                      <a:cubicBezTo>
                        <a:pt x="49871" y="939020"/>
                        <a:pt x="49871" y="939733"/>
                        <a:pt x="50586" y="940446"/>
                      </a:cubicBezTo>
                      <a:cubicBezTo>
                        <a:pt x="70609" y="963260"/>
                        <a:pt x="102074" y="984649"/>
                        <a:pt x="142835" y="1002473"/>
                      </a:cubicBezTo>
                      <a:cubicBezTo>
                        <a:pt x="143551" y="1003186"/>
                        <a:pt x="144266" y="1003186"/>
                        <a:pt x="144981" y="1003899"/>
                      </a:cubicBezTo>
                      <a:cubicBezTo>
                        <a:pt x="146411" y="1004612"/>
                        <a:pt x="147841" y="1005325"/>
                        <a:pt x="149271" y="1005325"/>
                      </a:cubicBezTo>
                      <a:cubicBezTo>
                        <a:pt x="151417" y="1006751"/>
                        <a:pt x="154277" y="1008177"/>
                        <a:pt x="157138" y="1008890"/>
                      </a:cubicBezTo>
                      <a:cubicBezTo>
                        <a:pt x="159283" y="1009603"/>
                        <a:pt x="160713" y="1010316"/>
                        <a:pt x="162859" y="1011029"/>
                      </a:cubicBezTo>
                      <a:cubicBezTo>
                        <a:pt x="163574" y="1011741"/>
                        <a:pt x="163574" y="1011741"/>
                        <a:pt x="164289" y="1011741"/>
                      </a:cubicBezTo>
                      <a:cubicBezTo>
                        <a:pt x="167149" y="1013167"/>
                        <a:pt x="170010" y="1013880"/>
                        <a:pt x="172155" y="1014593"/>
                      </a:cubicBezTo>
                      <a:cubicBezTo>
                        <a:pt x="172870" y="1015306"/>
                        <a:pt x="172870" y="1015306"/>
                        <a:pt x="172870" y="1015306"/>
                      </a:cubicBezTo>
                      <a:cubicBezTo>
                        <a:pt x="253678" y="1045250"/>
                        <a:pt x="360945" y="1063787"/>
                        <a:pt x="477508" y="1065213"/>
                      </a:cubicBezTo>
                      <a:cubicBezTo>
                        <a:pt x="480368" y="1065213"/>
                        <a:pt x="483229" y="1065213"/>
                        <a:pt x="486089" y="1065213"/>
                      </a:cubicBezTo>
                      <a:cubicBezTo>
                        <a:pt x="486804" y="1065213"/>
                        <a:pt x="488235" y="1065213"/>
                        <a:pt x="488950" y="1065213"/>
                      </a:cubicBezTo>
                      <a:cubicBezTo>
                        <a:pt x="489665" y="1065213"/>
                        <a:pt x="491095" y="1065213"/>
                        <a:pt x="491810" y="1065213"/>
                      </a:cubicBezTo>
                      <a:cubicBezTo>
                        <a:pt x="494671" y="1065213"/>
                        <a:pt x="497531" y="1065213"/>
                        <a:pt x="500392" y="1065213"/>
                      </a:cubicBezTo>
                      <a:cubicBezTo>
                        <a:pt x="616955" y="1063787"/>
                        <a:pt x="724222" y="1045250"/>
                        <a:pt x="805029" y="1015306"/>
                      </a:cubicBezTo>
                      <a:cubicBezTo>
                        <a:pt x="805029" y="1015306"/>
                        <a:pt x="805029" y="1015306"/>
                        <a:pt x="805744" y="1014593"/>
                      </a:cubicBezTo>
                      <a:cubicBezTo>
                        <a:pt x="807890" y="1013880"/>
                        <a:pt x="810750" y="1013167"/>
                        <a:pt x="813611" y="1011741"/>
                      </a:cubicBezTo>
                      <a:cubicBezTo>
                        <a:pt x="813611" y="1011741"/>
                        <a:pt x="814326" y="1011741"/>
                        <a:pt x="814326" y="1011741"/>
                      </a:cubicBezTo>
                      <a:cubicBezTo>
                        <a:pt x="816471" y="1010316"/>
                        <a:pt x="818616" y="1009603"/>
                        <a:pt x="820762" y="1008890"/>
                      </a:cubicBezTo>
                      <a:cubicBezTo>
                        <a:pt x="823622" y="1008177"/>
                        <a:pt x="826483" y="1006751"/>
                        <a:pt x="828628" y="1005325"/>
                      </a:cubicBezTo>
                      <a:cubicBezTo>
                        <a:pt x="830058" y="1005325"/>
                        <a:pt x="831488" y="1004612"/>
                        <a:pt x="832919" y="1003899"/>
                      </a:cubicBezTo>
                      <a:cubicBezTo>
                        <a:pt x="833634" y="1003186"/>
                        <a:pt x="834349" y="1003186"/>
                        <a:pt x="835064" y="1002473"/>
                      </a:cubicBezTo>
                      <a:cubicBezTo>
                        <a:pt x="875825" y="984649"/>
                        <a:pt x="907290" y="963260"/>
                        <a:pt x="927314" y="940446"/>
                      </a:cubicBezTo>
                      <a:cubicBezTo>
                        <a:pt x="928029" y="939733"/>
                        <a:pt x="928029" y="939020"/>
                        <a:pt x="928744" y="939020"/>
                      </a:cubicBezTo>
                      <a:cubicBezTo>
                        <a:pt x="929459" y="938307"/>
                        <a:pt x="930174" y="937594"/>
                        <a:pt x="930174" y="936881"/>
                      </a:cubicBezTo>
                      <a:cubicBezTo>
                        <a:pt x="931604" y="935455"/>
                        <a:pt x="933034" y="934029"/>
                        <a:pt x="933750" y="931890"/>
                      </a:cubicBezTo>
                      <a:cubicBezTo>
                        <a:pt x="933750" y="931890"/>
                        <a:pt x="934465" y="931890"/>
                        <a:pt x="934465" y="931890"/>
                      </a:cubicBezTo>
                      <a:cubicBezTo>
                        <a:pt x="935180" y="930464"/>
                        <a:pt x="935895" y="929039"/>
                        <a:pt x="936610" y="928326"/>
                      </a:cubicBezTo>
                      <a:cubicBezTo>
                        <a:pt x="937325" y="927613"/>
                        <a:pt x="937325" y="926900"/>
                        <a:pt x="938040" y="926187"/>
                      </a:cubicBezTo>
                      <a:cubicBezTo>
                        <a:pt x="938040" y="925474"/>
                        <a:pt x="938755" y="924761"/>
                        <a:pt x="939470" y="924048"/>
                      </a:cubicBezTo>
                      <a:cubicBezTo>
                        <a:pt x="939470" y="923335"/>
                        <a:pt x="940186" y="922622"/>
                        <a:pt x="940901" y="921909"/>
                      </a:cubicBezTo>
                      <a:cubicBezTo>
                        <a:pt x="940901" y="921196"/>
                        <a:pt x="941616" y="920483"/>
                        <a:pt x="941616" y="919770"/>
                      </a:cubicBezTo>
                      <a:cubicBezTo>
                        <a:pt x="942331" y="919057"/>
                        <a:pt x="942331" y="917631"/>
                        <a:pt x="943046" y="916918"/>
                      </a:cubicBezTo>
                      <a:cubicBezTo>
                        <a:pt x="943046" y="916205"/>
                        <a:pt x="943761" y="916205"/>
                        <a:pt x="943761" y="915492"/>
                      </a:cubicBezTo>
                      <a:cubicBezTo>
                        <a:pt x="944476" y="914066"/>
                        <a:pt x="944476" y="913354"/>
                        <a:pt x="945191" y="912641"/>
                      </a:cubicBezTo>
                      <a:cubicBezTo>
                        <a:pt x="945191" y="911928"/>
                        <a:pt x="945191" y="911215"/>
                        <a:pt x="945906" y="911215"/>
                      </a:cubicBezTo>
                      <a:cubicBezTo>
                        <a:pt x="945906" y="909789"/>
                        <a:pt x="946622" y="909076"/>
                        <a:pt x="946622" y="907650"/>
                      </a:cubicBezTo>
                      <a:cubicBezTo>
                        <a:pt x="946622" y="907650"/>
                        <a:pt x="947337" y="906937"/>
                        <a:pt x="947337" y="906224"/>
                      </a:cubicBezTo>
                      <a:cubicBezTo>
                        <a:pt x="947337" y="905511"/>
                        <a:pt x="948052" y="904085"/>
                        <a:pt x="948052" y="903372"/>
                      </a:cubicBezTo>
                      <a:cubicBezTo>
                        <a:pt x="948052" y="902659"/>
                        <a:pt x="948767" y="902659"/>
                        <a:pt x="948767" y="901946"/>
                      </a:cubicBezTo>
                      <a:cubicBezTo>
                        <a:pt x="948767" y="900520"/>
                        <a:pt x="948767" y="899807"/>
                        <a:pt x="949482" y="898381"/>
                      </a:cubicBezTo>
                      <a:cubicBezTo>
                        <a:pt x="949482" y="898381"/>
                        <a:pt x="949482" y="897669"/>
                        <a:pt x="949482" y="896956"/>
                      </a:cubicBezTo>
                      <a:cubicBezTo>
                        <a:pt x="949482" y="896243"/>
                        <a:pt x="950197" y="894817"/>
                        <a:pt x="950197" y="894104"/>
                      </a:cubicBezTo>
                      <a:cubicBezTo>
                        <a:pt x="950197" y="893391"/>
                        <a:pt x="950197" y="892678"/>
                        <a:pt x="950197" y="891965"/>
                      </a:cubicBezTo>
                      <a:cubicBezTo>
                        <a:pt x="950197" y="891252"/>
                        <a:pt x="950197" y="890539"/>
                        <a:pt x="950912" y="889826"/>
                      </a:cubicBezTo>
                      <a:cubicBezTo>
                        <a:pt x="950912" y="887687"/>
                        <a:pt x="950912" y="886261"/>
                        <a:pt x="950912" y="884835"/>
                      </a:cubicBezTo>
                      <a:cubicBezTo>
                        <a:pt x="950912" y="884835"/>
                        <a:pt x="950912" y="879132"/>
                        <a:pt x="950912" y="208240"/>
                      </a:cubicBezTo>
                      <a:cubicBezTo>
                        <a:pt x="950912" y="207527"/>
                        <a:pt x="950912" y="206814"/>
                        <a:pt x="950912" y="206101"/>
                      </a:cubicBezTo>
                      <a:cubicBezTo>
                        <a:pt x="950912" y="205388"/>
                        <a:pt x="950912" y="203962"/>
                        <a:pt x="950912" y="203249"/>
                      </a:cubicBezTo>
                      <a:cubicBezTo>
                        <a:pt x="950912" y="201823"/>
                        <a:pt x="950912" y="201110"/>
                        <a:pt x="950197" y="200398"/>
                      </a:cubicBezTo>
                      <a:cubicBezTo>
                        <a:pt x="950197" y="198972"/>
                        <a:pt x="949482" y="197546"/>
                        <a:pt x="949482" y="196833"/>
                      </a:cubicBezTo>
                      <a:cubicBezTo>
                        <a:pt x="949482" y="196120"/>
                        <a:pt x="949482" y="196120"/>
                        <a:pt x="949482" y="195407"/>
                      </a:cubicBezTo>
                      <a:cubicBezTo>
                        <a:pt x="948767" y="194694"/>
                        <a:pt x="948767" y="193268"/>
                        <a:pt x="948767" y="192555"/>
                      </a:cubicBezTo>
                      <a:cubicBezTo>
                        <a:pt x="942331" y="166176"/>
                        <a:pt x="920162" y="140509"/>
                        <a:pt x="885122" y="117695"/>
                      </a:cubicBezTo>
                      <a:cubicBezTo>
                        <a:pt x="883692" y="116982"/>
                        <a:pt x="882261" y="115556"/>
                        <a:pt x="880831" y="114843"/>
                      </a:cubicBezTo>
                      <a:cubicBezTo>
                        <a:pt x="880116" y="114130"/>
                        <a:pt x="880116" y="114130"/>
                        <a:pt x="879401" y="114130"/>
                      </a:cubicBezTo>
                      <a:cubicBezTo>
                        <a:pt x="877971" y="113417"/>
                        <a:pt x="876541" y="111991"/>
                        <a:pt x="875110" y="111278"/>
                      </a:cubicBezTo>
                      <a:cubicBezTo>
                        <a:pt x="875110" y="111278"/>
                        <a:pt x="874395" y="110565"/>
                        <a:pt x="873680" y="110565"/>
                      </a:cubicBezTo>
                      <a:cubicBezTo>
                        <a:pt x="872250" y="109852"/>
                        <a:pt x="871535" y="109139"/>
                        <a:pt x="870105" y="108426"/>
                      </a:cubicBezTo>
                      <a:cubicBezTo>
                        <a:pt x="869389" y="107713"/>
                        <a:pt x="868674" y="107713"/>
                        <a:pt x="867959" y="107000"/>
                      </a:cubicBezTo>
                      <a:cubicBezTo>
                        <a:pt x="866529" y="106287"/>
                        <a:pt x="865814" y="105574"/>
                        <a:pt x="864384" y="104861"/>
                      </a:cubicBezTo>
                      <a:cubicBezTo>
                        <a:pt x="863669" y="104861"/>
                        <a:pt x="862238" y="104148"/>
                        <a:pt x="861523" y="103436"/>
                      </a:cubicBezTo>
                      <a:cubicBezTo>
                        <a:pt x="860808" y="102723"/>
                        <a:pt x="859378" y="102723"/>
                        <a:pt x="858663" y="102010"/>
                      </a:cubicBezTo>
                      <a:cubicBezTo>
                        <a:pt x="857233" y="101297"/>
                        <a:pt x="856517" y="100584"/>
                        <a:pt x="855087" y="99871"/>
                      </a:cubicBezTo>
                      <a:cubicBezTo>
                        <a:pt x="854372" y="99871"/>
                        <a:pt x="852942" y="99158"/>
                        <a:pt x="852227" y="98445"/>
                      </a:cubicBezTo>
                      <a:cubicBezTo>
                        <a:pt x="850797" y="98445"/>
                        <a:pt x="849366" y="97732"/>
                        <a:pt x="848651" y="97019"/>
                      </a:cubicBezTo>
                      <a:cubicBezTo>
                        <a:pt x="847221" y="96306"/>
                        <a:pt x="846506" y="96306"/>
                        <a:pt x="845791" y="95593"/>
                      </a:cubicBezTo>
                      <a:cubicBezTo>
                        <a:pt x="844360" y="94880"/>
                        <a:pt x="842930" y="94167"/>
                        <a:pt x="841500" y="93454"/>
                      </a:cubicBezTo>
                      <a:cubicBezTo>
                        <a:pt x="840785" y="93454"/>
                        <a:pt x="840070" y="92741"/>
                        <a:pt x="839355" y="92028"/>
                      </a:cubicBezTo>
                      <a:cubicBezTo>
                        <a:pt x="837209" y="91315"/>
                        <a:pt x="835779" y="90602"/>
                        <a:pt x="834349" y="90602"/>
                      </a:cubicBezTo>
                      <a:cubicBezTo>
                        <a:pt x="833634" y="89889"/>
                        <a:pt x="832204" y="89176"/>
                        <a:pt x="830773" y="88463"/>
                      </a:cubicBezTo>
                      <a:cubicBezTo>
                        <a:pt x="830058" y="88463"/>
                        <a:pt x="828628" y="87750"/>
                        <a:pt x="827198" y="87038"/>
                      </a:cubicBezTo>
                      <a:cubicBezTo>
                        <a:pt x="825768" y="86325"/>
                        <a:pt x="823622" y="85612"/>
                        <a:pt x="821477" y="84899"/>
                      </a:cubicBezTo>
                      <a:cubicBezTo>
                        <a:pt x="820762" y="84186"/>
                        <a:pt x="820762" y="84186"/>
                        <a:pt x="820047" y="84186"/>
                      </a:cubicBezTo>
                      <a:cubicBezTo>
                        <a:pt x="817186" y="82760"/>
                        <a:pt x="815041" y="82047"/>
                        <a:pt x="812180" y="80621"/>
                      </a:cubicBezTo>
                      <a:cubicBezTo>
                        <a:pt x="806460" y="78482"/>
                        <a:pt x="801454" y="77056"/>
                        <a:pt x="795733" y="74917"/>
                      </a:cubicBezTo>
                      <a:cubicBezTo>
                        <a:pt x="795733" y="74917"/>
                        <a:pt x="795733" y="74917"/>
                        <a:pt x="795018" y="74917"/>
                      </a:cubicBezTo>
                      <a:cubicBezTo>
                        <a:pt x="790012" y="72778"/>
                        <a:pt x="784291" y="70640"/>
                        <a:pt x="778570" y="69214"/>
                      </a:cubicBezTo>
                      <a:cubicBezTo>
                        <a:pt x="778570" y="69214"/>
                        <a:pt x="777855" y="69214"/>
                        <a:pt x="777855" y="68501"/>
                      </a:cubicBezTo>
                      <a:cubicBezTo>
                        <a:pt x="772134" y="67075"/>
                        <a:pt x="766413" y="65649"/>
                        <a:pt x="760692" y="63510"/>
                      </a:cubicBezTo>
                      <a:cubicBezTo>
                        <a:pt x="760692" y="63510"/>
                        <a:pt x="759977" y="63510"/>
                        <a:pt x="759977" y="63510"/>
                      </a:cubicBezTo>
                      <a:cubicBezTo>
                        <a:pt x="754256" y="61371"/>
                        <a:pt x="748535" y="59945"/>
                        <a:pt x="742815" y="58519"/>
                      </a:cubicBezTo>
                      <a:cubicBezTo>
                        <a:pt x="742099" y="58519"/>
                        <a:pt x="741384" y="58519"/>
                        <a:pt x="741384" y="58519"/>
                      </a:cubicBezTo>
                      <a:cubicBezTo>
                        <a:pt x="735663" y="56380"/>
                        <a:pt x="729227" y="54954"/>
                        <a:pt x="723507" y="54242"/>
                      </a:cubicBezTo>
                      <a:cubicBezTo>
                        <a:pt x="722791" y="53529"/>
                        <a:pt x="722791" y="53529"/>
                        <a:pt x="722076" y="53529"/>
                      </a:cubicBezTo>
                      <a:cubicBezTo>
                        <a:pt x="716355" y="52103"/>
                        <a:pt x="709919" y="50677"/>
                        <a:pt x="704198" y="49251"/>
                      </a:cubicBezTo>
                      <a:cubicBezTo>
                        <a:pt x="703483" y="49251"/>
                        <a:pt x="703483" y="49251"/>
                        <a:pt x="702768" y="49251"/>
                      </a:cubicBezTo>
                      <a:cubicBezTo>
                        <a:pt x="696332" y="47825"/>
                        <a:pt x="690611" y="47112"/>
                        <a:pt x="684175" y="45686"/>
                      </a:cubicBezTo>
                      <a:cubicBezTo>
                        <a:pt x="683460" y="45686"/>
                        <a:pt x="683460" y="45686"/>
                        <a:pt x="682745" y="45686"/>
                      </a:cubicBezTo>
                      <a:cubicBezTo>
                        <a:pt x="676309" y="44260"/>
                        <a:pt x="670588" y="42834"/>
                        <a:pt x="664152" y="42121"/>
                      </a:cubicBezTo>
                      <a:cubicBezTo>
                        <a:pt x="663437" y="42121"/>
                        <a:pt x="662722" y="42121"/>
                        <a:pt x="662007" y="42121"/>
                      </a:cubicBezTo>
                      <a:cubicBezTo>
                        <a:pt x="656286" y="40695"/>
                        <a:pt x="649850" y="39982"/>
                        <a:pt x="643414" y="39269"/>
                      </a:cubicBezTo>
                      <a:cubicBezTo>
                        <a:pt x="642699" y="38557"/>
                        <a:pt x="641984" y="38557"/>
                        <a:pt x="641984" y="38557"/>
                      </a:cubicBezTo>
                      <a:cubicBezTo>
                        <a:pt x="635548" y="37844"/>
                        <a:pt x="628397" y="37131"/>
                        <a:pt x="621961" y="36418"/>
                      </a:cubicBezTo>
                      <a:cubicBezTo>
                        <a:pt x="621245" y="36418"/>
                        <a:pt x="621245" y="36418"/>
                        <a:pt x="620530" y="35705"/>
                      </a:cubicBezTo>
                      <a:cubicBezTo>
                        <a:pt x="614094" y="34992"/>
                        <a:pt x="606943" y="34279"/>
                        <a:pt x="600507" y="33566"/>
                      </a:cubicBezTo>
                      <a:cubicBezTo>
                        <a:pt x="599792" y="33566"/>
                        <a:pt x="599792" y="33566"/>
                        <a:pt x="599792" y="33566"/>
                      </a:cubicBezTo>
                      <a:cubicBezTo>
                        <a:pt x="592641" y="32853"/>
                        <a:pt x="585490" y="32140"/>
                        <a:pt x="578339" y="32140"/>
                      </a:cubicBezTo>
                      <a:cubicBezTo>
                        <a:pt x="578339" y="32140"/>
                        <a:pt x="578339" y="32140"/>
                        <a:pt x="577624" y="32140"/>
                      </a:cubicBezTo>
                      <a:cubicBezTo>
                        <a:pt x="570473" y="31427"/>
                        <a:pt x="563321" y="30714"/>
                        <a:pt x="556170" y="30714"/>
                      </a:cubicBezTo>
                      <a:cubicBezTo>
                        <a:pt x="549019" y="30001"/>
                        <a:pt x="541153" y="29288"/>
                        <a:pt x="534002" y="29288"/>
                      </a:cubicBezTo>
                      <a:cubicBezTo>
                        <a:pt x="518984" y="28575"/>
                        <a:pt x="503967" y="28575"/>
                        <a:pt x="488950" y="28575"/>
                      </a:cubicBezTo>
                      <a:cubicBezTo>
                        <a:pt x="485374" y="28575"/>
                        <a:pt x="481083" y="28575"/>
                        <a:pt x="477508" y="28575"/>
                      </a:cubicBezTo>
                      <a:close/>
                      <a:moveTo>
                        <a:pt x="488950" y="0"/>
                      </a:moveTo>
                      <a:cubicBezTo>
                        <a:pt x="613151" y="0"/>
                        <a:pt x="731641" y="19252"/>
                        <a:pt x="821579" y="54903"/>
                      </a:cubicBezTo>
                      <a:cubicBezTo>
                        <a:pt x="912945" y="90555"/>
                        <a:pt x="967193" y="139041"/>
                        <a:pt x="976473" y="192518"/>
                      </a:cubicBezTo>
                      <a:cubicBezTo>
                        <a:pt x="977186" y="193944"/>
                        <a:pt x="977900" y="196083"/>
                        <a:pt x="977900" y="198935"/>
                      </a:cubicBezTo>
                      <a:cubicBezTo>
                        <a:pt x="977900" y="198935"/>
                        <a:pt x="977900" y="198935"/>
                        <a:pt x="977900" y="884870"/>
                      </a:cubicBezTo>
                      <a:cubicBezTo>
                        <a:pt x="977900" y="1001807"/>
                        <a:pt x="763762" y="1093788"/>
                        <a:pt x="488950" y="1093788"/>
                      </a:cubicBezTo>
                      <a:cubicBezTo>
                        <a:pt x="214139" y="1093788"/>
                        <a:pt x="0" y="1001807"/>
                        <a:pt x="0" y="884870"/>
                      </a:cubicBezTo>
                      <a:cubicBezTo>
                        <a:pt x="0" y="881305"/>
                        <a:pt x="0" y="877027"/>
                        <a:pt x="714" y="873462"/>
                      </a:cubicBezTo>
                      <a:cubicBezTo>
                        <a:pt x="714" y="873462"/>
                        <a:pt x="714" y="873462"/>
                        <a:pt x="714" y="220326"/>
                      </a:cubicBezTo>
                      <a:cubicBezTo>
                        <a:pt x="0" y="216761"/>
                        <a:pt x="0" y="212483"/>
                        <a:pt x="0" y="208918"/>
                      </a:cubicBezTo>
                      <a:cubicBezTo>
                        <a:pt x="0" y="91981"/>
                        <a:pt x="214139" y="0"/>
                        <a:pt x="488950" y="0"/>
                      </a:cubicBezTo>
                      <a:close/>
                    </a:path>
                  </a:pathLst>
                </a:custGeom>
                <a:solidFill>
                  <a:schemeClr val="accent1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6" name="Freeform 18">
                  <a:extLst>
                    <a:ext uri="{FF2B5EF4-FFF2-40B4-BE49-F238E27FC236}">
                      <a16:creationId xmlns:a16="http://schemas.microsoft.com/office/drawing/2014/main" id="{11B1FCFE-B5F9-45F6-B095-0EAEFEB8806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667375" y="3184524"/>
                  <a:ext cx="860425" cy="723900"/>
                </a:xfrm>
                <a:custGeom>
                  <a:avLst/>
                  <a:gdLst>
                    <a:gd name="connsiteX0" fmla="*/ 860425 w 860425"/>
                    <a:gd name="connsiteY0" fmla="*/ 434975 h 723900"/>
                    <a:gd name="connsiteX1" fmla="*/ 860425 w 860425"/>
                    <a:gd name="connsiteY1" fmla="*/ 581935 h 723900"/>
                    <a:gd name="connsiteX2" fmla="*/ 743224 w 860425"/>
                    <a:gd name="connsiteY2" fmla="*/ 679670 h 723900"/>
                    <a:gd name="connsiteX3" fmla="*/ 703919 w 860425"/>
                    <a:gd name="connsiteY3" fmla="*/ 693224 h 723900"/>
                    <a:gd name="connsiteX4" fmla="*/ 430927 w 860425"/>
                    <a:gd name="connsiteY4" fmla="*/ 723900 h 723900"/>
                    <a:gd name="connsiteX5" fmla="*/ 155791 w 860425"/>
                    <a:gd name="connsiteY5" fmla="*/ 693224 h 723900"/>
                    <a:gd name="connsiteX6" fmla="*/ 117201 w 860425"/>
                    <a:gd name="connsiteY6" fmla="*/ 679670 h 723900"/>
                    <a:gd name="connsiteX7" fmla="*/ 0 w 860425"/>
                    <a:gd name="connsiteY7" fmla="*/ 581935 h 723900"/>
                    <a:gd name="connsiteX8" fmla="*/ 0 w 860425"/>
                    <a:gd name="connsiteY8" fmla="*/ 579794 h 723900"/>
                    <a:gd name="connsiteX9" fmla="*/ 715 w 860425"/>
                    <a:gd name="connsiteY9" fmla="*/ 577654 h 723900"/>
                    <a:gd name="connsiteX10" fmla="*/ 715 w 860425"/>
                    <a:gd name="connsiteY10" fmla="*/ 436402 h 723900"/>
                    <a:gd name="connsiteX11" fmla="*/ 430927 w 860425"/>
                    <a:gd name="connsiteY11" fmla="*/ 557679 h 723900"/>
                    <a:gd name="connsiteX12" fmla="*/ 860425 w 860425"/>
                    <a:gd name="connsiteY12" fmla="*/ 434975 h 723900"/>
                    <a:gd name="connsiteX13" fmla="*/ 860425 w 860425"/>
                    <a:gd name="connsiteY13" fmla="*/ 214313 h 723900"/>
                    <a:gd name="connsiteX14" fmla="*/ 860425 w 860425"/>
                    <a:gd name="connsiteY14" fmla="*/ 384562 h 723900"/>
                    <a:gd name="connsiteX15" fmla="*/ 430570 w 860425"/>
                    <a:gd name="connsiteY15" fmla="*/ 511176 h 723900"/>
                    <a:gd name="connsiteX16" fmla="*/ 0 w 860425"/>
                    <a:gd name="connsiteY16" fmla="*/ 385993 h 723900"/>
                    <a:gd name="connsiteX17" fmla="*/ 0 w 860425"/>
                    <a:gd name="connsiteY17" fmla="*/ 215744 h 723900"/>
                    <a:gd name="connsiteX18" fmla="*/ 430570 w 860425"/>
                    <a:gd name="connsiteY18" fmla="*/ 340212 h 723900"/>
                    <a:gd name="connsiteX19" fmla="*/ 860425 w 860425"/>
                    <a:gd name="connsiteY19" fmla="*/ 214313 h 723900"/>
                    <a:gd name="connsiteX20" fmla="*/ 860425 w 860425"/>
                    <a:gd name="connsiteY20" fmla="*/ 0 h 723900"/>
                    <a:gd name="connsiteX21" fmla="*/ 860425 w 860425"/>
                    <a:gd name="connsiteY21" fmla="*/ 165508 h 723900"/>
                    <a:gd name="connsiteX22" fmla="*/ 430570 w 860425"/>
                    <a:gd name="connsiteY22" fmla="*/ 288925 h 723900"/>
                    <a:gd name="connsiteX23" fmla="*/ 0 w 860425"/>
                    <a:gd name="connsiteY23" fmla="*/ 166935 h 723900"/>
                    <a:gd name="connsiteX24" fmla="*/ 0 w 860425"/>
                    <a:gd name="connsiteY24" fmla="*/ 1427 h 723900"/>
                    <a:gd name="connsiteX25" fmla="*/ 430570 w 860425"/>
                    <a:gd name="connsiteY25" fmla="*/ 122704 h 723900"/>
                    <a:gd name="connsiteX26" fmla="*/ 860425 w 860425"/>
                    <a:gd name="connsiteY26" fmla="*/ 0 h 7239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</a:cxnLst>
                  <a:rect l="l" t="t" r="r" b="b"/>
                  <a:pathLst>
                    <a:path w="860425" h="723900">
                      <a:moveTo>
                        <a:pt x="860425" y="434975"/>
                      </a:moveTo>
                      <a:cubicBezTo>
                        <a:pt x="860425" y="434975"/>
                        <a:pt x="860425" y="434975"/>
                        <a:pt x="860425" y="581935"/>
                      </a:cubicBezTo>
                      <a:cubicBezTo>
                        <a:pt x="860425" y="614037"/>
                        <a:pt x="815403" y="651847"/>
                        <a:pt x="743224" y="679670"/>
                      </a:cubicBezTo>
                      <a:cubicBezTo>
                        <a:pt x="731076" y="684663"/>
                        <a:pt x="717497" y="688944"/>
                        <a:pt x="703919" y="693224"/>
                      </a:cubicBezTo>
                      <a:cubicBezTo>
                        <a:pt x="629597" y="713199"/>
                        <a:pt x="533835" y="723900"/>
                        <a:pt x="430927" y="723900"/>
                      </a:cubicBezTo>
                      <a:cubicBezTo>
                        <a:pt x="326590" y="723900"/>
                        <a:pt x="230829" y="713199"/>
                        <a:pt x="155791" y="693224"/>
                      </a:cubicBezTo>
                      <a:cubicBezTo>
                        <a:pt x="142213" y="688944"/>
                        <a:pt x="129350" y="684663"/>
                        <a:pt x="117201" y="679670"/>
                      </a:cubicBezTo>
                      <a:cubicBezTo>
                        <a:pt x="45022" y="651847"/>
                        <a:pt x="0" y="614037"/>
                        <a:pt x="0" y="581935"/>
                      </a:cubicBezTo>
                      <a:cubicBezTo>
                        <a:pt x="0" y="581221"/>
                        <a:pt x="0" y="580508"/>
                        <a:pt x="0" y="579794"/>
                      </a:cubicBezTo>
                      <a:cubicBezTo>
                        <a:pt x="0" y="579794"/>
                        <a:pt x="0" y="579794"/>
                        <a:pt x="715" y="577654"/>
                      </a:cubicBezTo>
                      <a:cubicBezTo>
                        <a:pt x="715" y="577654"/>
                        <a:pt x="715" y="577654"/>
                        <a:pt x="715" y="436402"/>
                      </a:cubicBezTo>
                      <a:cubicBezTo>
                        <a:pt x="33588" y="509168"/>
                        <a:pt x="213677" y="557679"/>
                        <a:pt x="430927" y="557679"/>
                      </a:cubicBezTo>
                      <a:cubicBezTo>
                        <a:pt x="648178" y="557679"/>
                        <a:pt x="828981" y="508455"/>
                        <a:pt x="860425" y="434975"/>
                      </a:cubicBezTo>
                      <a:close/>
                      <a:moveTo>
                        <a:pt x="860425" y="214313"/>
                      </a:moveTo>
                      <a:cubicBezTo>
                        <a:pt x="860425" y="214313"/>
                        <a:pt x="860425" y="214313"/>
                        <a:pt x="860425" y="384562"/>
                      </a:cubicBezTo>
                      <a:cubicBezTo>
                        <a:pt x="828955" y="461103"/>
                        <a:pt x="648001" y="511176"/>
                        <a:pt x="430570" y="511176"/>
                      </a:cubicBezTo>
                      <a:cubicBezTo>
                        <a:pt x="213140" y="511176"/>
                        <a:pt x="32901" y="461818"/>
                        <a:pt x="0" y="385993"/>
                      </a:cubicBezTo>
                      <a:cubicBezTo>
                        <a:pt x="0" y="385993"/>
                        <a:pt x="0" y="385993"/>
                        <a:pt x="0" y="215744"/>
                      </a:cubicBezTo>
                      <a:cubicBezTo>
                        <a:pt x="32901" y="290854"/>
                        <a:pt x="213140" y="340212"/>
                        <a:pt x="430570" y="340212"/>
                      </a:cubicBezTo>
                      <a:cubicBezTo>
                        <a:pt x="648001" y="340212"/>
                        <a:pt x="828955" y="290138"/>
                        <a:pt x="860425" y="214313"/>
                      </a:cubicBezTo>
                      <a:close/>
                      <a:moveTo>
                        <a:pt x="860425" y="0"/>
                      </a:moveTo>
                      <a:cubicBezTo>
                        <a:pt x="860425" y="0"/>
                        <a:pt x="860425" y="0"/>
                        <a:pt x="860425" y="165508"/>
                      </a:cubicBezTo>
                      <a:cubicBezTo>
                        <a:pt x="828955" y="239701"/>
                        <a:pt x="648001" y="288925"/>
                        <a:pt x="430570" y="288925"/>
                      </a:cubicBezTo>
                      <a:cubicBezTo>
                        <a:pt x="213140" y="288925"/>
                        <a:pt x="32901" y="240414"/>
                        <a:pt x="0" y="166935"/>
                      </a:cubicBezTo>
                      <a:cubicBezTo>
                        <a:pt x="0" y="166935"/>
                        <a:pt x="0" y="166935"/>
                        <a:pt x="0" y="1427"/>
                      </a:cubicBezTo>
                      <a:cubicBezTo>
                        <a:pt x="32901" y="74193"/>
                        <a:pt x="213140" y="122704"/>
                        <a:pt x="430570" y="122704"/>
                      </a:cubicBezTo>
                      <a:cubicBezTo>
                        <a:pt x="648001" y="122704"/>
                        <a:pt x="828955" y="73480"/>
                        <a:pt x="860425" y="0"/>
                      </a:cubicBezTo>
                      <a:close/>
                    </a:path>
                  </a:pathLst>
                </a:custGeom>
                <a:solidFill>
                  <a:schemeClr val="tx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en-US" dirty="0"/>
                </a:p>
              </p:txBody>
            </p:sp>
          </p:grpSp>
        </p:grpSp>
      </p:grpSp>
      <p:sp>
        <p:nvSpPr>
          <p:cNvPr id="37" name="Fußzeilenplatzhalter 4">
            <a:extLst>
              <a:ext uri="{FF2B5EF4-FFF2-40B4-BE49-F238E27FC236}">
                <a16:creationId xmlns:a16="http://schemas.microsoft.com/office/drawing/2014/main" id="{1E72947A-CC63-E920-2B44-FB0D06FA605F}"/>
              </a:ext>
            </a:extLst>
          </p:cNvPr>
          <p:cNvSpPr txBox="1">
            <a:spLocks/>
          </p:cNvSpPr>
          <p:nvPr/>
        </p:nvSpPr>
        <p:spPr>
          <a:xfrm>
            <a:off x="311162" y="4854985"/>
            <a:ext cx="7829538" cy="28851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1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r>
              <a:rPr lang="en-US" dirty="0">
                <a:latin typeface="Arial"/>
                <a:cs typeface="Arial"/>
              </a:rPr>
              <a:t>◻︎ Outline | ◼︎ </a:t>
            </a:r>
            <a:r>
              <a:rPr lang="en-US" b="1" dirty="0">
                <a:latin typeface="Arial"/>
                <a:cs typeface="Arial"/>
              </a:rPr>
              <a:t>Organizational structure </a:t>
            </a:r>
            <a:r>
              <a:rPr lang="en-US" dirty="0">
                <a:latin typeface="Arial"/>
                <a:cs typeface="Arial"/>
              </a:rPr>
              <a:t>| ◻︎ Research Topics | ◻︎ ML Pipeline  | ◻︎ Next steps</a:t>
            </a:r>
          </a:p>
        </p:txBody>
      </p:sp>
    </p:spTree>
    <p:extLst>
      <p:ext uri="{BB962C8B-B14F-4D97-AF65-F5344CB8AC3E}">
        <p14:creationId xmlns:p14="http://schemas.microsoft.com/office/powerpoint/2010/main" val="34616100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 advTm="20000"/>
    </mc:Choice>
    <mc:Fallback xmlns="">
      <p:transition spd="slow" advClick="0" advTm="20000"/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67DB4390-764A-4A3A-B2CB-92691D915E5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450676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67DB4390-764A-4A3A-B2CB-92691D915E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el 2">
            <a:extLst>
              <a:ext uri="{FF2B5EF4-FFF2-40B4-BE49-F238E27FC236}">
                <a16:creationId xmlns:a16="http://schemas.microsoft.com/office/drawing/2014/main" id="{37327073-11DD-47A1-A0A3-AEC7A599651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7501" y="282065"/>
            <a:ext cx="7891317" cy="380810"/>
          </a:xfrm>
        </p:spPr>
        <p:txBody>
          <a:bodyPr vert="horz"/>
          <a:lstStyle/>
          <a:p>
            <a:r>
              <a:rPr lang="en-CA" dirty="0"/>
              <a:t>How do we move forward?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F623D925-8B03-4C79-B8CE-4001D099571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4</a:t>
            </a:fld>
            <a:endParaRPr lang="de-DE" dirty="0"/>
          </a:p>
        </p:txBody>
      </p:sp>
      <p:pic>
        <p:nvPicPr>
          <p:cNvPr id="8" name="Grafik 2" descr="countdown.gif">
            <a:extLst>
              <a:ext uri="{FF2B5EF4-FFF2-40B4-BE49-F238E27FC236}">
                <a16:creationId xmlns:a16="http://schemas.microsoft.com/office/drawing/2014/main" id="{9F18EF32-707B-47E4-B94B-5CA81854BA99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85113" y="4575685"/>
            <a:ext cx="1258887" cy="571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21" name="Group 20">
            <a:extLst>
              <a:ext uri="{FF2B5EF4-FFF2-40B4-BE49-F238E27FC236}">
                <a16:creationId xmlns:a16="http://schemas.microsoft.com/office/drawing/2014/main" id="{06655653-6EB9-4F94-8135-A212B6494B83}"/>
              </a:ext>
            </a:extLst>
          </p:cNvPr>
          <p:cNvGrpSpPr/>
          <p:nvPr/>
        </p:nvGrpSpPr>
        <p:grpSpPr>
          <a:xfrm>
            <a:off x="1610533" y="1133601"/>
            <a:ext cx="6274580" cy="1169551"/>
            <a:chOff x="1610533" y="1133601"/>
            <a:chExt cx="6274580" cy="1169551"/>
          </a:xfrm>
        </p:grpSpPr>
        <p:sp>
          <p:nvSpPr>
            <p:cNvPr id="11" name="Inhaltsplatzhalter 1">
              <a:extLst>
                <a:ext uri="{FF2B5EF4-FFF2-40B4-BE49-F238E27FC236}">
                  <a16:creationId xmlns:a16="http://schemas.microsoft.com/office/drawing/2014/main" id="{1AB69BFB-612D-4FCB-8F4F-F502B6F59B96}"/>
                </a:ext>
              </a:extLst>
            </p:cNvPr>
            <p:cNvSpPr txBox="1">
              <a:spLocks/>
            </p:cNvSpPr>
            <p:nvPr/>
          </p:nvSpPr>
          <p:spPr>
            <a:xfrm>
              <a:off x="1610533" y="1133601"/>
              <a:ext cx="6274580" cy="338554"/>
            </a:xfrm>
            <a:prstGeom prst="rect">
              <a:avLst/>
            </a:prstGeom>
          </p:spPr>
          <p:txBody>
            <a:bodyPr wrap="square">
              <a:spAutoFit/>
            </a:bodyPr>
            <a:lstStyle>
              <a:lvl1pPr algn="l" rtl="0" eaLnBrk="0" fontAlgn="base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76213" indent="-176213" algn="l" rtl="0" eaLnBrk="0" fontAlgn="base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Font typeface="Arial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60363" indent="-184150" algn="l" rtl="0" eaLnBrk="0" fontAlgn="base" hangingPunct="0">
                <a:lnSpc>
                  <a:spcPct val="125000"/>
                </a:lnSpc>
                <a:spcBef>
                  <a:spcPct val="0"/>
                </a:spcBef>
                <a:spcAft>
                  <a:spcPct val="0"/>
                </a:spcAft>
                <a:buFont typeface="Symbol" pitchFamily="18" charset="2"/>
                <a:buChar char="-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538163" indent="-177800" algn="l" rtl="0" eaLnBrk="0" fontAlgn="base" hangingPunct="0">
                <a:lnSpc>
                  <a:spcPct val="125000"/>
                </a:lnSpc>
                <a:spcBef>
                  <a:spcPct val="0"/>
                </a:spcBef>
                <a:spcAft>
                  <a:spcPct val="0"/>
                </a:spcAft>
                <a:buFont typeface="Symbol" pitchFamily="18" charset="2"/>
                <a:buChar char="-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714375" indent="-176213" algn="l" rtl="0" eaLnBrk="0" fontAlgn="base" hangingPunct="0">
                <a:lnSpc>
                  <a:spcPct val="125000"/>
                </a:lnSpc>
                <a:spcBef>
                  <a:spcPct val="0"/>
                </a:spcBef>
                <a:spcAft>
                  <a:spcPct val="0"/>
                </a:spcAft>
                <a:buFont typeface="Symbol" pitchFamily="18" charset="2"/>
                <a:buChar char="-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spcAft>
                  <a:spcPts val="600"/>
                </a:spcAft>
              </a:pPr>
              <a:r>
                <a:rPr lang="en-IE" b="1" dirty="0"/>
                <a:t>All-hands meeting </a:t>
              </a:r>
              <a:r>
                <a:rPr lang="en-IE" dirty="0"/>
                <a:t>every Monday for updates</a:t>
              </a:r>
            </a:p>
          </p:txBody>
        </p:sp>
        <p:sp>
          <p:nvSpPr>
            <p:cNvPr id="17" name="Inhaltsplatzhalter 1">
              <a:extLst>
                <a:ext uri="{FF2B5EF4-FFF2-40B4-BE49-F238E27FC236}">
                  <a16:creationId xmlns:a16="http://schemas.microsoft.com/office/drawing/2014/main" id="{4C678149-E1EC-4647-A7BC-C99269E81553}"/>
                </a:ext>
              </a:extLst>
            </p:cNvPr>
            <p:cNvSpPr txBox="1">
              <a:spLocks/>
            </p:cNvSpPr>
            <p:nvPr/>
          </p:nvSpPr>
          <p:spPr>
            <a:xfrm>
              <a:off x="1610533" y="1472155"/>
              <a:ext cx="6274580" cy="830997"/>
            </a:xfrm>
            <a:prstGeom prst="rect">
              <a:avLst/>
            </a:prstGeom>
          </p:spPr>
          <p:txBody>
            <a:bodyPr wrap="square">
              <a:spAutoFit/>
            </a:bodyPr>
            <a:lstStyle>
              <a:lvl1pPr algn="l" rtl="0" eaLnBrk="0" fontAlgn="base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76213" indent="-176213" algn="l" rtl="0" eaLnBrk="0" fontAlgn="base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Font typeface="Arial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60363" indent="-184150" algn="l" rtl="0" eaLnBrk="0" fontAlgn="base" hangingPunct="0">
                <a:lnSpc>
                  <a:spcPct val="125000"/>
                </a:lnSpc>
                <a:spcBef>
                  <a:spcPct val="0"/>
                </a:spcBef>
                <a:spcAft>
                  <a:spcPct val="0"/>
                </a:spcAft>
                <a:buFont typeface="Symbol" pitchFamily="18" charset="2"/>
                <a:buChar char="-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538163" indent="-177800" algn="l" rtl="0" eaLnBrk="0" fontAlgn="base" hangingPunct="0">
                <a:lnSpc>
                  <a:spcPct val="125000"/>
                </a:lnSpc>
                <a:spcBef>
                  <a:spcPct val="0"/>
                </a:spcBef>
                <a:spcAft>
                  <a:spcPct val="0"/>
                </a:spcAft>
                <a:buFont typeface="Symbol" pitchFamily="18" charset="2"/>
                <a:buChar char="-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714375" indent="-176213" algn="l" rtl="0" eaLnBrk="0" fontAlgn="base" hangingPunct="0">
                <a:lnSpc>
                  <a:spcPct val="125000"/>
                </a:lnSpc>
                <a:spcBef>
                  <a:spcPct val="0"/>
                </a:spcBef>
                <a:spcAft>
                  <a:spcPct val="0"/>
                </a:spcAft>
                <a:buFont typeface="Symbol" pitchFamily="18" charset="2"/>
                <a:buChar char="-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324000" lvl="1" indent="-216000">
                <a:spcBef>
                  <a:spcPts val="0"/>
                </a:spcBef>
                <a:spcAft>
                  <a:spcPts val="0"/>
                </a:spcAft>
                <a:buClr>
                  <a:schemeClr val="tx2"/>
                </a:buClr>
                <a:buFont typeface="Trebuchet MS" panose="020B0603020202020204" pitchFamily="34" charset="0"/>
              </a:pPr>
              <a:r>
                <a:rPr lang="en-US" dirty="0"/>
                <a:t>Regular updates for the complete group</a:t>
              </a:r>
            </a:p>
            <a:p>
              <a:pPr marL="324000" lvl="1" indent="-216000">
                <a:spcBef>
                  <a:spcPts val="0"/>
                </a:spcBef>
                <a:spcAft>
                  <a:spcPts val="0"/>
                </a:spcAft>
                <a:buClr>
                  <a:schemeClr val="tx2"/>
                </a:buClr>
                <a:buFont typeface="Trebuchet MS" panose="020B0603020202020204" pitchFamily="34" charset="0"/>
              </a:pPr>
              <a:r>
                <a:rPr lang="en-US" dirty="0"/>
                <a:t>Assigning tasks and responsibilities</a:t>
              </a:r>
            </a:p>
            <a:p>
              <a:pPr marL="324000" lvl="1" indent="-216000">
                <a:spcBef>
                  <a:spcPts val="0"/>
                </a:spcBef>
                <a:spcAft>
                  <a:spcPts val="0"/>
                </a:spcAft>
                <a:buClr>
                  <a:schemeClr val="tx2"/>
                </a:buClr>
                <a:buFont typeface="Trebuchet MS" panose="020B0603020202020204" pitchFamily="34" charset="0"/>
              </a:pPr>
              <a:r>
                <a:rPr lang="en-US" dirty="0"/>
                <a:t>Review equal task load assignment</a:t>
              </a:r>
            </a:p>
          </p:txBody>
        </p:sp>
      </p:grpSp>
      <p:grpSp>
        <p:nvGrpSpPr>
          <p:cNvPr id="24" name="Group 23">
            <a:extLst>
              <a:ext uri="{FF2B5EF4-FFF2-40B4-BE49-F238E27FC236}">
                <a16:creationId xmlns:a16="http://schemas.microsoft.com/office/drawing/2014/main" id="{B81B7550-3279-4837-AF9F-DD61D35A4C1D}"/>
              </a:ext>
            </a:extLst>
          </p:cNvPr>
          <p:cNvGrpSpPr/>
          <p:nvPr/>
        </p:nvGrpSpPr>
        <p:grpSpPr>
          <a:xfrm>
            <a:off x="1610533" y="2574760"/>
            <a:ext cx="6274580" cy="677108"/>
            <a:chOff x="1610533" y="3405142"/>
            <a:chExt cx="6274580" cy="677108"/>
          </a:xfrm>
        </p:grpSpPr>
        <p:sp>
          <p:nvSpPr>
            <p:cNvPr id="12" name="Inhaltsplatzhalter 1">
              <a:extLst>
                <a:ext uri="{FF2B5EF4-FFF2-40B4-BE49-F238E27FC236}">
                  <a16:creationId xmlns:a16="http://schemas.microsoft.com/office/drawing/2014/main" id="{D9952EF6-D83A-413C-B40D-DE93DCE86FAA}"/>
                </a:ext>
              </a:extLst>
            </p:cNvPr>
            <p:cNvSpPr txBox="1">
              <a:spLocks/>
            </p:cNvSpPr>
            <p:nvPr/>
          </p:nvSpPr>
          <p:spPr>
            <a:xfrm>
              <a:off x="1610533" y="3405142"/>
              <a:ext cx="5715818" cy="338554"/>
            </a:xfrm>
            <a:prstGeom prst="rect">
              <a:avLst/>
            </a:prstGeom>
          </p:spPr>
          <p:txBody>
            <a:bodyPr wrap="square">
              <a:spAutoFit/>
            </a:bodyPr>
            <a:lstStyle>
              <a:lvl1pPr algn="l" rtl="0" eaLnBrk="0" fontAlgn="base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76213" indent="-176213" algn="l" rtl="0" eaLnBrk="0" fontAlgn="base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Font typeface="Arial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60363" indent="-184150" algn="l" rtl="0" eaLnBrk="0" fontAlgn="base" hangingPunct="0">
                <a:lnSpc>
                  <a:spcPct val="125000"/>
                </a:lnSpc>
                <a:spcBef>
                  <a:spcPct val="0"/>
                </a:spcBef>
                <a:spcAft>
                  <a:spcPct val="0"/>
                </a:spcAft>
                <a:buFont typeface="Symbol" pitchFamily="18" charset="2"/>
                <a:buChar char="-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538163" indent="-177800" algn="l" rtl="0" eaLnBrk="0" fontAlgn="base" hangingPunct="0">
                <a:lnSpc>
                  <a:spcPct val="125000"/>
                </a:lnSpc>
                <a:spcBef>
                  <a:spcPct val="0"/>
                </a:spcBef>
                <a:spcAft>
                  <a:spcPct val="0"/>
                </a:spcAft>
                <a:buFont typeface="Symbol" pitchFamily="18" charset="2"/>
                <a:buChar char="-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714375" indent="-176213" algn="l" rtl="0" eaLnBrk="0" fontAlgn="base" hangingPunct="0">
                <a:lnSpc>
                  <a:spcPct val="125000"/>
                </a:lnSpc>
                <a:spcBef>
                  <a:spcPct val="0"/>
                </a:spcBef>
                <a:spcAft>
                  <a:spcPct val="0"/>
                </a:spcAft>
                <a:buFont typeface="Symbol" pitchFamily="18" charset="2"/>
                <a:buChar char="-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spcAft>
                  <a:spcPts val="600"/>
                </a:spcAft>
              </a:pPr>
              <a:r>
                <a:rPr lang="en-US"/>
                <a:t>Additional </a:t>
              </a:r>
              <a:r>
                <a:rPr lang="en-US" b="1"/>
                <a:t>topic specific meetings </a:t>
              </a:r>
              <a:r>
                <a:rPr lang="en-US"/>
                <a:t>in smaller groups</a:t>
              </a:r>
            </a:p>
          </p:txBody>
        </p:sp>
        <p:sp>
          <p:nvSpPr>
            <p:cNvPr id="20" name="Inhaltsplatzhalter 1">
              <a:extLst>
                <a:ext uri="{FF2B5EF4-FFF2-40B4-BE49-F238E27FC236}">
                  <a16:creationId xmlns:a16="http://schemas.microsoft.com/office/drawing/2014/main" id="{9C2E0D42-CCC5-4274-826E-E18A0D14B6BC}"/>
                </a:ext>
              </a:extLst>
            </p:cNvPr>
            <p:cNvSpPr txBox="1">
              <a:spLocks/>
            </p:cNvSpPr>
            <p:nvPr/>
          </p:nvSpPr>
          <p:spPr>
            <a:xfrm>
              <a:off x="1610533" y="3743696"/>
              <a:ext cx="6274580" cy="338554"/>
            </a:xfrm>
            <a:prstGeom prst="rect">
              <a:avLst/>
            </a:prstGeom>
          </p:spPr>
          <p:txBody>
            <a:bodyPr wrap="square">
              <a:spAutoFit/>
            </a:bodyPr>
            <a:lstStyle>
              <a:lvl1pPr algn="l" rtl="0" eaLnBrk="0" fontAlgn="base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76213" indent="-176213" algn="l" rtl="0" eaLnBrk="0" fontAlgn="base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Font typeface="Arial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60363" indent="-184150" algn="l" rtl="0" eaLnBrk="0" fontAlgn="base" hangingPunct="0">
                <a:lnSpc>
                  <a:spcPct val="125000"/>
                </a:lnSpc>
                <a:spcBef>
                  <a:spcPct val="0"/>
                </a:spcBef>
                <a:spcAft>
                  <a:spcPct val="0"/>
                </a:spcAft>
                <a:buFont typeface="Symbol" pitchFamily="18" charset="2"/>
                <a:buChar char="-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538163" indent="-177800" algn="l" rtl="0" eaLnBrk="0" fontAlgn="base" hangingPunct="0">
                <a:lnSpc>
                  <a:spcPct val="125000"/>
                </a:lnSpc>
                <a:spcBef>
                  <a:spcPct val="0"/>
                </a:spcBef>
                <a:spcAft>
                  <a:spcPct val="0"/>
                </a:spcAft>
                <a:buFont typeface="Symbol" pitchFamily="18" charset="2"/>
                <a:buChar char="-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714375" indent="-176213" algn="l" rtl="0" eaLnBrk="0" fontAlgn="base" hangingPunct="0">
                <a:lnSpc>
                  <a:spcPct val="125000"/>
                </a:lnSpc>
                <a:spcBef>
                  <a:spcPct val="0"/>
                </a:spcBef>
                <a:spcAft>
                  <a:spcPct val="0"/>
                </a:spcAft>
                <a:buFont typeface="Symbol" pitchFamily="18" charset="2"/>
                <a:buChar char="-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324000" lvl="1" indent="-216000">
                <a:spcBef>
                  <a:spcPts val="0"/>
                </a:spcBef>
                <a:spcAft>
                  <a:spcPts val="0"/>
                </a:spcAft>
                <a:buClr>
                  <a:schemeClr val="tx2"/>
                </a:buClr>
                <a:buFont typeface="Trebuchet MS" panose="020B0603020202020204" pitchFamily="34" charset="0"/>
              </a:pPr>
              <a:r>
                <a:rPr lang="en-US"/>
                <a:t>Detailed review of specific problems</a:t>
              </a:r>
            </a:p>
          </p:txBody>
        </p:sp>
      </p:grpSp>
      <p:grpSp>
        <p:nvGrpSpPr>
          <p:cNvPr id="23" name="Group 22">
            <a:extLst>
              <a:ext uri="{FF2B5EF4-FFF2-40B4-BE49-F238E27FC236}">
                <a16:creationId xmlns:a16="http://schemas.microsoft.com/office/drawing/2014/main" id="{E90EA0DA-E097-43FE-B6CD-E66A1A1E67D4}"/>
              </a:ext>
            </a:extLst>
          </p:cNvPr>
          <p:cNvGrpSpPr/>
          <p:nvPr/>
        </p:nvGrpSpPr>
        <p:grpSpPr>
          <a:xfrm>
            <a:off x="1610533" y="3475673"/>
            <a:ext cx="6274580" cy="923329"/>
            <a:chOff x="1610533" y="2243610"/>
            <a:chExt cx="6274580" cy="923329"/>
          </a:xfrm>
        </p:grpSpPr>
        <p:sp>
          <p:nvSpPr>
            <p:cNvPr id="13" name="Inhaltsplatzhalter 1">
              <a:extLst>
                <a:ext uri="{FF2B5EF4-FFF2-40B4-BE49-F238E27FC236}">
                  <a16:creationId xmlns:a16="http://schemas.microsoft.com/office/drawing/2014/main" id="{D77EFCDC-CF62-4514-A2F1-1995587ACB8E}"/>
                </a:ext>
              </a:extLst>
            </p:cNvPr>
            <p:cNvSpPr txBox="1">
              <a:spLocks/>
            </p:cNvSpPr>
            <p:nvPr/>
          </p:nvSpPr>
          <p:spPr>
            <a:xfrm>
              <a:off x="1610533" y="2243610"/>
              <a:ext cx="5715818" cy="338554"/>
            </a:xfrm>
            <a:prstGeom prst="rect">
              <a:avLst/>
            </a:prstGeom>
          </p:spPr>
          <p:txBody>
            <a:bodyPr wrap="square">
              <a:spAutoFit/>
            </a:bodyPr>
            <a:lstStyle>
              <a:lvl1pPr algn="l" rtl="0" eaLnBrk="0" fontAlgn="base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76213" indent="-176213" algn="l" rtl="0" eaLnBrk="0" fontAlgn="base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Font typeface="Arial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60363" indent="-184150" algn="l" rtl="0" eaLnBrk="0" fontAlgn="base" hangingPunct="0">
                <a:lnSpc>
                  <a:spcPct val="125000"/>
                </a:lnSpc>
                <a:spcBef>
                  <a:spcPct val="0"/>
                </a:spcBef>
                <a:spcAft>
                  <a:spcPct val="0"/>
                </a:spcAft>
                <a:buFont typeface="Symbol" pitchFamily="18" charset="2"/>
                <a:buChar char="-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538163" indent="-177800" algn="l" rtl="0" eaLnBrk="0" fontAlgn="base" hangingPunct="0">
                <a:lnSpc>
                  <a:spcPct val="125000"/>
                </a:lnSpc>
                <a:spcBef>
                  <a:spcPct val="0"/>
                </a:spcBef>
                <a:spcAft>
                  <a:spcPct val="0"/>
                </a:spcAft>
                <a:buFont typeface="Symbol" pitchFamily="18" charset="2"/>
                <a:buChar char="-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714375" indent="-176213" algn="l" rtl="0" eaLnBrk="0" fontAlgn="base" hangingPunct="0">
                <a:lnSpc>
                  <a:spcPct val="125000"/>
                </a:lnSpc>
                <a:spcBef>
                  <a:spcPct val="0"/>
                </a:spcBef>
                <a:spcAft>
                  <a:spcPct val="0"/>
                </a:spcAft>
                <a:buFont typeface="Symbol" pitchFamily="18" charset="2"/>
                <a:buChar char="-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spcAft>
                  <a:spcPts val="600"/>
                </a:spcAft>
              </a:pPr>
              <a:r>
                <a:rPr lang="en-US" b="1"/>
                <a:t>Paper reading </a:t>
              </a:r>
              <a:r>
                <a:rPr lang="en-US"/>
                <a:t>circle</a:t>
              </a:r>
            </a:p>
          </p:txBody>
        </p:sp>
        <p:sp>
          <p:nvSpPr>
            <p:cNvPr id="19" name="Inhaltsplatzhalter 1">
              <a:extLst>
                <a:ext uri="{FF2B5EF4-FFF2-40B4-BE49-F238E27FC236}">
                  <a16:creationId xmlns:a16="http://schemas.microsoft.com/office/drawing/2014/main" id="{58FE10C2-8209-480C-A7C3-C2F8E397E65A}"/>
                </a:ext>
              </a:extLst>
            </p:cNvPr>
            <p:cNvSpPr txBox="1">
              <a:spLocks/>
            </p:cNvSpPr>
            <p:nvPr/>
          </p:nvSpPr>
          <p:spPr>
            <a:xfrm>
              <a:off x="1610533" y="2582164"/>
              <a:ext cx="6274580" cy="584775"/>
            </a:xfrm>
            <a:prstGeom prst="rect">
              <a:avLst/>
            </a:prstGeom>
          </p:spPr>
          <p:txBody>
            <a:bodyPr wrap="square">
              <a:spAutoFit/>
            </a:bodyPr>
            <a:lstStyle>
              <a:lvl1pPr algn="l" rtl="0" eaLnBrk="0" fontAlgn="base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76213" indent="-176213" algn="l" rtl="0" eaLnBrk="0" fontAlgn="base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Font typeface="Arial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60363" indent="-184150" algn="l" rtl="0" eaLnBrk="0" fontAlgn="base" hangingPunct="0">
                <a:lnSpc>
                  <a:spcPct val="125000"/>
                </a:lnSpc>
                <a:spcBef>
                  <a:spcPct val="0"/>
                </a:spcBef>
                <a:spcAft>
                  <a:spcPct val="0"/>
                </a:spcAft>
                <a:buFont typeface="Symbol" pitchFamily="18" charset="2"/>
                <a:buChar char="-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538163" indent="-177800" algn="l" rtl="0" eaLnBrk="0" fontAlgn="base" hangingPunct="0">
                <a:lnSpc>
                  <a:spcPct val="125000"/>
                </a:lnSpc>
                <a:spcBef>
                  <a:spcPct val="0"/>
                </a:spcBef>
                <a:spcAft>
                  <a:spcPct val="0"/>
                </a:spcAft>
                <a:buFont typeface="Symbol" pitchFamily="18" charset="2"/>
                <a:buChar char="-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714375" indent="-176213" algn="l" rtl="0" eaLnBrk="0" fontAlgn="base" hangingPunct="0">
                <a:lnSpc>
                  <a:spcPct val="125000"/>
                </a:lnSpc>
                <a:spcBef>
                  <a:spcPct val="0"/>
                </a:spcBef>
                <a:spcAft>
                  <a:spcPct val="0"/>
                </a:spcAft>
                <a:buFont typeface="Symbol" pitchFamily="18" charset="2"/>
                <a:buChar char="-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324000" lvl="1" indent="-216000">
                <a:spcBef>
                  <a:spcPts val="0"/>
                </a:spcBef>
                <a:spcAft>
                  <a:spcPts val="0"/>
                </a:spcAft>
                <a:buClr>
                  <a:schemeClr val="tx2"/>
                </a:buClr>
                <a:buFont typeface="Trebuchet MS" panose="020B0603020202020204" pitchFamily="34" charset="0"/>
              </a:pPr>
              <a:r>
                <a:rPr lang="en-US" dirty="0"/>
                <a:t>Presentation and discussion of relevant research topics</a:t>
              </a:r>
            </a:p>
            <a:p>
              <a:pPr marL="324000" lvl="1" indent="-216000">
                <a:spcBef>
                  <a:spcPts val="0"/>
                </a:spcBef>
                <a:spcAft>
                  <a:spcPts val="0"/>
                </a:spcAft>
                <a:buClr>
                  <a:schemeClr val="tx2"/>
                </a:buClr>
                <a:buFont typeface="Trebuchet MS" panose="020B0603020202020204" pitchFamily="34" charset="0"/>
                <a:buChar char="•"/>
              </a:pPr>
              <a:r>
                <a:rPr lang="en-US" dirty="0"/>
                <a:t>Documentation of results on Wiki</a:t>
              </a:r>
            </a:p>
          </p:txBody>
        </p:sp>
      </p:grpSp>
      <p:grpSp>
        <p:nvGrpSpPr>
          <p:cNvPr id="25" name="Group 24">
            <a:extLst>
              <a:ext uri="{FF2B5EF4-FFF2-40B4-BE49-F238E27FC236}">
                <a16:creationId xmlns:a16="http://schemas.microsoft.com/office/drawing/2014/main" id="{E5114EC0-C396-40A3-BFA0-FC150C28C65F}"/>
              </a:ext>
            </a:extLst>
          </p:cNvPr>
          <p:cNvGrpSpPr>
            <a:grpSpLocks noChangeAspect="1"/>
          </p:cNvGrpSpPr>
          <p:nvPr/>
        </p:nvGrpSpPr>
        <p:grpSpPr>
          <a:xfrm>
            <a:off x="577535" y="1196499"/>
            <a:ext cx="1043756" cy="1043756"/>
            <a:chOff x="5273675" y="2606675"/>
            <a:chExt cx="1644650" cy="1644650"/>
          </a:xfrm>
        </p:grpSpPr>
        <p:sp>
          <p:nvSpPr>
            <p:cNvPr id="26" name="AutoShape 3">
              <a:extLst>
                <a:ext uri="{FF2B5EF4-FFF2-40B4-BE49-F238E27FC236}">
                  <a16:creationId xmlns:a16="http://schemas.microsoft.com/office/drawing/2014/main" id="{407A7AEC-9FB1-484B-9048-28A2129EF9EC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5273675" y="2606675"/>
              <a:ext cx="1644650" cy="16446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A086EE1D-94FD-4D1A-835A-1F6370A6F00E}"/>
                </a:ext>
              </a:extLst>
            </p:cNvPr>
            <p:cNvGrpSpPr/>
            <p:nvPr/>
          </p:nvGrpSpPr>
          <p:grpSpPr>
            <a:xfrm>
              <a:off x="5332413" y="3094038"/>
              <a:ext cx="1533525" cy="614362"/>
              <a:chOff x="5332413" y="3094038"/>
              <a:chExt cx="1533525" cy="614362"/>
            </a:xfrm>
          </p:grpSpPr>
          <p:sp>
            <p:nvSpPr>
              <p:cNvPr id="28" name="Freeform 10">
                <a:extLst>
                  <a:ext uri="{FF2B5EF4-FFF2-40B4-BE49-F238E27FC236}">
                    <a16:creationId xmlns:a16="http://schemas.microsoft.com/office/drawing/2014/main" id="{1E2AF7B0-9666-4F82-AEC8-F48C7970EEB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32413" y="3094038"/>
                <a:ext cx="1533525" cy="542925"/>
              </a:xfrm>
              <a:custGeom>
                <a:avLst/>
                <a:gdLst>
                  <a:gd name="connsiteX0" fmla="*/ 1246187 w 1533525"/>
                  <a:gd name="connsiteY0" fmla="*/ 511175 h 542925"/>
                  <a:gd name="connsiteX1" fmla="*/ 1517878 w 1533525"/>
                  <a:gd name="connsiteY1" fmla="*/ 511175 h 542925"/>
                  <a:gd name="connsiteX2" fmla="*/ 1533525 w 1533525"/>
                  <a:gd name="connsiteY2" fmla="*/ 527050 h 542925"/>
                  <a:gd name="connsiteX3" fmla="*/ 1517878 w 1533525"/>
                  <a:gd name="connsiteY3" fmla="*/ 542925 h 542925"/>
                  <a:gd name="connsiteX4" fmla="*/ 1255433 w 1533525"/>
                  <a:gd name="connsiteY4" fmla="*/ 542925 h 542925"/>
                  <a:gd name="connsiteX5" fmla="*/ 1246187 w 1533525"/>
                  <a:gd name="connsiteY5" fmla="*/ 511175 h 542925"/>
                  <a:gd name="connsiteX6" fmla="*/ 735012 w 1533525"/>
                  <a:gd name="connsiteY6" fmla="*/ 511175 h 542925"/>
                  <a:gd name="connsiteX7" fmla="*/ 792162 w 1533525"/>
                  <a:gd name="connsiteY7" fmla="*/ 511175 h 542925"/>
                  <a:gd name="connsiteX8" fmla="*/ 783101 w 1533525"/>
                  <a:gd name="connsiteY8" fmla="*/ 542925 h 542925"/>
                  <a:gd name="connsiteX9" fmla="*/ 744072 w 1533525"/>
                  <a:gd name="connsiteY9" fmla="*/ 542925 h 542925"/>
                  <a:gd name="connsiteX10" fmla="*/ 735012 w 1533525"/>
                  <a:gd name="connsiteY10" fmla="*/ 511175 h 542925"/>
                  <a:gd name="connsiteX11" fmla="*/ 15650 w 1533525"/>
                  <a:gd name="connsiteY11" fmla="*/ 511175 h 542925"/>
                  <a:gd name="connsiteX12" fmla="*/ 280988 w 1533525"/>
                  <a:gd name="connsiteY12" fmla="*/ 511175 h 542925"/>
                  <a:gd name="connsiteX13" fmla="*/ 271740 w 1533525"/>
                  <a:gd name="connsiteY13" fmla="*/ 542925 h 542925"/>
                  <a:gd name="connsiteX14" fmla="*/ 15650 w 1533525"/>
                  <a:gd name="connsiteY14" fmla="*/ 542925 h 542925"/>
                  <a:gd name="connsiteX15" fmla="*/ 0 w 1533525"/>
                  <a:gd name="connsiteY15" fmla="*/ 527050 h 542925"/>
                  <a:gd name="connsiteX16" fmla="*/ 15650 w 1533525"/>
                  <a:gd name="connsiteY16" fmla="*/ 511175 h 542925"/>
                  <a:gd name="connsiteX17" fmla="*/ 764317 w 1533525"/>
                  <a:gd name="connsiteY17" fmla="*/ 349250 h 542925"/>
                  <a:gd name="connsiteX18" fmla="*/ 778175 w 1533525"/>
                  <a:gd name="connsiteY18" fmla="*/ 350679 h 542925"/>
                  <a:gd name="connsiteX19" fmla="*/ 788387 w 1533525"/>
                  <a:gd name="connsiteY19" fmla="*/ 352822 h 542925"/>
                  <a:gd name="connsiteX20" fmla="*/ 789845 w 1533525"/>
                  <a:gd name="connsiteY20" fmla="*/ 355680 h 542925"/>
                  <a:gd name="connsiteX21" fmla="*/ 773799 w 1533525"/>
                  <a:gd name="connsiteY21" fmla="*/ 380683 h 542925"/>
                  <a:gd name="connsiteX22" fmla="*/ 773799 w 1533525"/>
                  <a:gd name="connsiteY22" fmla="*/ 382826 h 542925"/>
                  <a:gd name="connsiteX23" fmla="*/ 789116 w 1533525"/>
                  <a:gd name="connsiteY23" fmla="*/ 477838 h 542925"/>
                  <a:gd name="connsiteX24" fmla="*/ 736600 w 1533525"/>
                  <a:gd name="connsiteY24" fmla="*/ 477838 h 542925"/>
                  <a:gd name="connsiteX25" fmla="*/ 753376 w 1533525"/>
                  <a:gd name="connsiteY25" fmla="*/ 382826 h 542925"/>
                  <a:gd name="connsiteX26" fmla="*/ 753376 w 1533525"/>
                  <a:gd name="connsiteY26" fmla="*/ 380683 h 542925"/>
                  <a:gd name="connsiteX27" fmla="*/ 737329 w 1533525"/>
                  <a:gd name="connsiteY27" fmla="*/ 355680 h 542925"/>
                  <a:gd name="connsiteX28" fmla="*/ 738788 w 1533525"/>
                  <a:gd name="connsiteY28" fmla="*/ 352822 h 542925"/>
                  <a:gd name="connsiteX29" fmla="*/ 749729 w 1533525"/>
                  <a:gd name="connsiteY29" fmla="*/ 350679 h 542925"/>
                  <a:gd name="connsiteX30" fmla="*/ 764317 w 1533525"/>
                  <a:gd name="connsiteY30" fmla="*/ 349250 h 542925"/>
                  <a:gd name="connsiteX31" fmla="*/ 1200963 w 1533525"/>
                  <a:gd name="connsiteY31" fmla="*/ 334962 h 542925"/>
                  <a:gd name="connsiteX32" fmla="*/ 1203105 w 1533525"/>
                  <a:gd name="connsiteY32" fmla="*/ 337095 h 542925"/>
                  <a:gd name="connsiteX33" fmla="*/ 1268787 w 1533525"/>
                  <a:gd name="connsiteY33" fmla="*/ 409598 h 542925"/>
                  <a:gd name="connsiteX34" fmla="*/ 1280210 w 1533525"/>
                  <a:gd name="connsiteY34" fmla="*/ 409598 h 542925"/>
                  <a:gd name="connsiteX35" fmla="*/ 1345893 w 1533525"/>
                  <a:gd name="connsiteY35" fmla="*/ 337095 h 542925"/>
                  <a:gd name="connsiteX36" fmla="*/ 1348034 w 1533525"/>
                  <a:gd name="connsiteY36" fmla="*/ 334962 h 542925"/>
                  <a:gd name="connsiteX37" fmla="*/ 1441561 w 1533525"/>
                  <a:gd name="connsiteY37" fmla="*/ 351311 h 542925"/>
                  <a:gd name="connsiteX38" fmla="*/ 1492250 w 1533525"/>
                  <a:gd name="connsiteY38" fmla="*/ 477837 h 542925"/>
                  <a:gd name="connsiteX39" fmla="*/ 1232376 w 1533525"/>
                  <a:gd name="connsiteY39" fmla="*/ 477837 h 542925"/>
                  <a:gd name="connsiteX40" fmla="*/ 1198821 w 1533525"/>
                  <a:gd name="connsiteY40" fmla="*/ 440164 h 542925"/>
                  <a:gd name="connsiteX41" fmla="*/ 1101725 w 1533525"/>
                  <a:gd name="connsiteY41" fmla="*/ 421682 h 542925"/>
                  <a:gd name="connsiteX42" fmla="*/ 1111720 w 1533525"/>
                  <a:gd name="connsiteY42" fmla="*/ 409598 h 542925"/>
                  <a:gd name="connsiteX43" fmla="*/ 1112434 w 1533525"/>
                  <a:gd name="connsiteY43" fmla="*/ 408177 h 542925"/>
                  <a:gd name="connsiteX44" fmla="*/ 1118859 w 1533525"/>
                  <a:gd name="connsiteY44" fmla="*/ 394671 h 542925"/>
                  <a:gd name="connsiteX45" fmla="*/ 1120287 w 1533525"/>
                  <a:gd name="connsiteY45" fmla="*/ 390406 h 542925"/>
                  <a:gd name="connsiteX46" fmla="*/ 1155271 w 1533525"/>
                  <a:gd name="connsiteY46" fmla="*/ 338516 h 542925"/>
                  <a:gd name="connsiteX47" fmla="*/ 1200963 w 1533525"/>
                  <a:gd name="connsiteY47" fmla="*/ 334962 h 542925"/>
                  <a:gd name="connsiteX48" fmla="*/ 837524 w 1533525"/>
                  <a:gd name="connsiteY48" fmla="*/ 334962 h 542925"/>
                  <a:gd name="connsiteX49" fmla="*/ 883153 w 1533525"/>
                  <a:gd name="connsiteY49" fmla="*/ 338545 h 542925"/>
                  <a:gd name="connsiteX50" fmla="*/ 917375 w 1533525"/>
                  <a:gd name="connsiteY50" fmla="*/ 389427 h 542925"/>
                  <a:gd name="connsiteX51" fmla="*/ 919514 w 1533525"/>
                  <a:gd name="connsiteY51" fmla="*/ 395160 h 542925"/>
                  <a:gd name="connsiteX52" fmla="*/ 928069 w 1533525"/>
                  <a:gd name="connsiteY52" fmla="*/ 412360 h 542925"/>
                  <a:gd name="connsiteX53" fmla="*/ 936625 w 1533525"/>
                  <a:gd name="connsiteY53" fmla="*/ 422393 h 542925"/>
                  <a:gd name="connsiteX54" fmla="*/ 839663 w 1533525"/>
                  <a:gd name="connsiteY54" fmla="*/ 441026 h 542925"/>
                  <a:gd name="connsiteX55" fmla="*/ 817562 w 1533525"/>
                  <a:gd name="connsiteY55" fmla="*/ 460375 h 542925"/>
                  <a:gd name="connsiteX56" fmla="*/ 835386 w 1533525"/>
                  <a:gd name="connsiteY56" fmla="*/ 337112 h 542925"/>
                  <a:gd name="connsiteX57" fmla="*/ 837524 w 1533525"/>
                  <a:gd name="connsiteY57" fmla="*/ 334962 h 542925"/>
                  <a:gd name="connsiteX58" fmla="*/ 689650 w 1533525"/>
                  <a:gd name="connsiteY58" fmla="*/ 334962 h 542925"/>
                  <a:gd name="connsiteX59" fmla="*/ 691789 w 1533525"/>
                  <a:gd name="connsiteY59" fmla="*/ 337112 h 542925"/>
                  <a:gd name="connsiteX60" fmla="*/ 709613 w 1533525"/>
                  <a:gd name="connsiteY60" fmla="*/ 460375 h 542925"/>
                  <a:gd name="connsiteX61" fmla="*/ 687511 w 1533525"/>
                  <a:gd name="connsiteY61" fmla="*/ 441026 h 542925"/>
                  <a:gd name="connsiteX62" fmla="*/ 590550 w 1533525"/>
                  <a:gd name="connsiteY62" fmla="*/ 422393 h 542925"/>
                  <a:gd name="connsiteX63" fmla="*/ 600531 w 1533525"/>
                  <a:gd name="connsiteY63" fmla="*/ 410210 h 542925"/>
                  <a:gd name="connsiteX64" fmla="*/ 601244 w 1533525"/>
                  <a:gd name="connsiteY64" fmla="*/ 408777 h 542925"/>
                  <a:gd name="connsiteX65" fmla="*/ 607661 w 1533525"/>
                  <a:gd name="connsiteY65" fmla="*/ 395160 h 542925"/>
                  <a:gd name="connsiteX66" fmla="*/ 609087 w 1533525"/>
                  <a:gd name="connsiteY66" fmla="*/ 390860 h 542925"/>
                  <a:gd name="connsiteX67" fmla="*/ 644021 w 1533525"/>
                  <a:gd name="connsiteY67" fmla="*/ 338545 h 542925"/>
                  <a:gd name="connsiteX68" fmla="*/ 689650 w 1533525"/>
                  <a:gd name="connsiteY68" fmla="*/ 334962 h 542925"/>
                  <a:gd name="connsiteX69" fmla="*/ 180120 w 1533525"/>
                  <a:gd name="connsiteY69" fmla="*/ 334962 h 542925"/>
                  <a:gd name="connsiteX70" fmla="*/ 252360 w 1533525"/>
                  <a:gd name="connsiteY70" fmla="*/ 369082 h 542925"/>
                  <a:gd name="connsiteX71" fmla="*/ 323885 w 1533525"/>
                  <a:gd name="connsiteY71" fmla="*/ 334962 h 542925"/>
                  <a:gd name="connsiteX72" fmla="*/ 371806 w 1533525"/>
                  <a:gd name="connsiteY72" fmla="*/ 338516 h 542925"/>
                  <a:gd name="connsiteX73" fmla="*/ 406138 w 1533525"/>
                  <a:gd name="connsiteY73" fmla="*/ 388985 h 542925"/>
                  <a:gd name="connsiteX74" fmla="*/ 408284 w 1533525"/>
                  <a:gd name="connsiteY74" fmla="*/ 394671 h 542925"/>
                  <a:gd name="connsiteX75" fmla="*/ 416867 w 1533525"/>
                  <a:gd name="connsiteY75" fmla="*/ 411731 h 542925"/>
                  <a:gd name="connsiteX76" fmla="*/ 425450 w 1533525"/>
                  <a:gd name="connsiteY76" fmla="*/ 421682 h 542925"/>
                  <a:gd name="connsiteX77" fmla="*/ 328176 w 1533525"/>
                  <a:gd name="connsiteY77" fmla="*/ 440164 h 542925"/>
                  <a:gd name="connsiteX78" fmla="*/ 294560 w 1533525"/>
                  <a:gd name="connsiteY78" fmla="*/ 477837 h 542925"/>
                  <a:gd name="connsiteX79" fmla="*/ 34925 w 1533525"/>
                  <a:gd name="connsiteY79" fmla="*/ 477837 h 542925"/>
                  <a:gd name="connsiteX80" fmla="*/ 84992 w 1533525"/>
                  <a:gd name="connsiteY80" fmla="*/ 351311 h 542925"/>
                  <a:gd name="connsiteX81" fmla="*/ 180120 w 1533525"/>
                  <a:gd name="connsiteY81" fmla="*/ 334962 h 542925"/>
                  <a:gd name="connsiteX82" fmla="*/ 1381410 w 1533525"/>
                  <a:gd name="connsiteY82" fmla="*/ 215900 h 542925"/>
                  <a:gd name="connsiteX83" fmla="*/ 1414463 w 1533525"/>
                  <a:gd name="connsiteY83" fmla="*/ 298275 h 542925"/>
                  <a:gd name="connsiteX84" fmla="*/ 1376380 w 1533525"/>
                  <a:gd name="connsiteY84" fmla="*/ 320675 h 542925"/>
                  <a:gd name="connsiteX85" fmla="*/ 1349074 w 1533525"/>
                  <a:gd name="connsiteY85" fmla="*/ 319230 h 542925"/>
                  <a:gd name="connsiteX86" fmla="*/ 1346200 w 1533525"/>
                  <a:gd name="connsiteY86" fmla="*/ 317785 h 542925"/>
                  <a:gd name="connsiteX87" fmla="*/ 1346200 w 1533525"/>
                  <a:gd name="connsiteY87" fmla="*/ 293939 h 542925"/>
                  <a:gd name="connsiteX88" fmla="*/ 1381410 w 1533525"/>
                  <a:gd name="connsiteY88" fmla="*/ 215900 h 542925"/>
                  <a:gd name="connsiteX89" fmla="*/ 1167890 w 1533525"/>
                  <a:gd name="connsiteY89" fmla="*/ 215900 h 542925"/>
                  <a:gd name="connsiteX90" fmla="*/ 1203325 w 1533525"/>
                  <a:gd name="connsiteY90" fmla="*/ 293939 h 542925"/>
                  <a:gd name="connsiteX91" fmla="*/ 1203325 w 1533525"/>
                  <a:gd name="connsiteY91" fmla="*/ 317785 h 542925"/>
                  <a:gd name="connsiteX92" fmla="*/ 1200490 w 1533525"/>
                  <a:gd name="connsiteY92" fmla="*/ 319230 h 542925"/>
                  <a:gd name="connsiteX93" fmla="*/ 1173559 w 1533525"/>
                  <a:gd name="connsiteY93" fmla="*/ 320675 h 542925"/>
                  <a:gd name="connsiteX94" fmla="*/ 1163637 w 1533525"/>
                  <a:gd name="connsiteY94" fmla="*/ 317785 h 542925"/>
                  <a:gd name="connsiteX95" fmla="*/ 1171433 w 1533525"/>
                  <a:gd name="connsiteY95" fmla="*/ 278765 h 542925"/>
                  <a:gd name="connsiteX96" fmla="*/ 1165055 w 1533525"/>
                  <a:gd name="connsiteY96" fmla="*/ 233242 h 542925"/>
                  <a:gd name="connsiteX97" fmla="*/ 1167890 w 1533525"/>
                  <a:gd name="connsiteY97" fmla="*/ 215900 h 542925"/>
                  <a:gd name="connsiteX98" fmla="*/ 1275200 w 1533525"/>
                  <a:gd name="connsiteY98" fmla="*/ 0 h 542925"/>
                  <a:gd name="connsiteX99" fmla="*/ 1397875 w 1533525"/>
                  <a:gd name="connsiteY99" fmla="*/ 124537 h 542925"/>
                  <a:gd name="connsiteX100" fmla="*/ 1393596 w 1533525"/>
                  <a:gd name="connsiteY100" fmla="*/ 166524 h 542925"/>
                  <a:gd name="connsiteX101" fmla="*/ 1393596 w 1533525"/>
                  <a:gd name="connsiteY101" fmla="*/ 165812 h 542925"/>
                  <a:gd name="connsiteX102" fmla="*/ 1380044 w 1533525"/>
                  <a:gd name="connsiteY102" fmla="*/ 185026 h 542925"/>
                  <a:gd name="connsiteX103" fmla="*/ 1378618 w 1533525"/>
                  <a:gd name="connsiteY103" fmla="*/ 185738 h 542925"/>
                  <a:gd name="connsiteX104" fmla="*/ 1370772 w 1533525"/>
                  <a:gd name="connsiteY104" fmla="*/ 185738 h 542925"/>
                  <a:gd name="connsiteX105" fmla="*/ 1370059 w 1533525"/>
                  <a:gd name="connsiteY105" fmla="*/ 185026 h 542925"/>
                  <a:gd name="connsiteX106" fmla="*/ 1208870 w 1533525"/>
                  <a:gd name="connsiteY106" fmla="*/ 100341 h 542925"/>
                  <a:gd name="connsiteX107" fmla="*/ 1207444 w 1533525"/>
                  <a:gd name="connsiteY107" fmla="*/ 99630 h 542925"/>
                  <a:gd name="connsiteX108" fmla="*/ 1159658 w 1533525"/>
                  <a:gd name="connsiteY108" fmla="*/ 175064 h 542925"/>
                  <a:gd name="connsiteX109" fmla="*/ 1152525 w 1533525"/>
                  <a:gd name="connsiteY109" fmla="*/ 124537 h 542925"/>
                  <a:gd name="connsiteX110" fmla="*/ 1275200 w 1533525"/>
                  <a:gd name="connsiteY110" fmla="*/ 0 h 542925"/>
                  <a:gd name="connsiteX111" fmla="*/ 763587 w 1533525"/>
                  <a:gd name="connsiteY111" fmla="*/ 0 h 542925"/>
                  <a:gd name="connsiteX112" fmla="*/ 884237 w 1533525"/>
                  <a:gd name="connsiteY112" fmla="*/ 123004 h 542925"/>
                  <a:gd name="connsiteX113" fmla="*/ 879953 w 1533525"/>
                  <a:gd name="connsiteY113" fmla="*/ 164953 h 542925"/>
                  <a:gd name="connsiteX114" fmla="*/ 866389 w 1533525"/>
                  <a:gd name="connsiteY114" fmla="*/ 184150 h 542925"/>
                  <a:gd name="connsiteX115" fmla="*/ 857108 w 1533525"/>
                  <a:gd name="connsiteY115" fmla="*/ 184150 h 542925"/>
                  <a:gd name="connsiteX116" fmla="*/ 856394 w 1533525"/>
                  <a:gd name="connsiteY116" fmla="*/ 93142 h 542925"/>
                  <a:gd name="connsiteX117" fmla="*/ 697194 w 1533525"/>
                  <a:gd name="connsiteY117" fmla="*/ 98830 h 542925"/>
                  <a:gd name="connsiteX118" fmla="*/ 667923 w 1533525"/>
                  <a:gd name="connsiteY118" fmla="*/ 182017 h 542925"/>
                  <a:gd name="connsiteX119" fmla="*/ 660070 w 1533525"/>
                  <a:gd name="connsiteY119" fmla="*/ 181306 h 542925"/>
                  <a:gd name="connsiteX120" fmla="*/ 647934 w 1533525"/>
                  <a:gd name="connsiteY120" fmla="*/ 166375 h 542925"/>
                  <a:gd name="connsiteX121" fmla="*/ 642937 w 1533525"/>
                  <a:gd name="connsiteY121" fmla="*/ 123004 h 542925"/>
                  <a:gd name="connsiteX122" fmla="*/ 763587 w 1533525"/>
                  <a:gd name="connsiteY122" fmla="*/ 0 h 542925"/>
                  <a:gd name="connsiteX123" fmla="*/ 252412 w 1533525"/>
                  <a:gd name="connsiteY123" fmla="*/ 0 h 542925"/>
                  <a:gd name="connsiteX124" fmla="*/ 373062 w 1533525"/>
                  <a:gd name="connsiteY124" fmla="*/ 123004 h 542925"/>
                  <a:gd name="connsiteX125" fmla="*/ 368778 w 1533525"/>
                  <a:gd name="connsiteY125" fmla="*/ 164953 h 542925"/>
                  <a:gd name="connsiteX126" fmla="*/ 368064 w 1533525"/>
                  <a:gd name="connsiteY126" fmla="*/ 164953 h 542925"/>
                  <a:gd name="connsiteX127" fmla="*/ 354500 w 1533525"/>
                  <a:gd name="connsiteY127" fmla="*/ 184150 h 542925"/>
                  <a:gd name="connsiteX128" fmla="*/ 345933 w 1533525"/>
                  <a:gd name="connsiteY128" fmla="*/ 184150 h 542925"/>
                  <a:gd name="connsiteX129" fmla="*/ 344506 w 1533525"/>
                  <a:gd name="connsiteY129" fmla="*/ 93142 h 542925"/>
                  <a:gd name="connsiteX130" fmla="*/ 186019 w 1533525"/>
                  <a:gd name="connsiteY130" fmla="*/ 98830 h 542925"/>
                  <a:gd name="connsiteX131" fmla="*/ 156748 w 1533525"/>
                  <a:gd name="connsiteY131" fmla="*/ 182017 h 542925"/>
                  <a:gd name="connsiteX132" fmla="*/ 148182 w 1533525"/>
                  <a:gd name="connsiteY132" fmla="*/ 181306 h 542925"/>
                  <a:gd name="connsiteX133" fmla="*/ 136759 w 1533525"/>
                  <a:gd name="connsiteY133" fmla="*/ 166375 h 542925"/>
                  <a:gd name="connsiteX134" fmla="*/ 131762 w 1533525"/>
                  <a:gd name="connsiteY134" fmla="*/ 123004 h 542925"/>
                  <a:gd name="connsiteX135" fmla="*/ 252412 w 1533525"/>
                  <a:gd name="connsiteY135" fmla="*/ 0 h 5429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</a:cxnLst>
                <a:rect l="l" t="t" r="r" b="b"/>
                <a:pathLst>
                  <a:path w="1533525" h="542925">
                    <a:moveTo>
                      <a:pt x="1246187" y="511175"/>
                    </a:moveTo>
                    <a:cubicBezTo>
                      <a:pt x="1246187" y="511175"/>
                      <a:pt x="1246187" y="511175"/>
                      <a:pt x="1517878" y="511175"/>
                    </a:cubicBezTo>
                    <a:cubicBezTo>
                      <a:pt x="1526413" y="511175"/>
                      <a:pt x="1533525" y="518391"/>
                      <a:pt x="1533525" y="527050"/>
                    </a:cubicBezTo>
                    <a:cubicBezTo>
                      <a:pt x="1533525" y="536431"/>
                      <a:pt x="1526413" y="542925"/>
                      <a:pt x="1517878" y="542925"/>
                    </a:cubicBezTo>
                    <a:cubicBezTo>
                      <a:pt x="1517878" y="542925"/>
                      <a:pt x="1517878" y="542925"/>
                      <a:pt x="1255433" y="542925"/>
                    </a:cubicBezTo>
                    <a:cubicBezTo>
                      <a:pt x="1252588" y="531380"/>
                      <a:pt x="1249032" y="521277"/>
                      <a:pt x="1246187" y="511175"/>
                    </a:cubicBezTo>
                    <a:close/>
                    <a:moveTo>
                      <a:pt x="735012" y="511175"/>
                    </a:moveTo>
                    <a:cubicBezTo>
                      <a:pt x="735012" y="511175"/>
                      <a:pt x="735012" y="511175"/>
                      <a:pt x="792162" y="511175"/>
                    </a:cubicBezTo>
                    <a:cubicBezTo>
                      <a:pt x="789374" y="521277"/>
                      <a:pt x="786586" y="531380"/>
                      <a:pt x="783101" y="542925"/>
                    </a:cubicBezTo>
                    <a:cubicBezTo>
                      <a:pt x="783101" y="542925"/>
                      <a:pt x="783101" y="542925"/>
                      <a:pt x="744072" y="542925"/>
                    </a:cubicBezTo>
                    <a:cubicBezTo>
                      <a:pt x="740587" y="531380"/>
                      <a:pt x="737800" y="521277"/>
                      <a:pt x="735012" y="511175"/>
                    </a:cubicBezTo>
                    <a:close/>
                    <a:moveTo>
                      <a:pt x="15650" y="511175"/>
                    </a:moveTo>
                    <a:cubicBezTo>
                      <a:pt x="15650" y="511175"/>
                      <a:pt x="15650" y="511175"/>
                      <a:pt x="280988" y="511175"/>
                    </a:cubicBezTo>
                    <a:cubicBezTo>
                      <a:pt x="278142" y="521277"/>
                      <a:pt x="274586" y="531380"/>
                      <a:pt x="271740" y="542925"/>
                    </a:cubicBezTo>
                    <a:cubicBezTo>
                      <a:pt x="271740" y="542925"/>
                      <a:pt x="271740" y="542925"/>
                      <a:pt x="15650" y="542925"/>
                    </a:cubicBezTo>
                    <a:cubicBezTo>
                      <a:pt x="6402" y="542925"/>
                      <a:pt x="0" y="536431"/>
                      <a:pt x="0" y="527050"/>
                    </a:cubicBezTo>
                    <a:cubicBezTo>
                      <a:pt x="0" y="518391"/>
                      <a:pt x="6402" y="511175"/>
                      <a:pt x="15650" y="511175"/>
                    </a:cubicBezTo>
                    <a:close/>
                    <a:moveTo>
                      <a:pt x="764317" y="349250"/>
                    </a:moveTo>
                    <a:cubicBezTo>
                      <a:pt x="768693" y="349250"/>
                      <a:pt x="773799" y="349965"/>
                      <a:pt x="778175" y="350679"/>
                    </a:cubicBezTo>
                    <a:cubicBezTo>
                      <a:pt x="782551" y="351393"/>
                      <a:pt x="786198" y="352108"/>
                      <a:pt x="788387" y="352822"/>
                    </a:cubicBezTo>
                    <a:cubicBezTo>
                      <a:pt x="789845" y="352822"/>
                      <a:pt x="790575" y="354251"/>
                      <a:pt x="789845" y="355680"/>
                    </a:cubicBezTo>
                    <a:cubicBezTo>
                      <a:pt x="789845" y="355680"/>
                      <a:pt x="789845" y="355680"/>
                      <a:pt x="773799" y="380683"/>
                    </a:cubicBezTo>
                    <a:cubicBezTo>
                      <a:pt x="773799" y="381397"/>
                      <a:pt x="773799" y="382112"/>
                      <a:pt x="773799" y="382826"/>
                    </a:cubicBezTo>
                    <a:cubicBezTo>
                      <a:pt x="773799" y="382826"/>
                      <a:pt x="773799" y="382826"/>
                      <a:pt x="789116" y="477838"/>
                    </a:cubicBezTo>
                    <a:cubicBezTo>
                      <a:pt x="789116" y="477838"/>
                      <a:pt x="789116" y="477838"/>
                      <a:pt x="736600" y="477838"/>
                    </a:cubicBezTo>
                    <a:lnTo>
                      <a:pt x="753376" y="382826"/>
                    </a:lnTo>
                    <a:cubicBezTo>
                      <a:pt x="753376" y="382112"/>
                      <a:pt x="753376" y="381397"/>
                      <a:pt x="753376" y="380683"/>
                    </a:cubicBezTo>
                    <a:cubicBezTo>
                      <a:pt x="753376" y="380683"/>
                      <a:pt x="753376" y="380683"/>
                      <a:pt x="737329" y="355680"/>
                    </a:cubicBezTo>
                    <a:cubicBezTo>
                      <a:pt x="736600" y="354965"/>
                      <a:pt x="737329" y="352822"/>
                      <a:pt x="738788" y="352822"/>
                    </a:cubicBezTo>
                    <a:cubicBezTo>
                      <a:pt x="741705" y="352108"/>
                      <a:pt x="745352" y="351393"/>
                      <a:pt x="749729" y="350679"/>
                    </a:cubicBezTo>
                    <a:cubicBezTo>
                      <a:pt x="754105" y="349965"/>
                      <a:pt x="759940" y="349250"/>
                      <a:pt x="764317" y="349250"/>
                    </a:cubicBezTo>
                    <a:close/>
                    <a:moveTo>
                      <a:pt x="1200963" y="334962"/>
                    </a:moveTo>
                    <a:cubicBezTo>
                      <a:pt x="1202391" y="334962"/>
                      <a:pt x="1203105" y="335673"/>
                      <a:pt x="1203105" y="337095"/>
                    </a:cubicBezTo>
                    <a:cubicBezTo>
                      <a:pt x="1203105" y="337095"/>
                      <a:pt x="1203105" y="337095"/>
                      <a:pt x="1268787" y="409598"/>
                    </a:cubicBezTo>
                    <a:cubicBezTo>
                      <a:pt x="1271643" y="413863"/>
                      <a:pt x="1277354" y="413863"/>
                      <a:pt x="1280210" y="409598"/>
                    </a:cubicBezTo>
                    <a:cubicBezTo>
                      <a:pt x="1280210" y="409598"/>
                      <a:pt x="1280210" y="409598"/>
                      <a:pt x="1345893" y="337095"/>
                    </a:cubicBezTo>
                    <a:cubicBezTo>
                      <a:pt x="1345893" y="335673"/>
                      <a:pt x="1347320" y="334962"/>
                      <a:pt x="1348034" y="334962"/>
                    </a:cubicBezTo>
                    <a:cubicBezTo>
                      <a:pt x="1359457" y="334962"/>
                      <a:pt x="1411575" y="337095"/>
                      <a:pt x="1441561" y="351311"/>
                    </a:cubicBezTo>
                    <a:cubicBezTo>
                      <a:pt x="1465834" y="361973"/>
                      <a:pt x="1484397" y="447983"/>
                      <a:pt x="1492250" y="477837"/>
                    </a:cubicBezTo>
                    <a:cubicBezTo>
                      <a:pt x="1492250" y="477837"/>
                      <a:pt x="1492250" y="477837"/>
                      <a:pt x="1232376" y="477837"/>
                    </a:cubicBezTo>
                    <a:cubicBezTo>
                      <a:pt x="1223095" y="458645"/>
                      <a:pt x="1212386" y="446561"/>
                      <a:pt x="1198821" y="440164"/>
                    </a:cubicBezTo>
                    <a:cubicBezTo>
                      <a:pt x="1168836" y="425947"/>
                      <a:pt x="1123143" y="422393"/>
                      <a:pt x="1101725" y="421682"/>
                    </a:cubicBezTo>
                    <a:cubicBezTo>
                      <a:pt x="1106008" y="417417"/>
                      <a:pt x="1109578" y="413152"/>
                      <a:pt x="1111720" y="409598"/>
                    </a:cubicBezTo>
                    <a:cubicBezTo>
                      <a:pt x="1111720" y="409598"/>
                      <a:pt x="1111720" y="409598"/>
                      <a:pt x="1112434" y="408177"/>
                    </a:cubicBezTo>
                    <a:cubicBezTo>
                      <a:pt x="1116004" y="402490"/>
                      <a:pt x="1116717" y="400358"/>
                      <a:pt x="1118859" y="394671"/>
                    </a:cubicBezTo>
                    <a:cubicBezTo>
                      <a:pt x="1119573" y="393960"/>
                      <a:pt x="1119573" y="392539"/>
                      <a:pt x="1120287" y="390406"/>
                    </a:cubicBezTo>
                    <a:cubicBezTo>
                      <a:pt x="1133852" y="376901"/>
                      <a:pt x="1148131" y="354865"/>
                      <a:pt x="1155271" y="338516"/>
                    </a:cubicBezTo>
                    <a:cubicBezTo>
                      <a:pt x="1175975" y="335673"/>
                      <a:pt x="1195251" y="334962"/>
                      <a:pt x="1200963" y="334962"/>
                    </a:cubicBezTo>
                    <a:close/>
                    <a:moveTo>
                      <a:pt x="837524" y="334962"/>
                    </a:moveTo>
                    <a:cubicBezTo>
                      <a:pt x="843941" y="334962"/>
                      <a:pt x="862478" y="335679"/>
                      <a:pt x="883153" y="338545"/>
                    </a:cubicBezTo>
                    <a:cubicBezTo>
                      <a:pt x="891709" y="356461"/>
                      <a:pt x="905968" y="377244"/>
                      <a:pt x="917375" y="389427"/>
                    </a:cubicBezTo>
                    <a:cubicBezTo>
                      <a:pt x="918801" y="392294"/>
                      <a:pt x="918801" y="393727"/>
                      <a:pt x="919514" y="395160"/>
                    </a:cubicBezTo>
                    <a:cubicBezTo>
                      <a:pt x="921653" y="402327"/>
                      <a:pt x="923792" y="405910"/>
                      <a:pt x="928069" y="412360"/>
                    </a:cubicBezTo>
                    <a:cubicBezTo>
                      <a:pt x="930208" y="415226"/>
                      <a:pt x="933060" y="418810"/>
                      <a:pt x="936625" y="422393"/>
                    </a:cubicBezTo>
                    <a:cubicBezTo>
                      <a:pt x="915949" y="423110"/>
                      <a:pt x="870320" y="426693"/>
                      <a:pt x="839663" y="441026"/>
                    </a:cubicBezTo>
                    <a:cubicBezTo>
                      <a:pt x="831108" y="444609"/>
                      <a:pt x="823978" y="451059"/>
                      <a:pt x="817562" y="460375"/>
                    </a:cubicBezTo>
                    <a:cubicBezTo>
                      <a:pt x="817562" y="460375"/>
                      <a:pt x="817562" y="460375"/>
                      <a:pt x="835386" y="337112"/>
                    </a:cubicBezTo>
                    <a:cubicBezTo>
                      <a:pt x="835386" y="335679"/>
                      <a:pt x="836811" y="334962"/>
                      <a:pt x="837524" y="334962"/>
                    </a:cubicBezTo>
                    <a:close/>
                    <a:moveTo>
                      <a:pt x="689650" y="334962"/>
                    </a:moveTo>
                    <a:cubicBezTo>
                      <a:pt x="690363" y="334962"/>
                      <a:pt x="691789" y="335679"/>
                      <a:pt x="691789" y="337112"/>
                    </a:cubicBezTo>
                    <a:cubicBezTo>
                      <a:pt x="691789" y="337112"/>
                      <a:pt x="691789" y="337112"/>
                      <a:pt x="709613" y="460375"/>
                    </a:cubicBezTo>
                    <a:cubicBezTo>
                      <a:pt x="703196" y="451059"/>
                      <a:pt x="696067" y="444609"/>
                      <a:pt x="687511" y="441026"/>
                    </a:cubicBezTo>
                    <a:cubicBezTo>
                      <a:pt x="656854" y="426693"/>
                      <a:pt x="611225" y="423110"/>
                      <a:pt x="590550" y="422393"/>
                    </a:cubicBezTo>
                    <a:cubicBezTo>
                      <a:pt x="594827" y="418093"/>
                      <a:pt x="598392" y="413793"/>
                      <a:pt x="600531" y="410210"/>
                    </a:cubicBezTo>
                    <a:cubicBezTo>
                      <a:pt x="600531" y="410210"/>
                      <a:pt x="600531" y="410210"/>
                      <a:pt x="601244" y="408777"/>
                    </a:cubicBezTo>
                    <a:cubicBezTo>
                      <a:pt x="604809" y="403043"/>
                      <a:pt x="605522" y="400894"/>
                      <a:pt x="607661" y="395160"/>
                    </a:cubicBezTo>
                    <a:cubicBezTo>
                      <a:pt x="607661" y="394444"/>
                      <a:pt x="608374" y="393010"/>
                      <a:pt x="609087" y="390860"/>
                    </a:cubicBezTo>
                    <a:cubicBezTo>
                      <a:pt x="622633" y="377244"/>
                      <a:pt x="636179" y="355028"/>
                      <a:pt x="644021" y="338545"/>
                    </a:cubicBezTo>
                    <a:cubicBezTo>
                      <a:pt x="664697" y="335679"/>
                      <a:pt x="683234" y="334962"/>
                      <a:pt x="689650" y="334962"/>
                    </a:cubicBezTo>
                    <a:close/>
                    <a:moveTo>
                      <a:pt x="180120" y="334962"/>
                    </a:moveTo>
                    <a:cubicBezTo>
                      <a:pt x="180120" y="334962"/>
                      <a:pt x="204438" y="368371"/>
                      <a:pt x="252360" y="369082"/>
                    </a:cubicBezTo>
                    <a:cubicBezTo>
                      <a:pt x="299566" y="368371"/>
                      <a:pt x="323885" y="334962"/>
                      <a:pt x="323885" y="334962"/>
                    </a:cubicBezTo>
                    <a:cubicBezTo>
                      <a:pt x="323885" y="334962"/>
                      <a:pt x="346773" y="334962"/>
                      <a:pt x="371806" y="338516"/>
                    </a:cubicBezTo>
                    <a:cubicBezTo>
                      <a:pt x="379674" y="356287"/>
                      <a:pt x="394694" y="376901"/>
                      <a:pt x="406138" y="388985"/>
                    </a:cubicBezTo>
                    <a:cubicBezTo>
                      <a:pt x="406853" y="391828"/>
                      <a:pt x="407569" y="393249"/>
                      <a:pt x="408284" y="394671"/>
                    </a:cubicBezTo>
                    <a:cubicBezTo>
                      <a:pt x="410430" y="401779"/>
                      <a:pt x="411860" y="405333"/>
                      <a:pt x="416867" y="411731"/>
                    </a:cubicBezTo>
                    <a:cubicBezTo>
                      <a:pt x="419013" y="414574"/>
                      <a:pt x="421874" y="418128"/>
                      <a:pt x="425450" y="421682"/>
                    </a:cubicBezTo>
                    <a:cubicBezTo>
                      <a:pt x="404708" y="422393"/>
                      <a:pt x="358932" y="425947"/>
                      <a:pt x="328176" y="440164"/>
                    </a:cubicBezTo>
                    <a:cubicBezTo>
                      <a:pt x="314586" y="446561"/>
                      <a:pt x="303858" y="458645"/>
                      <a:pt x="294560" y="477837"/>
                    </a:cubicBezTo>
                    <a:cubicBezTo>
                      <a:pt x="294560" y="477837"/>
                      <a:pt x="294560" y="477837"/>
                      <a:pt x="34925" y="477837"/>
                    </a:cubicBezTo>
                    <a:cubicBezTo>
                      <a:pt x="43508" y="444429"/>
                      <a:pt x="61389" y="361973"/>
                      <a:pt x="84992" y="351311"/>
                    </a:cubicBezTo>
                    <a:cubicBezTo>
                      <a:pt x="118609" y="335673"/>
                      <a:pt x="180120" y="334962"/>
                      <a:pt x="180120" y="334962"/>
                    </a:cubicBezTo>
                    <a:close/>
                    <a:moveTo>
                      <a:pt x="1381410" y="215900"/>
                    </a:moveTo>
                    <a:cubicBezTo>
                      <a:pt x="1388595" y="215900"/>
                      <a:pt x="1375661" y="294662"/>
                      <a:pt x="1414463" y="298275"/>
                    </a:cubicBezTo>
                    <a:cubicBezTo>
                      <a:pt x="1400811" y="312727"/>
                      <a:pt x="1387158" y="318507"/>
                      <a:pt x="1376380" y="320675"/>
                    </a:cubicBezTo>
                    <a:cubicBezTo>
                      <a:pt x="1364164" y="319230"/>
                      <a:pt x="1354104" y="319230"/>
                      <a:pt x="1349074" y="319230"/>
                    </a:cubicBezTo>
                    <a:cubicBezTo>
                      <a:pt x="1347637" y="318507"/>
                      <a:pt x="1346200" y="317785"/>
                      <a:pt x="1346200" y="317785"/>
                    </a:cubicBezTo>
                    <a:cubicBezTo>
                      <a:pt x="1346200" y="317785"/>
                      <a:pt x="1346200" y="317785"/>
                      <a:pt x="1346200" y="293939"/>
                    </a:cubicBezTo>
                    <a:cubicBezTo>
                      <a:pt x="1346200" y="293939"/>
                      <a:pt x="1376380" y="238300"/>
                      <a:pt x="1381410" y="215900"/>
                    </a:cubicBezTo>
                    <a:close/>
                    <a:moveTo>
                      <a:pt x="1167890" y="215900"/>
                    </a:moveTo>
                    <a:cubicBezTo>
                      <a:pt x="1172851" y="236855"/>
                      <a:pt x="1203325" y="293939"/>
                      <a:pt x="1203325" y="293939"/>
                    </a:cubicBezTo>
                    <a:cubicBezTo>
                      <a:pt x="1203325" y="293939"/>
                      <a:pt x="1203325" y="293939"/>
                      <a:pt x="1203325" y="317785"/>
                    </a:cubicBezTo>
                    <a:cubicBezTo>
                      <a:pt x="1203325" y="317785"/>
                      <a:pt x="1201908" y="318507"/>
                      <a:pt x="1200490" y="319230"/>
                    </a:cubicBezTo>
                    <a:cubicBezTo>
                      <a:pt x="1196238" y="319230"/>
                      <a:pt x="1185607" y="319230"/>
                      <a:pt x="1173559" y="320675"/>
                    </a:cubicBezTo>
                    <a:cubicBezTo>
                      <a:pt x="1170016" y="319953"/>
                      <a:pt x="1167181" y="319230"/>
                      <a:pt x="1163637" y="317785"/>
                    </a:cubicBezTo>
                    <a:cubicBezTo>
                      <a:pt x="1167181" y="306946"/>
                      <a:pt x="1171433" y="293939"/>
                      <a:pt x="1171433" y="278765"/>
                    </a:cubicBezTo>
                    <a:cubicBezTo>
                      <a:pt x="1171433" y="262868"/>
                      <a:pt x="1169307" y="247694"/>
                      <a:pt x="1165055" y="233242"/>
                    </a:cubicBezTo>
                    <a:cubicBezTo>
                      <a:pt x="1165763" y="223126"/>
                      <a:pt x="1165763" y="215900"/>
                      <a:pt x="1167890" y="215900"/>
                    </a:cubicBezTo>
                    <a:close/>
                    <a:moveTo>
                      <a:pt x="1275200" y="0"/>
                    </a:moveTo>
                    <a:cubicBezTo>
                      <a:pt x="1344383" y="0"/>
                      <a:pt x="1397875" y="55508"/>
                      <a:pt x="1397875" y="124537"/>
                    </a:cubicBezTo>
                    <a:cubicBezTo>
                      <a:pt x="1397875" y="138770"/>
                      <a:pt x="1398588" y="153003"/>
                      <a:pt x="1393596" y="166524"/>
                    </a:cubicBezTo>
                    <a:cubicBezTo>
                      <a:pt x="1393596" y="166524"/>
                      <a:pt x="1393596" y="165812"/>
                      <a:pt x="1393596" y="165812"/>
                    </a:cubicBezTo>
                    <a:cubicBezTo>
                      <a:pt x="1392882" y="166524"/>
                      <a:pt x="1391456" y="172217"/>
                      <a:pt x="1380044" y="185026"/>
                    </a:cubicBezTo>
                    <a:cubicBezTo>
                      <a:pt x="1380044" y="185026"/>
                      <a:pt x="1379331" y="185738"/>
                      <a:pt x="1378618" y="185738"/>
                    </a:cubicBezTo>
                    <a:cubicBezTo>
                      <a:pt x="1378618" y="185738"/>
                      <a:pt x="1378618" y="185738"/>
                      <a:pt x="1370772" y="185738"/>
                    </a:cubicBezTo>
                    <a:cubicBezTo>
                      <a:pt x="1370772" y="185738"/>
                      <a:pt x="1370772" y="185738"/>
                      <a:pt x="1370059" y="185026"/>
                    </a:cubicBezTo>
                    <a:cubicBezTo>
                      <a:pt x="1370059" y="185026"/>
                      <a:pt x="1370059" y="185026"/>
                      <a:pt x="1208870" y="100341"/>
                    </a:cubicBezTo>
                    <a:cubicBezTo>
                      <a:pt x="1208157" y="99630"/>
                      <a:pt x="1208157" y="99630"/>
                      <a:pt x="1207444" y="99630"/>
                    </a:cubicBezTo>
                    <a:cubicBezTo>
                      <a:pt x="1171782" y="111728"/>
                      <a:pt x="1171782" y="185738"/>
                      <a:pt x="1159658" y="175064"/>
                    </a:cubicBezTo>
                    <a:cubicBezTo>
                      <a:pt x="1154665" y="161542"/>
                      <a:pt x="1152525" y="139482"/>
                      <a:pt x="1152525" y="124537"/>
                    </a:cubicBezTo>
                    <a:cubicBezTo>
                      <a:pt x="1152525" y="55508"/>
                      <a:pt x="1206017" y="0"/>
                      <a:pt x="1275200" y="0"/>
                    </a:cubicBezTo>
                    <a:close/>
                    <a:moveTo>
                      <a:pt x="763587" y="0"/>
                    </a:moveTo>
                    <a:cubicBezTo>
                      <a:pt x="832122" y="0"/>
                      <a:pt x="884237" y="55458"/>
                      <a:pt x="884237" y="123004"/>
                    </a:cubicBezTo>
                    <a:cubicBezTo>
                      <a:pt x="884237" y="137935"/>
                      <a:pt x="884237" y="152155"/>
                      <a:pt x="879953" y="164953"/>
                    </a:cubicBezTo>
                    <a:cubicBezTo>
                      <a:pt x="879239" y="164953"/>
                      <a:pt x="877098" y="171352"/>
                      <a:pt x="866389" y="184150"/>
                    </a:cubicBezTo>
                    <a:cubicBezTo>
                      <a:pt x="866389" y="184150"/>
                      <a:pt x="866389" y="184150"/>
                      <a:pt x="857108" y="184150"/>
                    </a:cubicBezTo>
                    <a:cubicBezTo>
                      <a:pt x="857108" y="184150"/>
                      <a:pt x="857108" y="179173"/>
                      <a:pt x="856394" y="93142"/>
                    </a:cubicBezTo>
                    <a:cubicBezTo>
                      <a:pt x="842116" y="162109"/>
                      <a:pt x="697194" y="98830"/>
                      <a:pt x="697194" y="98830"/>
                    </a:cubicBezTo>
                    <a:cubicBezTo>
                      <a:pt x="661498" y="110206"/>
                      <a:pt x="667923" y="182017"/>
                      <a:pt x="667923" y="182017"/>
                    </a:cubicBezTo>
                    <a:cubicBezTo>
                      <a:pt x="667923" y="182017"/>
                      <a:pt x="667923" y="182017"/>
                      <a:pt x="660070" y="181306"/>
                    </a:cubicBezTo>
                    <a:cubicBezTo>
                      <a:pt x="660070" y="181306"/>
                      <a:pt x="660070" y="177040"/>
                      <a:pt x="647934" y="166375"/>
                    </a:cubicBezTo>
                    <a:cubicBezTo>
                      <a:pt x="642937" y="152866"/>
                      <a:pt x="642937" y="138646"/>
                      <a:pt x="642937" y="123004"/>
                    </a:cubicBezTo>
                    <a:cubicBezTo>
                      <a:pt x="642937" y="55458"/>
                      <a:pt x="695052" y="0"/>
                      <a:pt x="763587" y="0"/>
                    </a:cubicBezTo>
                    <a:close/>
                    <a:moveTo>
                      <a:pt x="252412" y="0"/>
                    </a:moveTo>
                    <a:cubicBezTo>
                      <a:pt x="320233" y="0"/>
                      <a:pt x="373062" y="55458"/>
                      <a:pt x="373062" y="123004"/>
                    </a:cubicBezTo>
                    <a:cubicBezTo>
                      <a:pt x="373062" y="137935"/>
                      <a:pt x="373062" y="152155"/>
                      <a:pt x="368778" y="164953"/>
                    </a:cubicBezTo>
                    <a:cubicBezTo>
                      <a:pt x="368064" y="164953"/>
                      <a:pt x="368064" y="164953"/>
                      <a:pt x="368064" y="164953"/>
                    </a:cubicBezTo>
                    <a:cubicBezTo>
                      <a:pt x="368064" y="164953"/>
                      <a:pt x="365923" y="171352"/>
                      <a:pt x="354500" y="184150"/>
                    </a:cubicBezTo>
                    <a:cubicBezTo>
                      <a:pt x="354500" y="184150"/>
                      <a:pt x="354500" y="184150"/>
                      <a:pt x="345933" y="184150"/>
                    </a:cubicBezTo>
                    <a:cubicBezTo>
                      <a:pt x="345933" y="184150"/>
                      <a:pt x="345933" y="179173"/>
                      <a:pt x="344506" y="93142"/>
                    </a:cubicBezTo>
                    <a:cubicBezTo>
                      <a:pt x="330941" y="162109"/>
                      <a:pt x="186019" y="98830"/>
                      <a:pt x="186019" y="98830"/>
                    </a:cubicBezTo>
                    <a:cubicBezTo>
                      <a:pt x="150323" y="110206"/>
                      <a:pt x="156748" y="182017"/>
                      <a:pt x="156748" y="182017"/>
                    </a:cubicBezTo>
                    <a:cubicBezTo>
                      <a:pt x="156748" y="182017"/>
                      <a:pt x="156748" y="182017"/>
                      <a:pt x="148182" y="181306"/>
                    </a:cubicBezTo>
                    <a:cubicBezTo>
                      <a:pt x="148182" y="181306"/>
                      <a:pt x="148182" y="177040"/>
                      <a:pt x="136759" y="166375"/>
                    </a:cubicBezTo>
                    <a:cubicBezTo>
                      <a:pt x="131762" y="152866"/>
                      <a:pt x="131762" y="138646"/>
                      <a:pt x="131762" y="123004"/>
                    </a:cubicBezTo>
                    <a:cubicBezTo>
                      <a:pt x="131762" y="55458"/>
                      <a:pt x="183877" y="0"/>
                      <a:pt x="252412" y="0"/>
                    </a:cubicBez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dirty="0"/>
              </a:p>
            </p:txBody>
          </p:sp>
          <p:sp>
            <p:nvSpPr>
              <p:cNvPr id="29" name="Freeform 11">
                <a:extLst>
                  <a:ext uri="{FF2B5EF4-FFF2-40B4-BE49-F238E27FC236}">
                    <a16:creationId xmlns:a16="http://schemas.microsoft.com/office/drawing/2014/main" id="{5DC3289B-5AF8-402B-B8B4-0588500A4A0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20327" y="3249613"/>
                <a:ext cx="951344" cy="458787"/>
              </a:xfrm>
              <a:custGeom>
                <a:avLst/>
                <a:gdLst>
                  <a:gd name="connsiteX0" fmla="*/ 660078 w 951344"/>
                  <a:gd name="connsiteY0" fmla="*/ 296862 h 458787"/>
                  <a:gd name="connsiteX1" fmla="*/ 691398 w 951344"/>
                  <a:gd name="connsiteY1" fmla="*/ 313982 h 458787"/>
                  <a:gd name="connsiteX2" fmla="*/ 709193 w 951344"/>
                  <a:gd name="connsiteY2" fmla="*/ 318262 h 458787"/>
                  <a:gd name="connsiteX3" fmla="*/ 731260 w 951344"/>
                  <a:gd name="connsiteY3" fmla="*/ 319689 h 458787"/>
                  <a:gd name="connsiteX4" fmla="*/ 753326 w 951344"/>
                  <a:gd name="connsiteY4" fmla="*/ 318262 h 458787"/>
                  <a:gd name="connsiteX5" fmla="*/ 771121 w 951344"/>
                  <a:gd name="connsiteY5" fmla="*/ 313982 h 458787"/>
                  <a:gd name="connsiteX6" fmla="*/ 803153 w 951344"/>
                  <a:gd name="connsiteY6" fmla="*/ 296862 h 458787"/>
                  <a:gd name="connsiteX7" fmla="*/ 897824 w 951344"/>
                  <a:gd name="connsiteY7" fmla="*/ 313269 h 458787"/>
                  <a:gd name="connsiteX8" fmla="*/ 907790 w 951344"/>
                  <a:gd name="connsiteY8" fmla="*/ 322542 h 458787"/>
                  <a:gd name="connsiteX9" fmla="*/ 916332 w 951344"/>
                  <a:gd name="connsiteY9" fmla="*/ 337522 h 458787"/>
                  <a:gd name="connsiteX10" fmla="*/ 923450 w 951344"/>
                  <a:gd name="connsiteY10" fmla="*/ 353928 h 458787"/>
                  <a:gd name="connsiteX11" fmla="*/ 923450 w 951344"/>
                  <a:gd name="connsiteY11" fmla="*/ 355355 h 458787"/>
                  <a:gd name="connsiteX12" fmla="*/ 934127 w 951344"/>
                  <a:gd name="connsiteY12" fmla="*/ 386741 h 458787"/>
                  <a:gd name="connsiteX13" fmla="*/ 951210 w 951344"/>
                  <a:gd name="connsiteY13" fmla="*/ 451654 h 458787"/>
                  <a:gd name="connsiteX14" fmla="*/ 945516 w 951344"/>
                  <a:gd name="connsiteY14" fmla="*/ 458787 h 458787"/>
                  <a:gd name="connsiteX15" fmla="*/ 517004 w 951344"/>
                  <a:gd name="connsiteY15" fmla="*/ 458787 h 458787"/>
                  <a:gd name="connsiteX16" fmla="*/ 512021 w 951344"/>
                  <a:gd name="connsiteY16" fmla="*/ 451654 h 458787"/>
                  <a:gd name="connsiteX17" fmla="*/ 529104 w 951344"/>
                  <a:gd name="connsiteY17" fmla="*/ 386741 h 458787"/>
                  <a:gd name="connsiteX18" fmla="*/ 539070 w 951344"/>
                  <a:gd name="connsiteY18" fmla="*/ 355355 h 458787"/>
                  <a:gd name="connsiteX19" fmla="*/ 539782 w 951344"/>
                  <a:gd name="connsiteY19" fmla="*/ 353928 h 458787"/>
                  <a:gd name="connsiteX20" fmla="*/ 546188 w 951344"/>
                  <a:gd name="connsiteY20" fmla="*/ 337522 h 458787"/>
                  <a:gd name="connsiteX21" fmla="*/ 554730 w 951344"/>
                  <a:gd name="connsiteY21" fmla="*/ 322542 h 458787"/>
                  <a:gd name="connsiteX22" fmla="*/ 565407 w 951344"/>
                  <a:gd name="connsiteY22" fmla="*/ 313269 h 458787"/>
                  <a:gd name="connsiteX23" fmla="*/ 660078 w 951344"/>
                  <a:gd name="connsiteY23" fmla="*/ 296862 h 458787"/>
                  <a:gd name="connsiteX24" fmla="*/ 148191 w 951344"/>
                  <a:gd name="connsiteY24" fmla="*/ 296862 h 458787"/>
                  <a:gd name="connsiteX25" fmla="*/ 178799 w 951344"/>
                  <a:gd name="connsiteY25" fmla="*/ 313269 h 458787"/>
                  <a:gd name="connsiteX26" fmla="*/ 198018 w 951344"/>
                  <a:gd name="connsiteY26" fmla="*/ 318262 h 458787"/>
                  <a:gd name="connsiteX27" fmla="*/ 220084 w 951344"/>
                  <a:gd name="connsiteY27" fmla="*/ 319689 h 458787"/>
                  <a:gd name="connsiteX28" fmla="*/ 242151 w 951344"/>
                  <a:gd name="connsiteY28" fmla="*/ 318262 h 458787"/>
                  <a:gd name="connsiteX29" fmla="*/ 259946 w 951344"/>
                  <a:gd name="connsiteY29" fmla="*/ 313982 h 458787"/>
                  <a:gd name="connsiteX30" fmla="*/ 291266 w 951344"/>
                  <a:gd name="connsiteY30" fmla="*/ 296862 h 458787"/>
                  <a:gd name="connsiteX31" fmla="*/ 385937 w 951344"/>
                  <a:gd name="connsiteY31" fmla="*/ 313269 h 458787"/>
                  <a:gd name="connsiteX32" fmla="*/ 396614 w 951344"/>
                  <a:gd name="connsiteY32" fmla="*/ 322542 h 458787"/>
                  <a:gd name="connsiteX33" fmla="*/ 405156 w 951344"/>
                  <a:gd name="connsiteY33" fmla="*/ 337522 h 458787"/>
                  <a:gd name="connsiteX34" fmla="*/ 411562 w 951344"/>
                  <a:gd name="connsiteY34" fmla="*/ 353928 h 458787"/>
                  <a:gd name="connsiteX35" fmla="*/ 412274 w 951344"/>
                  <a:gd name="connsiteY35" fmla="*/ 355355 h 458787"/>
                  <a:gd name="connsiteX36" fmla="*/ 422240 w 951344"/>
                  <a:gd name="connsiteY36" fmla="*/ 386741 h 458787"/>
                  <a:gd name="connsiteX37" fmla="*/ 439323 w 951344"/>
                  <a:gd name="connsiteY37" fmla="*/ 451654 h 458787"/>
                  <a:gd name="connsiteX38" fmla="*/ 434340 w 951344"/>
                  <a:gd name="connsiteY38" fmla="*/ 458787 h 458787"/>
                  <a:gd name="connsiteX39" fmla="*/ 5828 w 951344"/>
                  <a:gd name="connsiteY39" fmla="*/ 458787 h 458787"/>
                  <a:gd name="connsiteX40" fmla="*/ 134 w 951344"/>
                  <a:gd name="connsiteY40" fmla="*/ 451654 h 458787"/>
                  <a:gd name="connsiteX41" fmla="*/ 17217 w 951344"/>
                  <a:gd name="connsiteY41" fmla="*/ 386741 h 458787"/>
                  <a:gd name="connsiteX42" fmla="*/ 27894 w 951344"/>
                  <a:gd name="connsiteY42" fmla="*/ 355355 h 458787"/>
                  <a:gd name="connsiteX43" fmla="*/ 27894 w 951344"/>
                  <a:gd name="connsiteY43" fmla="*/ 353928 h 458787"/>
                  <a:gd name="connsiteX44" fmla="*/ 33589 w 951344"/>
                  <a:gd name="connsiteY44" fmla="*/ 341088 h 458787"/>
                  <a:gd name="connsiteX45" fmla="*/ 43554 w 951344"/>
                  <a:gd name="connsiteY45" fmla="*/ 322542 h 458787"/>
                  <a:gd name="connsiteX46" fmla="*/ 53520 w 951344"/>
                  <a:gd name="connsiteY46" fmla="*/ 313269 h 458787"/>
                  <a:gd name="connsiteX47" fmla="*/ 148191 w 951344"/>
                  <a:gd name="connsiteY47" fmla="*/ 296862 h 458787"/>
                  <a:gd name="connsiteX48" fmla="*/ 731260 w 951344"/>
                  <a:gd name="connsiteY48" fmla="*/ 0 h 458787"/>
                  <a:gd name="connsiteX49" fmla="*/ 851910 w 951344"/>
                  <a:gd name="connsiteY49" fmla="*/ 123188 h 458787"/>
                  <a:gd name="connsiteX50" fmla="*/ 849055 w 951344"/>
                  <a:gd name="connsiteY50" fmla="*/ 142414 h 458787"/>
                  <a:gd name="connsiteX51" fmla="*/ 848341 w 951344"/>
                  <a:gd name="connsiteY51" fmla="*/ 143838 h 458787"/>
                  <a:gd name="connsiteX52" fmla="*/ 842629 w 951344"/>
                  <a:gd name="connsiteY52" fmla="*/ 161640 h 458787"/>
                  <a:gd name="connsiteX53" fmla="*/ 842629 w 951344"/>
                  <a:gd name="connsiteY53" fmla="*/ 162352 h 458787"/>
                  <a:gd name="connsiteX54" fmla="*/ 838346 w 951344"/>
                  <a:gd name="connsiteY54" fmla="*/ 171609 h 458787"/>
                  <a:gd name="connsiteX55" fmla="*/ 826210 w 951344"/>
                  <a:gd name="connsiteY55" fmla="*/ 192971 h 458787"/>
                  <a:gd name="connsiteX56" fmla="*/ 806220 w 951344"/>
                  <a:gd name="connsiteY56" fmla="*/ 216470 h 458787"/>
                  <a:gd name="connsiteX57" fmla="*/ 796940 w 951344"/>
                  <a:gd name="connsiteY57" fmla="*/ 238544 h 458787"/>
                  <a:gd name="connsiteX58" fmla="*/ 791228 w 951344"/>
                  <a:gd name="connsiteY58" fmla="*/ 244952 h 458787"/>
                  <a:gd name="connsiteX59" fmla="*/ 770525 w 951344"/>
                  <a:gd name="connsiteY59" fmla="*/ 258482 h 458787"/>
                  <a:gd name="connsiteX60" fmla="*/ 731260 w 951344"/>
                  <a:gd name="connsiteY60" fmla="*/ 269875 h 458787"/>
                  <a:gd name="connsiteX61" fmla="*/ 691995 w 951344"/>
                  <a:gd name="connsiteY61" fmla="*/ 257770 h 458787"/>
                  <a:gd name="connsiteX62" fmla="*/ 671292 w 951344"/>
                  <a:gd name="connsiteY62" fmla="*/ 244240 h 458787"/>
                  <a:gd name="connsiteX63" fmla="*/ 665581 w 951344"/>
                  <a:gd name="connsiteY63" fmla="*/ 238544 h 458787"/>
                  <a:gd name="connsiteX64" fmla="*/ 656300 w 951344"/>
                  <a:gd name="connsiteY64" fmla="*/ 216470 h 458787"/>
                  <a:gd name="connsiteX65" fmla="*/ 637025 w 951344"/>
                  <a:gd name="connsiteY65" fmla="*/ 192971 h 458787"/>
                  <a:gd name="connsiteX66" fmla="*/ 624174 w 951344"/>
                  <a:gd name="connsiteY66" fmla="*/ 171609 h 458787"/>
                  <a:gd name="connsiteX67" fmla="*/ 619177 w 951344"/>
                  <a:gd name="connsiteY67" fmla="*/ 159504 h 458787"/>
                  <a:gd name="connsiteX68" fmla="*/ 619177 w 951344"/>
                  <a:gd name="connsiteY68" fmla="*/ 158080 h 458787"/>
                  <a:gd name="connsiteX69" fmla="*/ 610610 w 951344"/>
                  <a:gd name="connsiteY69" fmla="*/ 123188 h 458787"/>
                  <a:gd name="connsiteX70" fmla="*/ 731260 w 951344"/>
                  <a:gd name="connsiteY70" fmla="*/ 0 h 458787"/>
                  <a:gd name="connsiteX71" fmla="*/ 220085 w 951344"/>
                  <a:gd name="connsiteY71" fmla="*/ 0 h 458787"/>
                  <a:gd name="connsiteX72" fmla="*/ 340735 w 951344"/>
                  <a:gd name="connsiteY72" fmla="*/ 123188 h 458787"/>
                  <a:gd name="connsiteX73" fmla="*/ 331454 w 951344"/>
                  <a:gd name="connsiteY73" fmla="*/ 161640 h 458787"/>
                  <a:gd name="connsiteX74" fmla="*/ 331454 w 951344"/>
                  <a:gd name="connsiteY74" fmla="*/ 162352 h 458787"/>
                  <a:gd name="connsiteX75" fmla="*/ 327171 w 951344"/>
                  <a:gd name="connsiteY75" fmla="*/ 171609 h 458787"/>
                  <a:gd name="connsiteX76" fmla="*/ 315034 w 951344"/>
                  <a:gd name="connsiteY76" fmla="*/ 192971 h 458787"/>
                  <a:gd name="connsiteX77" fmla="*/ 295045 w 951344"/>
                  <a:gd name="connsiteY77" fmla="*/ 216470 h 458787"/>
                  <a:gd name="connsiteX78" fmla="*/ 285764 w 951344"/>
                  <a:gd name="connsiteY78" fmla="*/ 238544 h 458787"/>
                  <a:gd name="connsiteX79" fmla="*/ 279339 w 951344"/>
                  <a:gd name="connsiteY79" fmla="*/ 244952 h 458787"/>
                  <a:gd name="connsiteX80" fmla="*/ 259350 w 951344"/>
                  <a:gd name="connsiteY80" fmla="*/ 258482 h 458787"/>
                  <a:gd name="connsiteX81" fmla="*/ 220085 w 951344"/>
                  <a:gd name="connsiteY81" fmla="*/ 269875 h 458787"/>
                  <a:gd name="connsiteX82" fmla="*/ 180106 w 951344"/>
                  <a:gd name="connsiteY82" fmla="*/ 257770 h 458787"/>
                  <a:gd name="connsiteX83" fmla="*/ 159403 w 951344"/>
                  <a:gd name="connsiteY83" fmla="*/ 244240 h 458787"/>
                  <a:gd name="connsiteX84" fmla="*/ 154405 w 951344"/>
                  <a:gd name="connsiteY84" fmla="*/ 238544 h 458787"/>
                  <a:gd name="connsiteX85" fmla="*/ 145125 w 951344"/>
                  <a:gd name="connsiteY85" fmla="*/ 216470 h 458787"/>
                  <a:gd name="connsiteX86" fmla="*/ 125849 w 951344"/>
                  <a:gd name="connsiteY86" fmla="*/ 192971 h 458787"/>
                  <a:gd name="connsiteX87" fmla="*/ 112999 w 951344"/>
                  <a:gd name="connsiteY87" fmla="*/ 171609 h 458787"/>
                  <a:gd name="connsiteX88" fmla="*/ 108002 w 951344"/>
                  <a:gd name="connsiteY88" fmla="*/ 159504 h 458787"/>
                  <a:gd name="connsiteX89" fmla="*/ 107288 w 951344"/>
                  <a:gd name="connsiteY89" fmla="*/ 158080 h 458787"/>
                  <a:gd name="connsiteX90" fmla="*/ 99435 w 951344"/>
                  <a:gd name="connsiteY90" fmla="*/ 123188 h 458787"/>
                  <a:gd name="connsiteX91" fmla="*/ 220085 w 951344"/>
                  <a:gd name="connsiteY91" fmla="*/ 0 h 4587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</a:cxnLst>
                <a:rect l="l" t="t" r="r" b="b"/>
                <a:pathLst>
                  <a:path w="951344" h="458787">
                    <a:moveTo>
                      <a:pt x="660078" y="296862"/>
                    </a:moveTo>
                    <a:cubicBezTo>
                      <a:pt x="660078" y="296862"/>
                      <a:pt x="670756" y="306849"/>
                      <a:pt x="691398" y="313982"/>
                    </a:cubicBezTo>
                    <a:cubicBezTo>
                      <a:pt x="696381" y="315409"/>
                      <a:pt x="702787" y="316835"/>
                      <a:pt x="709193" y="318262"/>
                    </a:cubicBezTo>
                    <a:cubicBezTo>
                      <a:pt x="716312" y="318975"/>
                      <a:pt x="723430" y="319689"/>
                      <a:pt x="731260" y="319689"/>
                    </a:cubicBezTo>
                    <a:cubicBezTo>
                      <a:pt x="739090" y="319689"/>
                      <a:pt x="746920" y="318975"/>
                      <a:pt x="753326" y="318262"/>
                    </a:cubicBezTo>
                    <a:cubicBezTo>
                      <a:pt x="759732" y="316835"/>
                      <a:pt x="766139" y="315409"/>
                      <a:pt x="771121" y="313982"/>
                    </a:cubicBezTo>
                    <a:cubicBezTo>
                      <a:pt x="792476" y="306849"/>
                      <a:pt x="803153" y="296862"/>
                      <a:pt x="803153" y="296862"/>
                    </a:cubicBezTo>
                    <a:cubicBezTo>
                      <a:pt x="803153" y="296862"/>
                      <a:pt x="864369" y="297575"/>
                      <a:pt x="897824" y="313269"/>
                    </a:cubicBezTo>
                    <a:cubicBezTo>
                      <a:pt x="901383" y="314695"/>
                      <a:pt x="904231" y="318262"/>
                      <a:pt x="907790" y="322542"/>
                    </a:cubicBezTo>
                    <a:cubicBezTo>
                      <a:pt x="910637" y="326822"/>
                      <a:pt x="913484" y="331815"/>
                      <a:pt x="916332" y="337522"/>
                    </a:cubicBezTo>
                    <a:cubicBezTo>
                      <a:pt x="918467" y="342515"/>
                      <a:pt x="921314" y="348222"/>
                      <a:pt x="923450" y="353928"/>
                    </a:cubicBezTo>
                    <a:cubicBezTo>
                      <a:pt x="923450" y="354642"/>
                      <a:pt x="923450" y="355355"/>
                      <a:pt x="923450" y="355355"/>
                    </a:cubicBezTo>
                    <a:cubicBezTo>
                      <a:pt x="927721" y="365341"/>
                      <a:pt x="930568" y="376041"/>
                      <a:pt x="934127" y="386741"/>
                    </a:cubicBezTo>
                    <a:cubicBezTo>
                      <a:pt x="941957" y="415274"/>
                      <a:pt x="947651" y="443094"/>
                      <a:pt x="951210" y="451654"/>
                    </a:cubicBezTo>
                    <a:cubicBezTo>
                      <a:pt x="951922" y="455221"/>
                      <a:pt x="949787" y="458787"/>
                      <a:pt x="945516" y="458787"/>
                    </a:cubicBezTo>
                    <a:cubicBezTo>
                      <a:pt x="945516" y="458787"/>
                      <a:pt x="945516" y="458787"/>
                      <a:pt x="517004" y="458787"/>
                    </a:cubicBezTo>
                    <a:cubicBezTo>
                      <a:pt x="513445" y="458787"/>
                      <a:pt x="510597" y="455221"/>
                      <a:pt x="512021" y="451654"/>
                    </a:cubicBezTo>
                    <a:cubicBezTo>
                      <a:pt x="514868" y="443094"/>
                      <a:pt x="520563" y="415274"/>
                      <a:pt x="529104" y="386741"/>
                    </a:cubicBezTo>
                    <a:cubicBezTo>
                      <a:pt x="531952" y="376041"/>
                      <a:pt x="535511" y="365341"/>
                      <a:pt x="539070" y="355355"/>
                    </a:cubicBezTo>
                    <a:cubicBezTo>
                      <a:pt x="539070" y="355355"/>
                      <a:pt x="539070" y="354642"/>
                      <a:pt x="539782" y="353928"/>
                    </a:cubicBezTo>
                    <a:cubicBezTo>
                      <a:pt x="541917" y="348222"/>
                      <a:pt x="544053" y="342515"/>
                      <a:pt x="546188" y="337522"/>
                    </a:cubicBezTo>
                    <a:cubicBezTo>
                      <a:pt x="549035" y="331815"/>
                      <a:pt x="551882" y="326822"/>
                      <a:pt x="554730" y="322542"/>
                    </a:cubicBezTo>
                    <a:cubicBezTo>
                      <a:pt x="558289" y="318262"/>
                      <a:pt x="561848" y="314695"/>
                      <a:pt x="565407" y="313269"/>
                    </a:cubicBezTo>
                    <a:cubicBezTo>
                      <a:pt x="598150" y="297575"/>
                      <a:pt x="660078" y="296862"/>
                      <a:pt x="660078" y="296862"/>
                    </a:cubicBezTo>
                    <a:close/>
                    <a:moveTo>
                      <a:pt x="148191" y="296862"/>
                    </a:moveTo>
                    <a:cubicBezTo>
                      <a:pt x="148191" y="296862"/>
                      <a:pt x="158868" y="306849"/>
                      <a:pt x="178799" y="313269"/>
                    </a:cubicBezTo>
                    <a:cubicBezTo>
                      <a:pt x="184494" y="315409"/>
                      <a:pt x="190900" y="316835"/>
                      <a:pt x="198018" y="318262"/>
                    </a:cubicBezTo>
                    <a:cubicBezTo>
                      <a:pt x="204424" y="318975"/>
                      <a:pt x="212254" y="319689"/>
                      <a:pt x="220084" y="319689"/>
                    </a:cubicBezTo>
                    <a:cubicBezTo>
                      <a:pt x="227914" y="319689"/>
                      <a:pt x="235032" y="318975"/>
                      <a:pt x="242151" y="318262"/>
                    </a:cubicBezTo>
                    <a:cubicBezTo>
                      <a:pt x="248557" y="316835"/>
                      <a:pt x="254963" y="315409"/>
                      <a:pt x="259946" y="313982"/>
                    </a:cubicBezTo>
                    <a:cubicBezTo>
                      <a:pt x="280588" y="306849"/>
                      <a:pt x="291266" y="296862"/>
                      <a:pt x="291266" y="296862"/>
                    </a:cubicBezTo>
                    <a:cubicBezTo>
                      <a:pt x="291266" y="296862"/>
                      <a:pt x="353194" y="297575"/>
                      <a:pt x="385937" y="313269"/>
                    </a:cubicBezTo>
                    <a:cubicBezTo>
                      <a:pt x="389496" y="314695"/>
                      <a:pt x="393055" y="318262"/>
                      <a:pt x="396614" y="322542"/>
                    </a:cubicBezTo>
                    <a:cubicBezTo>
                      <a:pt x="399462" y="326822"/>
                      <a:pt x="402309" y="331815"/>
                      <a:pt x="405156" y="337522"/>
                    </a:cubicBezTo>
                    <a:cubicBezTo>
                      <a:pt x="407291" y="342515"/>
                      <a:pt x="409427" y="348222"/>
                      <a:pt x="411562" y="353928"/>
                    </a:cubicBezTo>
                    <a:cubicBezTo>
                      <a:pt x="412274" y="354642"/>
                      <a:pt x="412274" y="355355"/>
                      <a:pt x="412274" y="355355"/>
                    </a:cubicBezTo>
                    <a:cubicBezTo>
                      <a:pt x="415833" y="365341"/>
                      <a:pt x="419392" y="376041"/>
                      <a:pt x="422240" y="386741"/>
                    </a:cubicBezTo>
                    <a:cubicBezTo>
                      <a:pt x="430781" y="415274"/>
                      <a:pt x="436476" y="443094"/>
                      <a:pt x="439323" y="451654"/>
                    </a:cubicBezTo>
                    <a:cubicBezTo>
                      <a:pt x="440747" y="455221"/>
                      <a:pt x="437900" y="458787"/>
                      <a:pt x="434340" y="458787"/>
                    </a:cubicBezTo>
                    <a:cubicBezTo>
                      <a:pt x="434340" y="458787"/>
                      <a:pt x="434340" y="458787"/>
                      <a:pt x="5828" y="458787"/>
                    </a:cubicBezTo>
                    <a:cubicBezTo>
                      <a:pt x="1557" y="458787"/>
                      <a:pt x="-578" y="455221"/>
                      <a:pt x="134" y="451654"/>
                    </a:cubicBezTo>
                    <a:cubicBezTo>
                      <a:pt x="3693" y="443094"/>
                      <a:pt x="9387" y="415274"/>
                      <a:pt x="17217" y="386741"/>
                    </a:cubicBezTo>
                    <a:cubicBezTo>
                      <a:pt x="20776" y="376041"/>
                      <a:pt x="23623" y="365341"/>
                      <a:pt x="27894" y="355355"/>
                    </a:cubicBezTo>
                    <a:cubicBezTo>
                      <a:pt x="27894" y="355355"/>
                      <a:pt x="27894" y="354642"/>
                      <a:pt x="27894" y="353928"/>
                    </a:cubicBezTo>
                    <a:cubicBezTo>
                      <a:pt x="30030" y="349648"/>
                      <a:pt x="31453" y="345368"/>
                      <a:pt x="33589" y="341088"/>
                    </a:cubicBezTo>
                    <a:cubicBezTo>
                      <a:pt x="36436" y="333955"/>
                      <a:pt x="39995" y="327535"/>
                      <a:pt x="43554" y="322542"/>
                    </a:cubicBezTo>
                    <a:cubicBezTo>
                      <a:pt x="47113" y="318262"/>
                      <a:pt x="49961" y="314695"/>
                      <a:pt x="53520" y="313269"/>
                    </a:cubicBezTo>
                    <a:cubicBezTo>
                      <a:pt x="86975" y="297575"/>
                      <a:pt x="148191" y="296862"/>
                      <a:pt x="148191" y="296862"/>
                    </a:cubicBezTo>
                    <a:close/>
                    <a:moveTo>
                      <a:pt x="731260" y="0"/>
                    </a:moveTo>
                    <a:cubicBezTo>
                      <a:pt x="799795" y="0"/>
                      <a:pt x="851910" y="55541"/>
                      <a:pt x="851910" y="123188"/>
                    </a:cubicBezTo>
                    <a:cubicBezTo>
                      <a:pt x="851910" y="129597"/>
                      <a:pt x="850482" y="136005"/>
                      <a:pt x="849055" y="142414"/>
                    </a:cubicBezTo>
                    <a:cubicBezTo>
                      <a:pt x="849055" y="143126"/>
                      <a:pt x="848341" y="143126"/>
                      <a:pt x="848341" y="143838"/>
                    </a:cubicBezTo>
                    <a:cubicBezTo>
                      <a:pt x="846913" y="150247"/>
                      <a:pt x="844771" y="155943"/>
                      <a:pt x="842629" y="161640"/>
                    </a:cubicBezTo>
                    <a:cubicBezTo>
                      <a:pt x="842629" y="161640"/>
                      <a:pt x="842629" y="161640"/>
                      <a:pt x="842629" y="162352"/>
                    </a:cubicBezTo>
                    <a:cubicBezTo>
                      <a:pt x="842629" y="163776"/>
                      <a:pt x="841202" y="167337"/>
                      <a:pt x="838346" y="171609"/>
                    </a:cubicBezTo>
                    <a:cubicBezTo>
                      <a:pt x="835490" y="178018"/>
                      <a:pt x="831207" y="185850"/>
                      <a:pt x="826210" y="192971"/>
                    </a:cubicBezTo>
                    <a:cubicBezTo>
                      <a:pt x="819785" y="202940"/>
                      <a:pt x="811932" y="212197"/>
                      <a:pt x="806220" y="216470"/>
                    </a:cubicBezTo>
                    <a:cubicBezTo>
                      <a:pt x="799081" y="234983"/>
                      <a:pt x="803365" y="227863"/>
                      <a:pt x="796940" y="238544"/>
                    </a:cubicBezTo>
                    <a:cubicBezTo>
                      <a:pt x="795512" y="240680"/>
                      <a:pt x="793370" y="242816"/>
                      <a:pt x="791228" y="244952"/>
                    </a:cubicBezTo>
                    <a:cubicBezTo>
                      <a:pt x="786231" y="249225"/>
                      <a:pt x="779092" y="254209"/>
                      <a:pt x="770525" y="258482"/>
                    </a:cubicBezTo>
                    <a:cubicBezTo>
                      <a:pt x="757675" y="264890"/>
                      <a:pt x="742683" y="269875"/>
                      <a:pt x="731260" y="269875"/>
                    </a:cubicBezTo>
                    <a:cubicBezTo>
                      <a:pt x="719838" y="269875"/>
                      <a:pt x="704846" y="264178"/>
                      <a:pt x="691995" y="257770"/>
                    </a:cubicBezTo>
                    <a:cubicBezTo>
                      <a:pt x="683429" y="253497"/>
                      <a:pt x="676290" y="248513"/>
                      <a:pt x="671292" y="244240"/>
                    </a:cubicBezTo>
                    <a:cubicBezTo>
                      <a:pt x="669150" y="242104"/>
                      <a:pt x="667009" y="239968"/>
                      <a:pt x="665581" y="238544"/>
                    </a:cubicBezTo>
                    <a:cubicBezTo>
                      <a:pt x="659870" y="229999"/>
                      <a:pt x="663439" y="234983"/>
                      <a:pt x="656300" y="216470"/>
                    </a:cubicBezTo>
                    <a:cubicBezTo>
                      <a:pt x="652017" y="213621"/>
                      <a:pt x="644164" y="203652"/>
                      <a:pt x="637025" y="192971"/>
                    </a:cubicBezTo>
                    <a:cubicBezTo>
                      <a:pt x="632027" y="185850"/>
                      <a:pt x="627744" y="178730"/>
                      <a:pt x="624174" y="171609"/>
                    </a:cubicBezTo>
                    <a:cubicBezTo>
                      <a:pt x="621319" y="166625"/>
                      <a:pt x="619177" y="162352"/>
                      <a:pt x="619177" y="159504"/>
                    </a:cubicBezTo>
                    <a:cubicBezTo>
                      <a:pt x="619177" y="158792"/>
                      <a:pt x="619177" y="158792"/>
                      <a:pt x="619177" y="158080"/>
                    </a:cubicBezTo>
                    <a:cubicBezTo>
                      <a:pt x="616321" y="147399"/>
                      <a:pt x="610610" y="135293"/>
                      <a:pt x="610610" y="123188"/>
                    </a:cubicBezTo>
                    <a:cubicBezTo>
                      <a:pt x="610610" y="55541"/>
                      <a:pt x="663439" y="0"/>
                      <a:pt x="731260" y="0"/>
                    </a:cubicBezTo>
                    <a:close/>
                    <a:moveTo>
                      <a:pt x="220085" y="0"/>
                    </a:moveTo>
                    <a:cubicBezTo>
                      <a:pt x="287906" y="0"/>
                      <a:pt x="340735" y="55541"/>
                      <a:pt x="340735" y="123188"/>
                    </a:cubicBezTo>
                    <a:cubicBezTo>
                      <a:pt x="340735" y="136718"/>
                      <a:pt x="335024" y="149535"/>
                      <a:pt x="331454" y="161640"/>
                    </a:cubicBezTo>
                    <a:cubicBezTo>
                      <a:pt x="331454" y="161640"/>
                      <a:pt x="331454" y="161640"/>
                      <a:pt x="331454" y="162352"/>
                    </a:cubicBezTo>
                    <a:cubicBezTo>
                      <a:pt x="331454" y="163776"/>
                      <a:pt x="330026" y="167337"/>
                      <a:pt x="327171" y="171609"/>
                    </a:cubicBezTo>
                    <a:cubicBezTo>
                      <a:pt x="324315" y="178018"/>
                      <a:pt x="320032" y="185850"/>
                      <a:pt x="315034" y="192971"/>
                    </a:cubicBezTo>
                    <a:cubicBezTo>
                      <a:pt x="307895" y="202940"/>
                      <a:pt x="300756" y="212197"/>
                      <a:pt x="295045" y="216470"/>
                    </a:cubicBezTo>
                    <a:cubicBezTo>
                      <a:pt x="287192" y="234983"/>
                      <a:pt x="291475" y="227863"/>
                      <a:pt x="285764" y="238544"/>
                    </a:cubicBezTo>
                    <a:cubicBezTo>
                      <a:pt x="284336" y="240680"/>
                      <a:pt x="282195" y="242816"/>
                      <a:pt x="279339" y="244952"/>
                    </a:cubicBezTo>
                    <a:cubicBezTo>
                      <a:pt x="274342" y="249225"/>
                      <a:pt x="267203" y="254209"/>
                      <a:pt x="259350" y="258482"/>
                    </a:cubicBezTo>
                    <a:cubicBezTo>
                      <a:pt x="246499" y="264890"/>
                      <a:pt x="231507" y="269875"/>
                      <a:pt x="220085" y="269875"/>
                    </a:cubicBezTo>
                    <a:cubicBezTo>
                      <a:pt x="207948" y="269875"/>
                      <a:pt x="192956" y="264178"/>
                      <a:pt x="180106" y="257770"/>
                    </a:cubicBezTo>
                    <a:cubicBezTo>
                      <a:pt x="172253" y="253497"/>
                      <a:pt x="164400" y="248513"/>
                      <a:pt x="159403" y="244240"/>
                    </a:cubicBezTo>
                    <a:cubicBezTo>
                      <a:pt x="157261" y="242104"/>
                      <a:pt x="155833" y="239968"/>
                      <a:pt x="154405" y="238544"/>
                    </a:cubicBezTo>
                    <a:cubicBezTo>
                      <a:pt x="148694" y="229999"/>
                      <a:pt x="152264" y="234983"/>
                      <a:pt x="145125" y="216470"/>
                    </a:cubicBezTo>
                    <a:cubicBezTo>
                      <a:pt x="140841" y="213621"/>
                      <a:pt x="132988" y="203652"/>
                      <a:pt x="125849" y="192971"/>
                    </a:cubicBezTo>
                    <a:cubicBezTo>
                      <a:pt x="120852" y="185850"/>
                      <a:pt x="115855" y="178730"/>
                      <a:pt x="112999" y="171609"/>
                    </a:cubicBezTo>
                    <a:cubicBezTo>
                      <a:pt x="110143" y="166625"/>
                      <a:pt x="108002" y="162352"/>
                      <a:pt x="108002" y="159504"/>
                    </a:cubicBezTo>
                    <a:cubicBezTo>
                      <a:pt x="107288" y="158792"/>
                      <a:pt x="108002" y="158792"/>
                      <a:pt x="107288" y="158080"/>
                    </a:cubicBezTo>
                    <a:cubicBezTo>
                      <a:pt x="105146" y="147399"/>
                      <a:pt x="99435" y="135293"/>
                      <a:pt x="99435" y="123188"/>
                    </a:cubicBezTo>
                    <a:cubicBezTo>
                      <a:pt x="99435" y="55541"/>
                      <a:pt x="151550" y="0"/>
                      <a:pt x="220085" y="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dirty="0"/>
              </a:p>
            </p:txBody>
          </p:sp>
        </p:grpSp>
      </p:grpSp>
      <p:grpSp>
        <p:nvGrpSpPr>
          <p:cNvPr id="38" name="Group 37">
            <a:extLst>
              <a:ext uri="{FF2B5EF4-FFF2-40B4-BE49-F238E27FC236}">
                <a16:creationId xmlns:a16="http://schemas.microsoft.com/office/drawing/2014/main" id="{5B5FF085-075E-43C6-8917-471801B6EE50}"/>
              </a:ext>
            </a:extLst>
          </p:cNvPr>
          <p:cNvGrpSpPr>
            <a:grpSpLocks noChangeAspect="1"/>
          </p:cNvGrpSpPr>
          <p:nvPr/>
        </p:nvGrpSpPr>
        <p:grpSpPr>
          <a:xfrm>
            <a:off x="577535" y="3415459"/>
            <a:ext cx="1043756" cy="1043756"/>
            <a:chOff x="5273675" y="2606675"/>
            <a:chExt cx="1644650" cy="1644650"/>
          </a:xfrm>
        </p:grpSpPr>
        <p:sp>
          <p:nvSpPr>
            <p:cNvPr id="39" name="AutoShape 3">
              <a:extLst>
                <a:ext uri="{FF2B5EF4-FFF2-40B4-BE49-F238E27FC236}">
                  <a16:creationId xmlns:a16="http://schemas.microsoft.com/office/drawing/2014/main" id="{B36E22B2-2703-48AA-8881-2011868B6F29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5273675" y="2606675"/>
              <a:ext cx="1644650" cy="16446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grpSp>
          <p:nvGrpSpPr>
            <p:cNvPr id="40" name="Group 39">
              <a:extLst>
                <a:ext uri="{FF2B5EF4-FFF2-40B4-BE49-F238E27FC236}">
                  <a16:creationId xmlns:a16="http://schemas.microsoft.com/office/drawing/2014/main" id="{8F020055-E5D0-411A-878D-24755487F93D}"/>
                </a:ext>
              </a:extLst>
            </p:cNvPr>
            <p:cNvGrpSpPr/>
            <p:nvPr/>
          </p:nvGrpSpPr>
          <p:grpSpPr>
            <a:xfrm>
              <a:off x="5426075" y="2957513"/>
              <a:ext cx="1338263" cy="939800"/>
              <a:chOff x="5426075" y="2957513"/>
              <a:chExt cx="1338263" cy="939800"/>
            </a:xfrm>
          </p:grpSpPr>
          <p:sp>
            <p:nvSpPr>
              <p:cNvPr id="41" name="Freeform 5">
                <a:extLst>
                  <a:ext uri="{FF2B5EF4-FFF2-40B4-BE49-F238E27FC236}">
                    <a16:creationId xmlns:a16="http://schemas.microsoft.com/office/drawing/2014/main" id="{5B65913F-8A89-470C-982C-4EF60076076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426075" y="2957513"/>
                <a:ext cx="1338263" cy="939800"/>
              </a:xfrm>
              <a:custGeom>
                <a:avLst/>
                <a:gdLst>
                  <a:gd name="T0" fmla="*/ 1852 w 1874"/>
                  <a:gd name="T1" fmla="*/ 0 h 1316"/>
                  <a:gd name="T2" fmla="*/ 937 w 1874"/>
                  <a:gd name="T3" fmla="*/ 0 h 1316"/>
                  <a:gd name="T4" fmla="*/ 22 w 1874"/>
                  <a:gd name="T5" fmla="*/ 0 h 1316"/>
                  <a:gd name="T6" fmla="*/ 0 w 1874"/>
                  <a:gd name="T7" fmla="*/ 22 h 1316"/>
                  <a:gd name="T8" fmla="*/ 0 w 1874"/>
                  <a:gd name="T9" fmla="*/ 1294 h 1316"/>
                  <a:gd name="T10" fmla="*/ 22 w 1874"/>
                  <a:gd name="T11" fmla="*/ 1316 h 1316"/>
                  <a:gd name="T12" fmla="*/ 937 w 1874"/>
                  <a:gd name="T13" fmla="*/ 1316 h 1316"/>
                  <a:gd name="T14" fmla="*/ 1852 w 1874"/>
                  <a:gd name="T15" fmla="*/ 1316 h 1316"/>
                  <a:gd name="T16" fmla="*/ 1874 w 1874"/>
                  <a:gd name="T17" fmla="*/ 1294 h 1316"/>
                  <a:gd name="T18" fmla="*/ 1874 w 1874"/>
                  <a:gd name="T19" fmla="*/ 22 h 1316"/>
                  <a:gd name="T20" fmla="*/ 1852 w 1874"/>
                  <a:gd name="T21" fmla="*/ 0 h 1316"/>
                  <a:gd name="T22" fmla="*/ 44 w 1874"/>
                  <a:gd name="T23" fmla="*/ 44 h 1316"/>
                  <a:gd name="T24" fmla="*/ 915 w 1874"/>
                  <a:gd name="T25" fmla="*/ 44 h 1316"/>
                  <a:gd name="T26" fmla="*/ 915 w 1874"/>
                  <a:gd name="T27" fmla="*/ 1272 h 1316"/>
                  <a:gd name="T28" fmla="*/ 44 w 1874"/>
                  <a:gd name="T29" fmla="*/ 1272 h 1316"/>
                  <a:gd name="T30" fmla="*/ 44 w 1874"/>
                  <a:gd name="T31" fmla="*/ 44 h 1316"/>
                  <a:gd name="T32" fmla="*/ 44 w 1874"/>
                  <a:gd name="T33" fmla="*/ 44 h 1316"/>
                  <a:gd name="T34" fmla="*/ 1830 w 1874"/>
                  <a:gd name="T35" fmla="*/ 1272 h 1316"/>
                  <a:gd name="T36" fmla="*/ 959 w 1874"/>
                  <a:gd name="T37" fmla="*/ 1272 h 1316"/>
                  <a:gd name="T38" fmla="*/ 959 w 1874"/>
                  <a:gd name="T39" fmla="*/ 44 h 1316"/>
                  <a:gd name="T40" fmla="*/ 1830 w 1874"/>
                  <a:gd name="T41" fmla="*/ 44 h 1316"/>
                  <a:gd name="T42" fmla="*/ 1830 w 1874"/>
                  <a:gd name="T43" fmla="*/ 1272 h 1316"/>
                  <a:gd name="T44" fmla="*/ 1830 w 1874"/>
                  <a:gd name="T45" fmla="*/ 1272 h 13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1874" h="1316">
                    <a:moveTo>
                      <a:pt x="1852" y="0"/>
                    </a:moveTo>
                    <a:cubicBezTo>
                      <a:pt x="937" y="0"/>
                      <a:pt x="937" y="0"/>
                      <a:pt x="937" y="0"/>
                    </a:cubicBezTo>
                    <a:cubicBezTo>
                      <a:pt x="22" y="0"/>
                      <a:pt x="22" y="0"/>
                      <a:pt x="22" y="0"/>
                    </a:cubicBezTo>
                    <a:cubicBezTo>
                      <a:pt x="9" y="0"/>
                      <a:pt x="0" y="10"/>
                      <a:pt x="0" y="22"/>
                    </a:cubicBezTo>
                    <a:cubicBezTo>
                      <a:pt x="0" y="1294"/>
                      <a:pt x="0" y="1294"/>
                      <a:pt x="0" y="1294"/>
                    </a:cubicBezTo>
                    <a:cubicBezTo>
                      <a:pt x="0" y="1306"/>
                      <a:pt x="9" y="1316"/>
                      <a:pt x="22" y="1316"/>
                    </a:cubicBezTo>
                    <a:cubicBezTo>
                      <a:pt x="937" y="1316"/>
                      <a:pt x="937" y="1316"/>
                      <a:pt x="937" y="1316"/>
                    </a:cubicBezTo>
                    <a:cubicBezTo>
                      <a:pt x="1852" y="1316"/>
                      <a:pt x="1852" y="1316"/>
                      <a:pt x="1852" y="1316"/>
                    </a:cubicBezTo>
                    <a:cubicBezTo>
                      <a:pt x="1865" y="1316"/>
                      <a:pt x="1874" y="1306"/>
                      <a:pt x="1874" y="1294"/>
                    </a:cubicBezTo>
                    <a:cubicBezTo>
                      <a:pt x="1874" y="22"/>
                      <a:pt x="1874" y="22"/>
                      <a:pt x="1874" y="22"/>
                    </a:cubicBezTo>
                    <a:cubicBezTo>
                      <a:pt x="1874" y="10"/>
                      <a:pt x="1865" y="0"/>
                      <a:pt x="1852" y="0"/>
                    </a:cubicBezTo>
                    <a:close/>
                    <a:moveTo>
                      <a:pt x="44" y="44"/>
                    </a:moveTo>
                    <a:cubicBezTo>
                      <a:pt x="915" y="44"/>
                      <a:pt x="915" y="44"/>
                      <a:pt x="915" y="44"/>
                    </a:cubicBezTo>
                    <a:cubicBezTo>
                      <a:pt x="915" y="1272"/>
                      <a:pt x="915" y="1272"/>
                      <a:pt x="915" y="1272"/>
                    </a:cubicBezTo>
                    <a:cubicBezTo>
                      <a:pt x="44" y="1272"/>
                      <a:pt x="44" y="1272"/>
                      <a:pt x="44" y="1272"/>
                    </a:cubicBezTo>
                    <a:cubicBezTo>
                      <a:pt x="44" y="44"/>
                      <a:pt x="44" y="44"/>
                      <a:pt x="44" y="44"/>
                    </a:cubicBezTo>
                    <a:cubicBezTo>
                      <a:pt x="44" y="44"/>
                      <a:pt x="44" y="44"/>
                      <a:pt x="44" y="44"/>
                    </a:cubicBezTo>
                    <a:close/>
                    <a:moveTo>
                      <a:pt x="1830" y="1272"/>
                    </a:moveTo>
                    <a:cubicBezTo>
                      <a:pt x="959" y="1272"/>
                      <a:pt x="959" y="1272"/>
                      <a:pt x="959" y="1272"/>
                    </a:cubicBezTo>
                    <a:cubicBezTo>
                      <a:pt x="959" y="44"/>
                      <a:pt x="959" y="44"/>
                      <a:pt x="959" y="44"/>
                    </a:cubicBezTo>
                    <a:cubicBezTo>
                      <a:pt x="1830" y="44"/>
                      <a:pt x="1830" y="44"/>
                      <a:pt x="1830" y="44"/>
                    </a:cubicBezTo>
                    <a:cubicBezTo>
                      <a:pt x="1830" y="1272"/>
                      <a:pt x="1830" y="1272"/>
                      <a:pt x="1830" y="1272"/>
                    </a:cubicBezTo>
                    <a:cubicBezTo>
                      <a:pt x="1830" y="1272"/>
                      <a:pt x="1830" y="1272"/>
                      <a:pt x="1830" y="1272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2" name="Freeform 11">
                <a:extLst>
                  <a:ext uri="{FF2B5EF4-FFF2-40B4-BE49-F238E27FC236}">
                    <a16:creationId xmlns:a16="http://schemas.microsoft.com/office/drawing/2014/main" id="{0B079C8E-5DB4-4ACA-8A25-BDAE7CE9EA2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91162" y="3017838"/>
                <a:ext cx="1208088" cy="819150"/>
              </a:xfrm>
              <a:custGeom>
                <a:avLst/>
                <a:gdLst>
                  <a:gd name="connsiteX0" fmla="*/ 736459 w 1208088"/>
                  <a:gd name="connsiteY0" fmla="*/ 676275 h 819150"/>
                  <a:gd name="connsiteX1" fmla="*/ 720725 w 1208088"/>
                  <a:gd name="connsiteY1" fmla="*/ 691797 h 819150"/>
                  <a:gd name="connsiteX2" fmla="*/ 736459 w 1208088"/>
                  <a:gd name="connsiteY2" fmla="*/ 708025 h 819150"/>
                  <a:gd name="connsiteX3" fmla="*/ 1124091 w 1208088"/>
                  <a:gd name="connsiteY3" fmla="*/ 708025 h 819150"/>
                  <a:gd name="connsiteX4" fmla="*/ 1139825 w 1208088"/>
                  <a:gd name="connsiteY4" fmla="*/ 691797 h 819150"/>
                  <a:gd name="connsiteX5" fmla="*/ 1124091 w 1208088"/>
                  <a:gd name="connsiteY5" fmla="*/ 676275 h 819150"/>
                  <a:gd name="connsiteX6" fmla="*/ 736459 w 1208088"/>
                  <a:gd name="connsiteY6" fmla="*/ 676275 h 819150"/>
                  <a:gd name="connsiteX7" fmla="*/ 83996 w 1208088"/>
                  <a:gd name="connsiteY7" fmla="*/ 676275 h 819150"/>
                  <a:gd name="connsiteX8" fmla="*/ 68262 w 1208088"/>
                  <a:gd name="connsiteY8" fmla="*/ 691797 h 819150"/>
                  <a:gd name="connsiteX9" fmla="*/ 83996 w 1208088"/>
                  <a:gd name="connsiteY9" fmla="*/ 708025 h 819150"/>
                  <a:gd name="connsiteX10" fmla="*/ 471628 w 1208088"/>
                  <a:gd name="connsiteY10" fmla="*/ 708025 h 819150"/>
                  <a:gd name="connsiteX11" fmla="*/ 487362 w 1208088"/>
                  <a:gd name="connsiteY11" fmla="*/ 691797 h 819150"/>
                  <a:gd name="connsiteX12" fmla="*/ 471628 w 1208088"/>
                  <a:gd name="connsiteY12" fmla="*/ 676275 h 819150"/>
                  <a:gd name="connsiteX13" fmla="*/ 83996 w 1208088"/>
                  <a:gd name="connsiteY13" fmla="*/ 676275 h 819150"/>
                  <a:gd name="connsiteX14" fmla="*/ 736459 w 1208088"/>
                  <a:gd name="connsiteY14" fmla="*/ 601662 h 819150"/>
                  <a:gd name="connsiteX15" fmla="*/ 720725 w 1208088"/>
                  <a:gd name="connsiteY15" fmla="*/ 616744 h 819150"/>
                  <a:gd name="connsiteX16" fmla="*/ 736459 w 1208088"/>
                  <a:gd name="connsiteY16" fmla="*/ 631825 h 819150"/>
                  <a:gd name="connsiteX17" fmla="*/ 1124091 w 1208088"/>
                  <a:gd name="connsiteY17" fmla="*/ 631825 h 819150"/>
                  <a:gd name="connsiteX18" fmla="*/ 1139825 w 1208088"/>
                  <a:gd name="connsiteY18" fmla="*/ 616744 h 819150"/>
                  <a:gd name="connsiteX19" fmla="*/ 1124091 w 1208088"/>
                  <a:gd name="connsiteY19" fmla="*/ 601662 h 819150"/>
                  <a:gd name="connsiteX20" fmla="*/ 736459 w 1208088"/>
                  <a:gd name="connsiteY20" fmla="*/ 601662 h 819150"/>
                  <a:gd name="connsiteX21" fmla="*/ 83996 w 1208088"/>
                  <a:gd name="connsiteY21" fmla="*/ 601662 h 819150"/>
                  <a:gd name="connsiteX22" fmla="*/ 68262 w 1208088"/>
                  <a:gd name="connsiteY22" fmla="*/ 616744 h 819150"/>
                  <a:gd name="connsiteX23" fmla="*/ 83996 w 1208088"/>
                  <a:gd name="connsiteY23" fmla="*/ 631825 h 819150"/>
                  <a:gd name="connsiteX24" fmla="*/ 471628 w 1208088"/>
                  <a:gd name="connsiteY24" fmla="*/ 631825 h 819150"/>
                  <a:gd name="connsiteX25" fmla="*/ 487362 w 1208088"/>
                  <a:gd name="connsiteY25" fmla="*/ 616744 h 819150"/>
                  <a:gd name="connsiteX26" fmla="*/ 471628 w 1208088"/>
                  <a:gd name="connsiteY26" fmla="*/ 601662 h 819150"/>
                  <a:gd name="connsiteX27" fmla="*/ 83996 w 1208088"/>
                  <a:gd name="connsiteY27" fmla="*/ 601662 h 819150"/>
                  <a:gd name="connsiteX28" fmla="*/ 736459 w 1208088"/>
                  <a:gd name="connsiteY28" fmla="*/ 525462 h 819150"/>
                  <a:gd name="connsiteX29" fmla="*/ 720725 w 1208088"/>
                  <a:gd name="connsiteY29" fmla="*/ 541337 h 819150"/>
                  <a:gd name="connsiteX30" fmla="*/ 736459 w 1208088"/>
                  <a:gd name="connsiteY30" fmla="*/ 557212 h 819150"/>
                  <a:gd name="connsiteX31" fmla="*/ 1124091 w 1208088"/>
                  <a:gd name="connsiteY31" fmla="*/ 557212 h 819150"/>
                  <a:gd name="connsiteX32" fmla="*/ 1139825 w 1208088"/>
                  <a:gd name="connsiteY32" fmla="*/ 541337 h 819150"/>
                  <a:gd name="connsiteX33" fmla="*/ 1124091 w 1208088"/>
                  <a:gd name="connsiteY33" fmla="*/ 525462 h 819150"/>
                  <a:gd name="connsiteX34" fmla="*/ 736459 w 1208088"/>
                  <a:gd name="connsiteY34" fmla="*/ 525462 h 819150"/>
                  <a:gd name="connsiteX35" fmla="*/ 83996 w 1208088"/>
                  <a:gd name="connsiteY35" fmla="*/ 525462 h 819150"/>
                  <a:gd name="connsiteX36" fmla="*/ 68262 w 1208088"/>
                  <a:gd name="connsiteY36" fmla="*/ 541337 h 819150"/>
                  <a:gd name="connsiteX37" fmla="*/ 83996 w 1208088"/>
                  <a:gd name="connsiteY37" fmla="*/ 557212 h 819150"/>
                  <a:gd name="connsiteX38" fmla="*/ 471628 w 1208088"/>
                  <a:gd name="connsiteY38" fmla="*/ 557212 h 819150"/>
                  <a:gd name="connsiteX39" fmla="*/ 487362 w 1208088"/>
                  <a:gd name="connsiteY39" fmla="*/ 541337 h 819150"/>
                  <a:gd name="connsiteX40" fmla="*/ 471628 w 1208088"/>
                  <a:gd name="connsiteY40" fmla="*/ 525462 h 819150"/>
                  <a:gd name="connsiteX41" fmla="*/ 83996 w 1208088"/>
                  <a:gd name="connsiteY41" fmla="*/ 525462 h 819150"/>
                  <a:gd name="connsiteX42" fmla="*/ 736459 w 1208088"/>
                  <a:gd name="connsiteY42" fmla="*/ 450850 h 819150"/>
                  <a:gd name="connsiteX43" fmla="*/ 720725 w 1208088"/>
                  <a:gd name="connsiteY43" fmla="*/ 466725 h 819150"/>
                  <a:gd name="connsiteX44" fmla="*/ 736459 w 1208088"/>
                  <a:gd name="connsiteY44" fmla="*/ 482600 h 819150"/>
                  <a:gd name="connsiteX45" fmla="*/ 1124091 w 1208088"/>
                  <a:gd name="connsiteY45" fmla="*/ 482600 h 819150"/>
                  <a:gd name="connsiteX46" fmla="*/ 1139825 w 1208088"/>
                  <a:gd name="connsiteY46" fmla="*/ 466725 h 819150"/>
                  <a:gd name="connsiteX47" fmla="*/ 1124091 w 1208088"/>
                  <a:gd name="connsiteY47" fmla="*/ 450850 h 819150"/>
                  <a:gd name="connsiteX48" fmla="*/ 736459 w 1208088"/>
                  <a:gd name="connsiteY48" fmla="*/ 450850 h 819150"/>
                  <a:gd name="connsiteX49" fmla="*/ 83996 w 1208088"/>
                  <a:gd name="connsiteY49" fmla="*/ 450850 h 819150"/>
                  <a:gd name="connsiteX50" fmla="*/ 68262 w 1208088"/>
                  <a:gd name="connsiteY50" fmla="*/ 466725 h 819150"/>
                  <a:gd name="connsiteX51" fmla="*/ 83996 w 1208088"/>
                  <a:gd name="connsiteY51" fmla="*/ 482600 h 819150"/>
                  <a:gd name="connsiteX52" fmla="*/ 471628 w 1208088"/>
                  <a:gd name="connsiteY52" fmla="*/ 482600 h 819150"/>
                  <a:gd name="connsiteX53" fmla="*/ 487362 w 1208088"/>
                  <a:gd name="connsiteY53" fmla="*/ 466725 h 819150"/>
                  <a:gd name="connsiteX54" fmla="*/ 471628 w 1208088"/>
                  <a:gd name="connsiteY54" fmla="*/ 450850 h 819150"/>
                  <a:gd name="connsiteX55" fmla="*/ 83996 w 1208088"/>
                  <a:gd name="connsiteY55" fmla="*/ 450850 h 819150"/>
                  <a:gd name="connsiteX56" fmla="*/ 736459 w 1208088"/>
                  <a:gd name="connsiteY56" fmla="*/ 374650 h 819150"/>
                  <a:gd name="connsiteX57" fmla="*/ 720725 w 1208088"/>
                  <a:gd name="connsiteY57" fmla="*/ 390525 h 819150"/>
                  <a:gd name="connsiteX58" fmla="*/ 736459 w 1208088"/>
                  <a:gd name="connsiteY58" fmla="*/ 406400 h 819150"/>
                  <a:gd name="connsiteX59" fmla="*/ 1124091 w 1208088"/>
                  <a:gd name="connsiteY59" fmla="*/ 406400 h 819150"/>
                  <a:gd name="connsiteX60" fmla="*/ 1139825 w 1208088"/>
                  <a:gd name="connsiteY60" fmla="*/ 390525 h 819150"/>
                  <a:gd name="connsiteX61" fmla="*/ 1124091 w 1208088"/>
                  <a:gd name="connsiteY61" fmla="*/ 374650 h 819150"/>
                  <a:gd name="connsiteX62" fmla="*/ 736459 w 1208088"/>
                  <a:gd name="connsiteY62" fmla="*/ 374650 h 819150"/>
                  <a:gd name="connsiteX63" fmla="*/ 83996 w 1208088"/>
                  <a:gd name="connsiteY63" fmla="*/ 374650 h 819150"/>
                  <a:gd name="connsiteX64" fmla="*/ 68262 w 1208088"/>
                  <a:gd name="connsiteY64" fmla="*/ 390525 h 819150"/>
                  <a:gd name="connsiteX65" fmla="*/ 83996 w 1208088"/>
                  <a:gd name="connsiteY65" fmla="*/ 406400 h 819150"/>
                  <a:gd name="connsiteX66" fmla="*/ 471628 w 1208088"/>
                  <a:gd name="connsiteY66" fmla="*/ 406400 h 819150"/>
                  <a:gd name="connsiteX67" fmla="*/ 487362 w 1208088"/>
                  <a:gd name="connsiteY67" fmla="*/ 390525 h 819150"/>
                  <a:gd name="connsiteX68" fmla="*/ 471628 w 1208088"/>
                  <a:gd name="connsiteY68" fmla="*/ 374650 h 819150"/>
                  <a:gd name="connsiteX69" fmla="*/ 83996 w 1208088"/>
                  <a:gd name="connsiteY69" fmla="*/ 374650 h 819150"/>
                  <a:gd name="connsiteX70" fmla="*/ 736459 w 1208088"/>
                  <a:gd name="connsiteY70" fmla="*/ 300037 h 819150"/>
                  <a:gd name="connsiteX71" fmla="*/ 720725 w 1208088"/>
                  <a:gd name="connsiteY71" fmla="*/ 315912 h 819150"/>
                  <a:gd name="connsiteX72" fmla="*/ 736459 w 1208088"/>
                  <a:gd name="connsiteY72" fmla="*/ 331787 h 819150"/>
                  <a:gd name="connsiteX73" fmla="*/ 1124091 w 1208088"/>
                  <a:gd name="connsiteY73" fmla="*/ 331787 h 819150"/>
                  <a:gd name="connsiteX74" fmla="*/ 1139825 w 1208088"/>
                  <a:gd name="connsiteY74" fmla="*/ 315912 h 819150"/>
                  <a:gd name="connsiteX75" fmla="*/ 1124091 w 1208088"/>
                  <a:gd name="connsiteY75" fmla="*/ 300037 h 819150"/>
                  <a:gd name="connsiteX76" fmla="*/ 736459 w 1208088"/>
                  <a:gd name="connsiteY76" fmla="*/ 300037 h 819150"/>
                  <a:gd name="connsiteX77" fmla="*/ 83996 w 1208088"/>
                  <a:gd name="connsiteY77" fmla="*/ 300037 h 819150"/>
                  <a:gd name="connsiteX78" fmla="*/ 68262 w 1208088"/>
                  <a:gd name="connsiteY78" fmla="*/ 315912 h 819150"/>
                  <a:gd name="connsiteX79" fmla="*/ 83996 w 1208088"/>
                  <a:gd name="connsiteY79" fmla="*/ 331787 h 819150"/>
                  <a:gd name="connsiteX80" fmla="*/ 471628 w 1208088"/>
                  <a:gd name="connsiteY80" fmla="*/ 331787 h 819150"/>
                  <a:gd name="connsiteX81" fmla="*/ 487362 w 1208088"/>
                  <a:gd name="connsiteY81" fmla="*/ 315912 h 819150"/>
                  <a:gd name="connsiteX82" fmla="*/ 471628 w 1208088"/>
                  <a:gd name="connsiteY82" fmla="*/ 300037 h 819150"/>
                  <a:gd name="connsiteX83" fmla="*/ 83996 w 1208088"/>
                  <a:gd name="connsiteY83" fmla="*/ 300037 h 819150"/>
                  <a:gd name="connsiteX84" fmla="*/ 736459 w 1208088"/>
                  <a:gd name="connsiteY84" fmla="*/ 223837 h 819150"/>
                  <a:gd name="connsiteX85" fmla="*/ 720725 w 1208088"/>
                  <a:gd name="connsiteY85" fmla="*/ 239712 h 819150"/>
                  <a:gd name="connsiteX86" fmla="*/ 736459 w 1208088"/>
                  <a:gd name="connsiteY86" fmla="*/ 255587 h 819150"/>
                  <a:gd name="connsiteX87" fmla="*/ 1124091 w 1208088"/>
                  <a:gd name="connsiteY87" fmla="*/ 255587 h 819150"/>
                  <a:gd name="connsiteX88" fmla="*/ 1139825 w 1208088"/>
                  <a:gd name="connsiteY88" fmla="*/ 239712 h 819150"/>
                  <a:gd name="connsiteX89" fmla="*/ 1124091 w 1208088"/>
                  <a:gd name="connsiteY89" fmla="*/ 223837 h 819150"/>
                  <a:gd name="connsiteX90" fmla="*/ 736459 w 1208088"/>
                  <a:gd name="connsiteY90" fmla="*/ 223837 h 819150"/>
                  <a:gd name="connsiteX91" fmla="*/ 83996 w 1208088"/>
                  <a:gd name="connsiteY91" fmla="*/ 223837 h 819150"/>
                  <a:gd name="connsiteX92" fmla="*/ 68262 w 1208088"/>
                  <a:gd name="connsiteY92" fmla="*/ 239712 h 819150"/>
                  <a:gd name="connsiteX93" fmla="*/ 83996 w 1208088"/>
                  <a:gd name="connsiteY93" fmla="*/ 255587 h 819150"/>
                  <a:gd name="connsiteX94" fmla="*/ 471628 w 1208088"/>
                  <a:gd name="connsiteY94" fmla="*/ 255587 h 819150"/>
                  <a:gd name="connsiteX95" fmla="*/ 487362 w 1208088"/>
                  <a:gd name="connsiteY95" fmla="*/ 239712 h 819150"/>
                  <a:gd name="connsiteX96" fmla="*/ 471628 w 1208088"/>
                  <a:gd name="connsiteY96" fmla="*/ 223837 h 819150"/>
                  <a:gd name="connsiteX97" fmla="*/ 83996 w 1208088"/>
                  <a:gd name="connsiteY97" fmla="*/ 223837 h 819150"/>
                  <a:gd name="connsiteX98" fmla="*/ 736459 w 1208088"/>
                  <a:gd name="connsiteY98" fmla="*/ 149225 h 819150"/>
                  <a:gd name="connsiteX99" fmla="*/ 720725 w 1208088"/>
                  <a:gd name="connsiteY99" fmla="*/ 164307 h 819150"/>
                  <a:gd name="connsiteX100" fmla="*/ 736459 w 1208088"/>
                  <a:gd name="connsiteY100" fmla="*/ 179388 h 819150"/>
                  <a:gd name="connsiteX101" fmla="*/ 1124091 w 1208088"/>
                  <a:gd name="connsiteY101" fmla="*/ 179388 h 819150"/>
                  <a:gd name="connsiteX102" fmla="*/ 1139825 w 1208088"/>
                  <a:gd name="connsiteY102" fmla="*/ 164307 h 819150"/>
                  <a:gd name="connsiteX103" fmla="*/ 1124091 w 1208088"/>
                  <a:gd name="connsiteY103" fmla="*/ 149225 h 819150"/>
                  <a:gd name="connsiteX104" fmla="*/ 736459 w 1208088"/>
                  <a:gd name="connsiteY104" fmla="*/ 149225 h 819150"/>
                  <a:gd name="connsiteX105" fmla="*/ 83996 w 1208088"/>
                  <a:gd name="connsiteY105" fmla="*/ 149225 h 819150"/>
                  <a:gd name="connsiteX106" fmla="*/ 68262 w 1208088"/>
                  <a:gd name="connsiteY106" fmla="*/ 164307 h 819150"/>
                  <a:gd name="connsiteX107" fmla="*/ 83996 w 1208088"/>
                  <a:gd name="connsiteY107" fmla="*/ 179388 h 819150"/>
                  <a:gd name="connsiteX108" fmla="*/ 471628 w 1208088"/>
                  <a:gd name="connsiteY108" fmla="*/ 179388 h 819150"/>
                  <a:gd name="connsiteX109" fmla="*/ 487362 w 1208088"/>
                  <a:gd name="connsiteY109" fmla="*/ 164307 h 819150"/>
                  <a:gd name="connsiteX110" fmla="*/ 471628 w 1208088"/>
                  <a:gd name="connsiteY110" fmla="*/ 149225 h 819150"/>
                  <a:gd name="connsiteX111" fmla="*/ 83996 w 1208088"/>
                  <a:gd name="connsiteY111" fmla="*/ 149225 h 819150"/>
                  <a:gd name="connsiteX112" fmla="*/ 650875 w 1208088"/>
                  <a:gd name="connsiteY112" fmla="*/ 0 h 819150"/>
                  <a:gd name="connsiteX113" fmla="*/ 1208088 w 1208088"/>
                  <a:gd name="connsiteY113" fmla="*/ 0 h 819150"/>
                  <a:gd name="connsiteX114" fmla="*/ 1208088 w 1208088"/>
                  <a:gd name="connsiteY114" fmla="*/ 819150 h 819150"/>
                  <a:gd name="connsiteX115" fmla="*/ 650875 w 1208088"/>
                  <a:gd name="connsiteY115" fmla="*/ 819150 h 819150"/>
                  <a:gd name="connsiteX116" fmla="*/ 650875 w 1208088"/>
                  <a:gd name="connsiteY116" fmla="*/ 0 h 819150"/>
                  <a:gd name="connsiteX117" fmla="*/ 0 w 1208088"/>
                  <a:gd name="connsiteY117" fmla="*/ 0 h 819150"/>
                  <a:gd name="connsiteX118" fmla="*/ 557213 w 1208088"/>
                  <a:gd name="connsiteY118" fmla="*/ 0 h 819150"/>
                  <a:gd name="connsiteX119" fmla="*/ 557213 w 1208088"/>
                  <a:gd name="connsiteY119" fmla="*/ 819150 h 819150"/>
                  <a:gd name="connsiteX120" fmla="*/ 0 w 1208088"/>
                  <a:gd name="connsiteY120" fmla="*/ 819150 h 819150"/>
                  <a:gd name="connsiteX121" fmla="*/ 0 w 1208088"/>
                  <a:gd name="connsiteY121" fmla="*/ 0 h 819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</a:cxnLst>
                <a:rect l="l" t="t" r="r" b="b"/>
                <a:pathLst>
                  <a:path w="1208088" h="819150">
                    <a:moveTo>
                      <a:pt x="736459" y="676275"/>
                    </a:moveTo>
                    <a:cubicBezTo>
                      <a:pt x="727877" y="676275"/>
                      <a:pt x="720725" y="683331"/>
                      <a:pt x="720725" y="691797"/>
                    </a:cubicBezTo>
                    <a:cubicBezTo>
                      <a:pt x="720725" y="700970"/>
                      <a:pt x="727877" y="708025"/>
                      <a:pt x="736459" y="708025"/>
                    </a:cubicBezTo>
                    <a:cubicBezTo>
                      <a:pt x="736459" y="708025"/>
                      <a:pt x="736459" y="708025"/>
                      <a:pt x="1124091" y="708025"/>
                    </a:cubicBezTo>
                    <a:cubicBezTo>
                      <a:pt x="1132673" y="708025"/>
                      <a:pt x="1139825" y="700970"/>
                      <a:pt x="1139825" y="691797"/>
                    </a:cubicBezTo>
                    <a:cubicBezTo>
                      <a:pt x="1139825" y="683331"/>
                      <a:pt x="1132673" y="676275"/>
                      <a:pt x="1124091" y="676275"/>
                    </a:cubicBezTo>
                    <a:cubicBezTo>
                      <a:pt x="1124091" y="676275"/>
                      <a:pt x="1124091" y="676275"/>
                      <a:pt x="736459" y="676275"/>
                    </a:cubicBezTo>
                    <a:close/>
                    <a:moveTo>
                      <a:pt x="83996" y="676275"/>
                    </a:moveTo>
                    <a:cubicBezTo>
                      <a:pt x="75414" y="676275"/>
                      <a:pt x="68262" y="683331"/>
                      <a:pt x="68262" y="691797"/>
                    </a:cubicBezTo>
                    <a:cubicBezTo>
                      <a:pt x="68262" y="700970"/>
                      <a:pt x="75414" y="708025"/>
                      <a:pt x="83996" y="708025"/>
                    </a:cubicBezTo>
                    <a:cubicBezTo>
                      <a:pt x="83996" y="708025"/>
                      <a:pt x="83996" y="708025"/>
                      <a:pt x="471628" y="708025"/>
                    </a:cubicBezTo>
                    <a:cubicBezTo>
                      <a:pt x="480210" y="708025"/>
                      <a:pt x="487362" y="700970"/>
                      <a:pt x="487362" y="691797"/>
                    </a:cubicBezTo>
                    <a:cubicBezTo>
                      <a:pt x="487362" y="683331"/>
                      <a:pt x="480210" y="676275"/>
                      <a:pt x="471628" y="676275"/>
                    </a:cubicBezTo>
                    <a:cubicBezTo>
                      <a:pt x="471628" y="676275"/>
                      <a:pt x="471628" y="676275"/>
                      <a:pt x="83996" y="676275"/>
                    </a:cubicBezTo>
                    <a:close/>
                    <a:moveTo>
                      <a:pt x="736459" y="601662"/>
                    </a:moveTo>
                    <a:cubicBezTo>
                      <a:pt x="727877" y="601662"/>
                      <a:pt x="720725" y="608517"/>
                      <a:pt x="720725" y="616744"/>
                    </a:cubicBezTo>
                    <a:cubicBezTo>
                      <a:pt x="720725" y="624970"/>
                      <a:pt x="727877" y="631825"/>
                      <a:pt x="736459" y="631825"/>
                    </a:cubicBezTo>
                    <a:cubicBezTo>
                      <a:pt x="736459" y="631825"/>
                      <a:pt x="736459" y="631825"/>
                      <a:pt x="1124091" y="631825"/>
                    </a:cubicBezTo>
                    <a:cubicBezTo>
                      <a:pt x="1132673" y="631825"/>
                      <a:pt x="1139825" y="624970"/>
                      <a:pt x="1139825" y="616744"/>
                    </a:cubicBezTo>
                    <a:cubicBezTo>
                      <a:pt x="1139825" y="608517"/>
                      <a:pt x="1132673" y="601662"/>
                      <a:pt x="1124091" y="601662"/>
                    </a:cubicBezTo>
                    <a:cubicBezTo>
                      <a:pt x="1124091" y="601662"/>
                      <a:pt x="1124091" y="601662"/>
                      <a:pt x="736459" y="601662"/>
                    </a:cubicBezTo>
                    <a:close/>
                    <a:moveTo>
                      <a:pt x="83996" y="601662"/>
                    </a:moveTo>
                    <a:cubicBezTo>
                      <a:pt x="75414" y="601662"/>
                      <a:pt x="68262" y="608517"/>
                      <a:pt x="68262" y="616744"/>
                    </a:cubicBezTo>
                    <a:cubicBezTo>
                      <a:pt x="68262" y="624970"/>
                      <a:pt x="75414" y="631825"/>
                      <a:pt x="83996" y="631825"/>
                    </a:cubicBezTo>
                    <a:cubicBezTo>
                      <a:pt x="83996" y="631825"/>
                      <a:pt x="83996" y="631825"/>
                      <a:pt x="471628" y="631825"/>
                    </a:cubicBezTo>
                    <a:cubicBezTo>
                      <a:pt x="480210" y="631825"/>
                      <a:pt x="487362" y="624970"/>
                      <a:pt x="487362" y="616744"/>
                    </a:cubicBezTo>
                    <a:cubicBezTo>
                      <a:pt x="487362" y="608517"/>
                      <a:pt x="480210" y="601662"/>
                      <a:pt x="471628" y="601662"/>
                    </a:cubicBezTo>
                    <a:cubicBezTo>
                      <a:pt x="471628" y="601662"/>
                      <a:pt x="471628" y="601662"/>
                      <a:pt x="83996" y="601662"/>
                    </a:cubicBezTo>
                    <a:close/>
                    <a:moveTo>
                      <a:pt x="736459" y="525462"/>
                    </a:moveTo>
                    <a:cubicBezTo>
                      <a:pt x="727877" y="525462"/>
                      <a:pt x="720725" y="532678"/>
                      <a:pt x="720725" y="541337"/>
                    </a:cubicBezTo>
                    <a:cubicBezTo>
                      <a:pt x="720725" y="549996"/>
                      <a:pt x="727877" y="557212"/>
                      <a:pt x="736459" y="557212"/>
                    </a:cubicBezTo>
                    <a:cubicBezTo>
                      <a:pt x="736459" y="557212"/>
                      <a:pt x="736459" y="557212"/>
                      <a:pt x="1124091" y="557212"/>
                    </a:cubicBezTo>
                    <a:cubicBezTo>
                      <a:pt x="1132673" y="557212"/>
                      <a:pt x="1139825" y="549996"/>
                      <a:pt x="1139825" y="541337"/>
                    </a:cubicBezTo>
                    <a:cubicBezTo>
                      <a:pt x="1139825" y="532678"/>
                      <a:pt x="1132673" y="525462"/>
                      <a:pt x="1124091" y="525462"/>
                    </a:cubicBezTo>
                    <a:cubicBezTo>
                      <a:pt x="1124091" y="525462"/>
                      <a:pt x="1124091" y="525462"/>
                      <a:pt x="736459" y="525462"/>
                    </a:cubicBezTo>
                    <a:close/>
                    <a:moveTo>
                      <a:pt x="83996" y="525462"/>
                    </a:moveTo>
                    <a:cubicBezTo>
                      <a:pt x="75414" y="525462"/>
                      <a:pt x="68262" y="532678"/>
                      <a:pt x="68262" y="541337"/>
                    </a:cubicBezTo>
                    <a:cubicBezTo>
                      <a:pt x="68262" y="549996"/>
                      <a:pt x="75414" y="557212"/>
                      <a:pt x="83996" y="557212"/>
                    </a:cubicBezTo>
                    <a:cubicBezTo>
                      <a:pt x="83996" y="557212"/>
                      <a:pt x="83996" y="557212"/>
                      <a:pt x="471628" y="557212"/>
                    </a:cubicBezTo>
                    <a:cubicBezTo>
                      <a:pt x="480210" y="557212"/>
                      <a:pt x="487362" y="549996"/>
                      <a:pt x="487362" y="541337"/>
                    </a:cubicBezTo>
                    <a:cubicBezTo>
                      <a:pt x="487362" y="532678"/>
                      <a:pt x="480210" y="525462"/>
                      <a:pt x="471628" y="525462"/>
                    </a:cubicBezTo>
                    <a:cubicBezTo>
                      <a:pt x="471628" y="525462"/>
                      <a:pt x="471628" y="525462"/>
                      <a:pt x="83996" y="525462"/>
                    </a:cubicBezTo>
                    <a:close/>
                    <a:moveTo>
                      <a:pt x="736459" y="450850"/>
                    </a:moveTo>
                    <a:cubicBezTo>
                      <a:pt x="727877" y="450850"/>
                      <a:pt x="720725" y="458066"/>
                      <a:pt x="720725" y="466725"/>
                    </a:cubicBezTo>
                    <a:cubicBezTo>
                      <a:pt x="720725" y="475384"/>
                      <a:pt x="727877" y="482600"/>
                      <a:pt x="736459" y="482600"/>
                    </a:cubicBezTo>
                    <a:cubicBezTo>
                      <a:pt x="736459" y="482600"/>
                      <a:pt x="736459" y="482600"/>
                      <a:pt x="1124091" y="482600"/>
                    </a:cubicBezTo>
                    <a:cubicBezTo>
                      <a:pt x="1132673" y="482600"/>
                      <a:pt x="1139825" y="475384"/>
                      <a:pt x="1139825" y="466725"/>
                    </a:cubicBezTo>
                    <a:cubicBezTo>
                      <a:pt x="1139825" y="458066"/>
                      <a:pt x="1132673" y="450850"/>
                      <a:pt x="1124091" y="450850"/>
                    </a:cubicBezTo>
                    <a:cubicBezTo>
                      <a:pt x="1124091" y="450850"/>
                      <a:pt x="1124091" y="450850"/>
                      <a:pt x="736459" y="450850"/>
                    </a:cubicBezTo>
                    <a:close/>
                    <a:moveTo>
                      <a:pt x="83996" y="450850"/>
                    </a:moveTo>
                    <a:cubicBezTo>
                      <a:pt x="75414" y="450850"/>
                      <a:pt x="68262" y="458066"/>
                      <a:pt x="68262" y="466725"/>
                    </a:cubicBezTo>
                    <a:cubicBezTo>
                      <a:pt x="68262" y="475384"/>
                      <a:pt x="75414" y="482600"/>
                      <a:pt x="83996" y="482600"/>
                    </a:cubicBezTo>
                    <a:cubicBezTo>
                      <a:pt x="83996" y="482600"/>
                      <a:pt x="83996" y="482600"/>
                      <a:pt x="471628" y="482600"/>
                    </a:cubicBezTo>
                    <a:cubicBezTo>
                      <a:pt x="480210" y="482600"/>
                      <a:pt x="487362" y="475384"/>
                      <a:pt x="487362" y="466725"/>
                    </a:cubicBezTo>
                    <a:cubicBezTo>
                      <a:pt x="487362" y="458066"/>
                      <a:pt x="480210" y="450850"/>
                      <a:pt x="471628" y="450850"/>
                    </a:cubicBezTo>
                    <a:cubicBezTo>
                      <a:pt x="471628" y="450850"/>
                      <a:pt x="471628" y="450850"/>
                      <a:pt x="83996" y="450850"/>
                    </a:cubicBezTo>
                    <a:close/>
                    <a:moveTo>
                      <a:pt x="736459" y="374650"/>
                    </a:moveTo>
                    <a:cubicBezTo>
                      <a:pt x="727877" y="374650"/>
                      <a:pt x="720725" y="381866"/>
                      <a:pt x="720725" y="390525"/>
                    </a:cubicBezTo>
                    <a:cubicBezTo>
                      <a:pt x="720725" y="399184"/>
                      <a:pt x="727877" y="406400"/>
                      <a:pt x="736459" y="406400"/>
                    </a:cubicBezTo>
                    <a:cubicBezTo>
                      <a:pt x="736459" y="406400"/>
                      <a:pt x="736459" y="406400"/>
                      <a:pt x="1124091" y="406400"/>
                    </a:cubicBezTo>
                    <a:cubicBezTo>
                      <a:pt x="1132673" y="406400"/>
                      <a:pt x="1139825" y="399184"/>
                      <a:pt x="1139825" y="390525"/>
                    </a:cubicBezTo>
                    <a:cubicBezTo>
                      <a:pt x="1139825" y="381866"/>
                      <a:pt x="1132673" y="374650"/>
                      <a:pt x="1124091" y="374650"/>
                    </a:cubicBezTo>
                    <a:cubicBezTo>
                      <a:pt x="1124091" y="374650"/>
                      <a:pt x="1124091" y="374650"/>
                      <a:pt x="736459" y="374650"/>
                    </a:cubicBezTo>
                    <a:close/>
                    <a:moveTo>
                      <a:pt x="83996" y="374650"/>
                    </a:moveTo>
                    <a:cubicBezTo>
                      <a:pt x="75414" y="374650"/>
                      <a:pt x="68262" y="381866"/>
                      <a:pt x="68262" y="390525"/>
                    </a:cubicBezTo>
                    <a:cubicBezTo>
                      <a:pt x="68262" y="399184"/>
                      <a:pt x="75414" y="406400"/>
                      <a:pt x="83996" y="406400"/>
                    </a:cubicBezTo>
                    <a:cubicBezTo>
                      <a:pt x="83996" y="406400"/>
                      <a:pt x="83996" y="406400"/>
                      <a:pt x="471628" y="406400"/>
                    </a:cubicBezTo>
                    <a:cubicBezTo>
                      <a:pt x="480210" y="406400"/>
                      <a:pt x="487362" y="399184"/>
                      <a:pt x="487362" y="390525"/>
                    </a:cubicBezTo>
                    <a:cubicBezTo>
                      <a:pt x="487362" y="381866"/>
                      <a:pt x="480210" y="374650"/>
                      <a:pt x="471628" y="374650"/>
                    </a:cubicBezTo>
                    <a:cubicBezTo>
                      <a:pt x="471628" y="374650"/>
                      <a:pt x="471628" y="374650"/>
                      <a:pt x="83996" y="374650"/>
                    </a:cubicBezTo>
                    <a:close/>
                    <a:moveTo>
                      <a:pt x="736459" y="300037"/>
                    </a:moveTo>
                    <a:cubicBezTo>
                      <a:pt x="727877" y="300037"/>
                      <a:pt x="720725" y="307253"/>
                      <a:pt x="720725" y="315912"/>
                    </a:cubicBezTo>
                    <a:cubicBezTo>
                      <a:pt x="720725" y="324571"/>
                      <a:pt x="727877" y="331787"/>
                      <a:pt x="736459" y="331787"/>
                    </a:cubicBezTo>
                    <a:cubicBezTo>
                      <a:pt x="736459" y="331787"/>
                      <a:pt x="736459" y="331787"/>
                      <a:pt x="1124091" y="331787"/>
                    </a:cubicBezTo>
                    <a:cubicBezTo>
                      <a:pt x="1132673" y="331787"/>
                      <a:pt x="1139825" y="324571"/>
                      <a:pt x="1139825" y="315912"/>
                    </a:cubicBezTo>
                    <a:cubicBezTo>
                      <a:pt x="1139825" y="307253"/>
                      <a:pt x="1132673" y="300037"/>
                      <a:pt x="1124091" y="300037"/>
                    </a:cubicBezTo>
                    <a:cubicBezTo>
                      <a:pt x="1124091" y="300037"/>
                      <a:pt x="1124091" y="300037"/>
                      <a:pt x="736459" y="300037"/>
                    </a:cubicBezTo>
                    <a:close/>
                    <a:moveTo>
                      <a:pt x="83996" y="300037"/>
                    </a:moveTo>
                    <a:cubicBezTo>
                      <a:pt x="75414" y="300037"/>
                      <a:pt x="68262" y="307253"/>
                      <a:pt x="68262" y="315912"/>
                    </a:cubicBezTo>
                    <a:cubicBezTo>
                      <a:pt x="68262" y="324571"/>
                      <a:pt x="75414" y="331787"/>
                      <a:pt x="83996" y="331787"/>
                    </a:cubicBezTo>
                    <a:cubicBezTo>
                      <a:pt x="83996" y="331787"/>
                      <a:pt x="83996" y="331787"/>
                      <a:pt x="471628" y="331787"/>
                    </a:cubicBezTo>
                    <a:cubicBezTo>
                      <a:pt x="480210" y="331787"/>
                      <a:pt x="487362" y="324571"/>
                      <a:pt x="487362" y="315912"/>
                    </a:cubicBezTo>
                    <a:cubicBezTo>
                      <a:pt x="487362" y="307253"/>
                      <a:pt x="480210" y="300037"/>
                      <a:pt x="471628" y="300037"/>
                    </a:cubicBezTo>
                    <a:cubicBezTo>
                      <a:pt x="471628" y="300037"/>
                      <a:pt x="471628" y="300037"/>
                      <a:pt x="83996" y="300037"/>
                    </a:cubicBezTo>
                    <a:close/>
                    <a:moveTo>
                      <a:pt x="736459" y="223837"/>
                    </a:moveTo>
                    <a:cubicBezTo>
                      <a:pt x="727877" y="223837"/>
                      <a:pt x="720725" y="231053"/>
                      <a:pt x="720725" y="239712"/>
                    </a:cubicBezTo>
                    <a:cubicBezTo>
                      <a:pt x="720725" y="248371"/>
                      <a:pt x="727877" y="255587"/>
                      <a:pt x="736459" y="255587"/>
                    </a:cubicBezTo>
                    <a:cubicBezTo>
                      <a:pt x="736459" y="255587"/>
                      <a:pt x="736459" y="255587"/>
                      <a:pt x="1124091" y="255587"/>
                    </a:cubicBezTo>
                    <a:cubicBezTo>
                      <a:pt x="1132673" y="255587"/>
                      <a:pt x="1139825" y="248371"/>
                      <a:pt x="1139825" y="239712"/>
                    </a:cubicBezTo>
                    <a:cubicBezTo>
                      <a:pt x="1139825" y="231053"/>
                      <a:pt x="1132673" y="223837"/>
                      <a:pt x="1124091" y="223837"/>
                    </a:cubicBezTo>
                    <a:cubicBezTo>
                      <a:pt x="1124091" y="223837"/>
                      <a:pt x="1124091" y="223837"/>
                      <a:pt x="736459" y="223837"/>
                    </a:cubicBezTo>
                    <a:close/>
                    <a:moveTo>
                      <a:pt x="83996" y="223837"/>
                    </a:moveTo>
                    <a:cubicBezTo>
                      <a:pt x="75414" y="223837"/>
                      <a:pt x="68262" y="231053"/>
                      <a:pt x="68262" y="239712"/>
                    </a:cubicBezTo>
                    <a:cubicBezTo>
                      <a:pt x="68262" y="248371"/>
                      <a:pt x="75414" y="255587"/>
                      <a:pt x="83996" y="255587"/>
                    </a:cubicBezTo>
                    <a:cubicBezTo>
                      <a:pt x="83996" y="255587"/>
                      <a:pt x="83996" y="255587"/>
                      <a:pt x="471628" y="255587"/>
                    </a:cubicBezTo>
                    <a:cubicBezTo>
                      <a:pt x="480210" y="255587"/>
                      <a:pt x="487362" y="248371"/>
                      <a:pt x="487362" y="239712"/>
                    </a:cubicBezTo>
                    <a:cubicBezTo>
                      <a:pt x="487362" y="231053"/>
                      <a:pt x="480210" y="223837"/>
                      <a:pt x="471628" y="223837"/>
                    </a:cubicBezTo>
                    <a:cubicBezTo>
                      <a:pt x="471628" y="223837"/>
                      <a:pt x="471628" y="223837"/>
                      <a:pt x="83996" y="223837"/>
                    </a:cubicBezTo>
                    <a:close/>
                    <a:moveTo>
                      <a:pt x="736459" y="149225"/>
                    </a:moveTo>
                    <a:cubicBezTo>
                      <a:pt x="727877" y="149225"/>
                      <a:pt x="720725" y="156080"/>
                      <a:pt x="720725" y="164307"/>
                    </a:cubicBezTo>
                    <a:cubicBezTo>
                      <a:pt x="720725" y="172533"/>
                      <a:pt x="727877" y="179388"/>
                      <a:pt x="736459" y="179388"/>
                    </a:cubicBezTo>
                    <a:cubicBezTo>
                      <a:pt x="736459" y="179388"/>
                      <a:pt x="736459" y="179388"/>
                      <a:pt x="1124091" y="179388"/>
                    </a:cubicBezTo>
                    <a:cubicBezTo>
                      <a:pt x="1132673" y="179388"/>
                      <a:pt x="1139825" y="172533"/>
                      <a:pt x="1139825" y="164307"/>
                    </a:cubicBezTo>
                    <a:cubicBezTo>
                      <a:pt x="1139825" y="156080"/>
                      <a:pt x="1132673" y="149225"/>
                      <a:pt x="1124091" y="149225"/>
                    </a:cubicBezTo>
                    <a:cubicBezTo>
                      <a:pt x="1124091" y="149225"/>
                      <a:pt x="1124091" y="149225"/>
                      <a:pt x="736459" y="149225"/>
                    </a:cubicBezTo>
                    <a:close/>
                    <a:moveTo>
                      <a:pt x="83996" y="149225"/>
                    </a:moveTo>
                    <a:cubicBezTo>
                      <a:pt x="75414" y="149225"/>
                      <a:pt x="68262" y="156080"/>
                      <a:pt x="68262" y="164307"/>
                    </a:cubicBezTo>
                    <a:cubicBezTo>
                      <a:pt x="68262" y="172533"/>
                      <a:pt x="75414" y="179388"/>
                      <a:pt x="83996" y="179388"/>
                    </a:cubicBezTo>
                    <a:cubicBezTo>
                      <a:pt x="83996" y="179388"/>
                      <a:pt x="83996" y="179388"/>
                      <a:pt x="471628" y="179388"/>
                    </a:cubicBezTo>
                    <a:cubicBezTo>
                      <a:pt x="480210" y="179388"/>
                      <a:pt x="487362" y="172533"/>
                      <a:pt x="487362" y="164307"/>
                    </a:cubicBezTo>
                    <a:cubicBezTo>
                      <a:pt x="487362" y="156080"/>
                      <a:pt x="480210" y="149225"/>
                      <a:pt x="471628" y="149225"/>
                    </a:cubicBezTo>
                    <a:cubicBezTo>
                      <a:pt x="471628" y="149225"/>
                      <a:pt x="471628" y="149225"/>
                      <a:pt x="83996" y="149225"/>
                    </a:cubicBezTo>
                    <a:close/>
                    <a:moveTo>
                      <a:pt x="650875" y="0"/>
                    </a:moveTo>
                    <a:cubicBezTo>
                      <a:pt x="650875" y="0"/>
                      <a:pt x="650875" y="0"/>
                      <a:pt x="1208088" y="0"/>
                    </a:cubicBezTo>
                    <a:cubicBezTo>
                      <a:pt x="1208088" y="0"/>
                      <a:pt x="1208088" y="0"/>
                      <a:pt x="1208088" y="819150"/>
                    </a:cubicBezTo>
                    <a:cubicBezTo>
                      <a:pt x="1208088" y="819150"/>
                      <a:pt x="1208088" y="819150"/>
                      <a:pt x="650875" y="819150"/>
                    </a:cubicBezTo>
                    <a:cubicBezTo>
                      <a:pt x="650875" y="819150"/>
                      <a:pt x="650875" y="819150"/>
                      <a:pt x="650875" y="0"/>
                    </a:cubicBezTo>
                    <a:close/>
                    <a:moveTo>
                      <a:pt x="0" y="0"/>
                    </a:moveTo>
                    <a:cubicBezTo>
                      <a:pt x="0" y="0"/>
                      <a:pt x="0" y="0"/>
                      <a:pt x="557213" y="0"/>
                    </a:cubicBezTo>
                    <a:cubicBezTo>
                      <a:pt x="557213" y="0"/>
                      <a:pt x="557213" y="0"/>
                      <a:pt x="557213" y="819150"/>
                    </a:cubicBezTo>
                    <a:cubicBezTo>
                      <a:pt x="557213" y="819150"/>
                      <a:pt x="557213" y="819150"/>
                      <a:pt x="0" y="819150"/>
                    </a:cubicBezTo>
                    <a:cubicBezTo>
                      <a:pt x="0" y="819150"/>
                      <a:pt x="0" y="819150"/>
                      <a:pt x="0" y="0"/>
                    </a:cubicBez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dirty="0"/>
              </a:p>
            </p:txBody>
          </p:sp>
        </p:grpSp>
      </p:grpSp>
      <p:grpSp>
        <p:nvGrpSpPr>
          <p:cNvPr id="30" name="Group 29">
            <a:extLst>
              <a:ext uri="{FF2B5EF4-FFF2-40B4-BE49-F238E27FC236}">
                <a16:creationId xmlns:a16="http://schemas.microsoft.com/office/drawing/2014/main" id="{564AB289-E8CC-4BA7-9619-BDBEA2FEF70F}"/>
              </a:ext>
            </a:extLst>
          </p:cNvPr>
          <p:cNvGrpSpPr>
            <a:grpSpLocks noChangeAspect="1"/>
          </p:cNvGrpSpPr>
          <p:nvPr/>
        </p:nvGrpSpPr>
        <p:grpSpPr>
          <a:xfrm>
            <a:off x="577535" y="2391436"/>
            <a:ext cx="1043756" cy="1043756"/>
            <a:chOff x="5273675" y="2606675"/>
            <a:chExt cx="1644650" cy="1644650"/>
          </a:xfrm>
        </p:grpSpPr>
        <p:sp>
          <p:nvSpPr>
            <p:cNvPr id="31" name="AutoShape 3">
              <a:extLst>
                <a:ext uri="{FF2B5EF4-FFF2-40B4-BE49-F238E27FC236}">
                  <a16:creationId xmlns:a16="http://schemas.microsoft.com/office/drawing/2014/main" id="{CE404F37-0C34-474B-BEE1-37114DC26D3A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5273675" y="2606675"/>
              <a:ext cx="1644650" cy="16446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grpSp>
          <p:nvGrpSpPr>
            <p:cNvPr id="32" name="Group 31">
              <a:extLst>
                <a:ext uri="{FF2B5EF4-FFF2-40B4-BE49-F238E27FC236}">
                  <a16:creationId xmlns:a16="http://schemas.microsoft.com/office/drawing/2014/main" id="{891BD000-E058-4112-9DF9-28A6B66EF96F}"/>
                </a:ext>
              </a:extLst>
            </p:cNvPr>
            <p:cNvGrpSpPr/>
            <p:nvPr/>
          </p:nvGrpSpPr>
          <p:grpSpPr>
            <a:xfrm>
              <a:off x="5344737" y="2882899"/>
              <a:ext cx="1503356" cy="1095375"/>
              <a:chOff x="5344737" y="2882899"/>
              <a:chExt cx="1503356" cy="1095375"/>
            </a:xfrm>
          </p:grpSpPr>
          <p:sp>
            <p:nvSpPr>
              <p:cNvPr id="33" name="Freeform 11">
                <a:extLst>
                  <a:ext uri="{FF2B5EF4-FFF2-40B4-BE49-F238E27FC236}">
                    <a16:creationId xmlns:a16="http://schemas.microsoft.com/office/drawing/2014/main" id="{9ECF17BB-40C5-4B92-BB5F-38FE2459653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44737" y="2919412"/>
                <a:ext cx="1311651" cy="1058862"/>
              </a:xfrm>
              <a:custGeom>
                <a:avLst/>
                <a:gdLst>
                  <a:gd name="connsiteX0" fmla="*/ 952975 w 1311651"/>
                  <a:gd name="connsiteY0" fmla="*/ 515937 h 1058862"/>
                  <a:gd name="connsiteX1" fmla="*/ 977933 w 1311651"/>
                  <a:gd name="connsiteY1" fmla="*/ 549469 h 1058862"/>
                  <a:gd name="connsiteX2" fmla="*/ 976507 w 1311651"/>
                  <a:gd name="connsiteY2" fmla="*/ 563737 h 1058862"/>
                  <a:gd name="connsiteX3" fmla="*/ 975080 w 1311651"/>
                  <a:gd name="connsiteY3" fmla="*/ 590135 h 1058862"/>
                  <a:gd name="connsiteX4" fmla="*/ 969376 w 1311651"/>
                  <a:gd name="connsiteY4" fmla="*/ 644356 h 1058862"/>
                  <a:gd name="connsiteX5" fmla="*/ 933009 w 1311651"/>
                  <a:gd name="connsiteY5" fmla="*/ 702144 h 1058862"/>
                  <a:gd name="connsiteX6" fmla="*/ 915182 w 1311651"/>
                  <a:gd name="connsiteY6" fmla="*/ 727828 h 1058862"/>
                  <a:gd name="connsiteX7" fmla="*/ 964384 w 1311651"/>
                  <a:gd name="connsiteY7" fmla="*/ 738529 h 1058862"/>
                  <a:gd name="connsiteX8" fmla="*/ 977220 w 1311651"/>
                  <a:gd name="connsiteY8" fmla="*/ 742810 h 1058862"/>
                  <a:gd name="connsiteX9" fmla="*/ 981498 w 1311651"/>
                  <a:gd name="connsiteY9" fmla="*/ 755652 h 1058862"/>
                  <a:gd name="connsiteX10" fmla="*/ 986490 w 1311651"/>
                  <a:gd name="connsiteY10" fmla="*/ 887637 h 1058862"/>
                  <a:gd name="connsiteX11" fmla="*/ 1049240 w 1311651"/>
                  <a:gd name="connsiteY11" fmla="*/ 894772 h 1058862"/>
                  <a:gd name="connsiteX12" fmla="*/ 1110564 w 1311651"/>
                  <a:gd name="connsiteY12" fmla="*/ 891205 h 1058862"/>
                  <a:gd name="connsiteX13" fmla="*/ 1123400 w 1311651"/>
                  <a:gd name="connsiteY13" fmla="*/ 893345 h 1058862"/>
                  <a:gd name="connsiteX14" fmla="*/ 1130531 w 1311651"/>
                  <a:gd name="connsiteY14" fmla="*/ 906187 h 1058862"/>
                  <a:gd name="connsiteX15" fmla="*/ 1130531 w 1311651"/>
                  <a:gd name="connsiteY15" fmla="*/ 1027471 h 1058862"/>
                  <a:gd name="connsiteX16" fmla="*/ 1280276 w 1311651"/>
                  <a:gd name="connsiteY16" fmla="*/ 993226 h 1058862"/>
                  <a:gd name="connsiteX17" fmla="*/ 1280276 w 1311651"/>
                  <a:gd name="connsiteY17" fmla="*/ 968969 h 1058862"/>
                  <a:gd name="connsiteX18" fmla="*/ 1311651 w 1311651"/>
                  <a:gd name="connsiteY18" fmla="*/ 959694 h 1058862"/>
                  <a:gd name="connsiteX19" fmla="*/ 1311651 w 1311651"/>
                  <a:gd name="connsiteY19" fmla="*/ 1002501 h 1058862"/>
                  <a:gd name="connsiteX20" fmla="*/ 1304520 w 1311651"/>
                  <a:gd name="connsiteY20" fmla="*/ 1016056 h 1058862"/>
                  <a:gd name="connsiteX21" fmla="*/ 1129817 w 1311651"/>
                  <a:gd name="connsiteY21" fmla="*/ 1058862 h 1058862"/>
                  <a:gd name="connsiteX22" fmla="*/ 1113417 w 1311651"/>
                  <a:gd name="connsiteY22" fmla="*/ 1058149 h 1058862"/>
                  <a:gd name="connsiteX23" fmla="*/ 1099155 w 1311651"/>
                  <a:gd name="connsiteY23" fmla="*/ 1042453 h 1058862"/>
                  <a:gd name="connsiteX24" fmla="*/ 1099155 w 1311651"/>
                  <a:gd name="connsiteY24" fmla="*/ 924023 h 1058862"/>
                  <a:gd name="connsiteX25" fmla="*/ 1050666 w 1311651"/>
                  <a:gd name="connsiteY25" fmla="*/ 926163 h 1058862"/>
                  <a:gd name="connsiteX26" fmla="*/ 963671 w 1311651"/>
                  <a:gd name="connsiteY26" fmla="*/ 909754 h 1058862"/>
                  <a:gd name="connsiteX27" fmla="*/ 947984 w 1311651"/>
                  <a:gd name="connsiteY27" fmla="*/ 819148 h 1058862"/>
                  <a:gd name="connsiteX28" fmla="*/ 949410 w 1311651"/>
                  <a:gd name="connsiteY28" fmla="*/ 770634 h 1058862"/>
                  <a:gd name="connsiteX29" fmla="*/ 884520 w 1311651"/>
                  <a:gd name="connsiteY29" fmla="*/ 739243 h 1058862"/>
                  <a:gd name="connsiteX30" fmla="*/ 910904 w 1311651"/>
                  <a:gd name="connsiteY30" fmla="*/ 680027 h 1058862"/>
                  <a:gd name="connsiteX31" fmla="*/ 940853 w 1311651"/>
                  <a:gd name="connsiteY31" fmla="*/ 632941 h 1058862"/>
                  <a:gd name="connsiteX32" fmla="*/ 943705 w 1311651"/>
                  <a:gd name="connsiteY32" fmla="*/ 589421 h 1058862"/>
                  <a:gd name="connsiteX33" fmla="*/ 945131 w 1311651"/>
                  <a:gd name="connsiteY33" fmla="*/ 561597 h 1058862"/>
                  <a:gd name="connsiteX34" fmla="*/ 952975 w 1311651"/>
                  <a:gd name="connsiteY34" fmla="*/ 515937 h 1058862"/>
                  <a:gd name="connsiteX35" fmla="*/ 284345 w 1311651"/>
                  <a:gd name="connsiteY35" fmla="*/ 333375 h 1058862"/>
                  <a:gd name="connsiteX36" fmla="*/ 561107 w 1311651"/>
                  <a:gd name="connsiteY36" fmla="*/ 374853 h 1058862"/>
                  <a:gd name="connsiteX37" fmla="*/ 521162 w 1311651"/>
                  <a:gd name="connsiteY37" fmla="*/ 464244 h 1058862"/>
                  <a:gd name="connsiteX38" fmla="*/ 519022 w 1311651"/>
                  <a:gd name="connsiteY38" fmla="*/ 466389 h 1058862"/>
                  <a:gd name="connsiteX39" fmla="*/ 335703 w 1311651"/>
                  <a:gd name="connsiteY39" fmla="*/ 508582 h 1058862"/>
                  <a:gd name="connsiteX40" fmla="*/ 272932 w 1311651"/>
                  <a:gd name="connsiteY40" fmla="*/ 648032 h 1058862"/>
                  <a:gd name="connsiteX41" fmla="*/ 228707 w 1311651"/>
                  <a:gd name="connsiteY41" fmla="*/ 651608 h 1058862"/>
                  <a:gd name="connsiteX42" fmla="*/ 225854 w 1311651"/>
                  <a:gd name="connsiteY42" fmla="*/ 649462 h 1058862"/>
                  <a:gd name="connsiteX43" fmla="*/ 140971 w 1311651"/>
                  <a:gd name="connsiteY43" fmla="*/ 575089 h 1058862"/>
                  <a:gd name="connsiteX44" fmla="*/ 140258 w 1311651"/>
                  <a:gd name="connsiteY44" fmla="*/ 737423 h 1058862"/>
                  <a:gd name="connsiteX45" fmla="*/ 140971 w 1311651"/>
                  <a:gd name="connsiteY45" fmla="*/ 738138 h 1058862"/>
                  <a:gd name="connsiteX46" fmla="*/ 140971 w 1311651"/>
                  <a:gd name="connsiteY46" fmla="*/ 857565 h 1058862"/>
                  <a:gd name="connsiteX47" fmla="*/ 139544 w 1311651"/>
                  <a:gd name="connsiteY47" fmla="*/ 859710 h 1058862"/>
                  <a:gd name="connsiteX48" fmla="*/ 136691 w 1311651"/>
                  <a:gd name="connsiteY48" fmla="*/ 859710 h 1058862"/>
                  <a:gd name="connsiteX49" fmla="*/ 134551 w 1311651"/>
                  <a:gd name="connsiteY49" fmla="*/ 857565 h 1058862"/>
                  <a:gd name="connsiteX50" fmla="*/ 20423 w 1311651"/>
                  <a:gd name="connsiteY50" fmla="*/ 502861 h 1058862"/>
                  <a:gd name="connsiteX51" fmla="*/ 284345 w 1311651"/>
                  <a:gd name="connsiteY51" fmla="*/ 333375 h 1058862"/>
                  <a:gd name="connsiteX52" fmla="*/ 789169 w 1311651"/>
                  <a:gd name="connsiteY52" fmla="*/ 0 h 1058862"/>
                  <a:gd name="connsiteX53" fmla="*/ 1041259 w 1311651"/>
                  <a:gd name="connsiteY53" fmla="*/ 0 h 1058862"/>
                  <a:gd name="connsiteX54" fmla="*/ 1078289 w 1311651"/>
                  <a:gd name="connsiteY54" fmla="*/ 37211 h 1058862"/>
                  <a:gd name="connsiteX55" fmla="*/ 1078289 w 1311651"/>
                  <a:gd name="connsiteY55" fmla="*/ 197503 h 1058862"/>
                  <a:gd name="connsiteX56" fmla="*/ 1041259 w 1311651"/>
                  <a:gd name="connsiteY56" fmla="*/ 234714 h 1058862"/>
                  <a:gd name="connsiteX57" fmla="*/ 977881 w 1311651"/>
                  <a:gd name="connsiteY57" fmla="*/ 234714 h 1058862"/>
                  <a:gd name="connsiteX58" fmla="*/ 977881 w 1311651"/>
                  <a:gd name="connsiteY58" fmla="*/ 320585 h 1058862"/>
                  <a:gd name="connsiteX59" fmla="*/ 969335 w 1311651"/>
                  <a:gd name="connsiteY59" fmla="*/ 327025 h 1058862"/>
                  <a:gd name="connsiteX60" fmla="*/ 957229 w 1311651"/>
                  <a:gd name="connsiteY60" fmla="*/ 320585 h 1058862"/>
                  <a:gd name="connsiteX61" fmla="*/ 878184 w 1311651"/>
                  <a:gd name="connsiteY61" fmla="*/ 234714 h 1058862"/>
                  <a:gd name="connsiteX62" fmla="*/ 789169 w 1311651"/>
                  <a:gd name="connsiteY62" fmla="*/ 234714 h 1058862"/>
                  <a:gd name="connsiteX63" fmla="*/ 752851 w 1311651"/>
                  <a:gd name="connsiteY63" fmla="*/ 197503 h 1058862"/>
                  <a:gd name="connsiteX64" fmla="*/ 752851 w 1311651"/>
                  <a:gd name="connsiteY64" fmla="*/ 196072 h 1058862"/>
                  <a:gd name="connsiteX65" fmla="*/ 752851 w 1311651"/>
                  <a:gd name="connsiteY65" fmla="*/ 37211 h 1058862"/>
                  <a:gd name="connsiteX66" fmla="*/ 773503 w 1311651"/>
                  <a:gd name="connsiteY66" fmla="*/ 3578 h 1058862"/>
                  <a:gd name="connsiteX67" fmla="*/ 778488 w 1311651"/>
                  <a:gd name="connsiteY67" fmla="*/ 1431 h 1058862"/>
                  <a:gd name="connsiteX68" fmla="*/ 789169 w 1311651"/>
                  <a:gd name="connsiteY68" fmla="*/ 0 h 10588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</a:cxnLst>
                <a:rect l="l" t="t" r="r" b="b"/>
                <a:pathLst>
                  <a:path w="1311651" h="1058862">
                    <a:moveTo>
                      <a:pt x="952975" y="515937"/>
                    </a:moveTo>
                    <a:cubicBezTo>
                      <a:pt x="960819" y="527352"/>
                      <a:pt x="969376" y="538767"/>
                      <a:pt x="977933" y="549469"/>
                    </a:cubicBezTo>
                    <a:cubicBezTo>
                      <a:pt x="977220" y="555176"/>
                      <a:pt x="976507" y="560170"/>
                      <a:pt x="976507" y="563737"/>
                    </a:cubicBezTo>
                    <a:cubicBezTo>
                      <a:pt x="975794" y="570872"/>
                      <a:pt x="975080" y="580146"/>
                      <a:pt x="975080" y="590135"/>
                    </a:cubicBezTo>
                    <a:cubicBezTo>
                      <a:pt x="974367" y="617245"/>
                      <a:pt x="973654" y="634368"/>
                      <a:pt x="969376" y="644356"/>
                    </a:cubicBezTo>
                    <a:cubicBezTo>
                      <a:pt x="966524" y="652917"/>
                      <a:pt x="953688" y="682168"/>
                      <a:pt x="933009" y="702144"/>
                    </a:cubicBezTo>
                    <a:cubicBezTo>
                      <a:pt x="922313" y="712846"/>
                      <a:pt x="916608" y="722834"/>
                      <a:pt x="915182" y="727828"/>
                    </a:cubicBezTo>
                    <a:cubicBezTo>
                      <a:pt x="920174" y="733535"/>
                      <a:pt x="935148" y="742096"/>
                      <a:pt x="964384" y="738529"/>
                    </a:cubicBezTo>
                    <a:cubicBezTo>
                      <a:pt x="968663" y="737816"/>
                      <a:pt x="973654" y="739956"/>
                      <a:pt x="977220" y="742810"/>
                    </a:cubicBezTo>
                    <a:cubicBezTo>
                      <a:pt x="980072" y="746377"/>
                      <a:pt x="982211" y="750658"/>
                      <a:pt x="981498" y="755652"/>
                    </a:cubicBezTo>
                    <a:cubicBezTo>
                      <a:pt x="977220" y="817007"/>
                      <a:pt x="979359" y="876936"/>
                      <a:pt x="986490" y="887637"/>
                    </a:cubicBezTo>
                    <a:cubicBezTo>
                      <a:pt x="987916" y="889064"/>
                      <a:pt x="1000038" y="894772"/>
                      <a:pt x="1049240" y="894772"/>
                    </a:cubicBezTo>
                    <a:cubicBezTo>
                      <a:pt x="1079189" y="894058"/>
                      <a:pt x="1106286" y="891918"/>
                      <a:pt x="1110564" y="891205"/>
                    </a:cubicBezTo>
                    <a:cubicBezTo>
                      <a:pt x="1114843" y="890491"/>
                      <a:pt x="1119121" y="891205"/>
                      <a:pt x="1123400" y="893345"/>
                    </a:cubicBezTo>
                    <a:cubicBezTo>
                      <a:pt x="1127678" y="896199"/>
                      <a:pt x="1130531" y="901193"/>
                      <a:pt x="1130531" y="906187"/>
                    </a:cubicBezTo>
                    <a:cubicBezTo>
                      <a:pt x="1130531" y="906187"/>
                      <a:pt x="1130531" y="906187"/>
                      <a:pt x="1130531" y="1027471"/>
                    </a:cubicBezTo>
                    <a:cubicBezTo>
                      <a:pt x="1159053" y="1026758"/>
                      <a:pt x="1226082" y="1023190"/>
                      <a:pt x="1280276" y="993226"/>
                    </a:cubicBezTo>
                    <a:lnTo>
                      <a:pt x="1280276" y="968969"/>
                    </a:lnTo>
                    <a:cubicBezTo>
                      <a:pt x="1290259" y="966829"/>
                      <a:pt x="1300242" y="963975"/>
                      <a:pt x="1311651" y="959694"/>
                    </a:cubicBezTo>
                    <a:cubicBezTo>
                      <a:pt x="1311651" y="959694"/>
                      <a:pt x="1311651" y="959694"/>
                      <a:pt x="1311651" y="1002501"/>
                    </a:cubicBezTo>
                    <a:cubicBezTo>
                      <a:pt x="1311651" y="1008208"/>
                      <a:pt x="1308799" y="1013202"/>
                      <a:pt x="1304520" y="1016056"/>
                    </a:cubicBezTo>
                    <a:cubicBezTo>
                      <a:pt x="1241057" y="1054582"/>
                      <a:pt x="1162619" y="1058862"/>
                      <a:pt x="1129817" y="1058862"/>
                    </a:cubicBezTo>
                    <a:cubicBezTo>
                      <a:pt x="1120547" y="1058862"/>
                      <a:pt x="1114130" y="1058149"/>
                      <a:pt x="1113417" y="1058149"/>
                    </a:cubicBezTo>
                    <a:cubicBezTo>
                      <a:pt x="1104860" y="1057435"/>
                      <a:pt x="1099155" y="1051014"/>
                      <a:pt x="1099155" y="1042453"/>
                    </a:cubicBezTo>
                    <a:cubicBezTo>
                      <a:pt x="1099155" y="1042453"/>
                      <a:pt x="1099155" y="1042453"/>
                      <a:pt x="1099155" y="924023"/>
                    </a:cubicBezTo>
                    <a:cubicBezTo>
                      <a:pt x="1082041" y="925450"/>
                      <a:pt x="1060649" y="926163"/>
                      <a:pt x="1050666" y="926163"/>
                    </a:cubicBezTo>
                    <a:cubicBezTo>
                      <a:pt x="988629" y="926163"/>
                      <a:pt x="971515" y="917602"/>
                      <a:pt x="963671" y="909754"/>
                    </a:cubicBezTo>
                    <a:cubicBezTo>
                      <a:pt x="955827" y="901193"/>
                      <a:pt x="947984" y="884070"/>
                      <a:pt x="947984" y="819148"/>
                    </a:cubicBezTo>
                    <a:cubicBezTo>
                      <a:pt x="947984" y="800598"/>
                      <a:pt x="948697" y="783476"/>
                      <a:pt x="949410" y="770634"/>
                    </a:cubicBezTo>
                    <a:cubicBezTo>
                      <a:pt x="908765" y="769920"/>
                      <a:pt x="889512" y="750658"/>
                      <a:pt x="884520" y="739243"/>
                    </a:cubicBezTo>
                    <a:cubicBezTo>
                      <a:pt x="876676" y="720693"/>
                      <a:pt x="897355" y="693583"/>
                      <a:pt x="910904" y="680027"/>
                    </a:cubicBezTo>
                    <a:cubicBezTo>
                      <a:pt x="923739" y="667186"/>
                      <a:pt x="934435" y="647209"/>
                      <a:pt x="940853" y="632941"/>
                    </a:cubicBezTo>
                    <a:cubicBezTo>
                      <a:pt x="942992" y="627233"/>
                      <a:pt x="943705" y="603690"/>
                      <a:pt x="943705" y="589421"/>
                    </a:cubicBezTo>
                    <a:cubicBezTo>
                      <a:pt x="943705" y="578720"/>
                      <a:pt x="944418" y="568731"/>
                      <a:pt x="945131" y="561597"/>
                    </a:cubicBezTo>
                    <a:cubicBezTo>
                      <a:pt x="945844" y="548755"/>
                      <a:pt x="949410" y="530206"/>
                      <a:pt x="952975" y="515937"/>
                    </a:cubicBezTo>
                    <a:close/>
                    <a:moveTo>
                      <a:pt x="284345" y="333375"/>
                    </a:moveTo>
                    <a:cubicBezTo>
                      <a:pt x="456964" y="333375"/>
                      <a:pt x="400613" y="377713"/>
                      <a:pt x="561107" y="374853"/>
                    </a:cubicBezTo>
                    <a:cubicBezTo>
                      <a:pt x="578226" y="374853"/>
                      <a:pt x="529008" y="428487"/>
                      <a:pt x="521162" y="464244"/>
                    </a:cubicBezTo>
                    <a:cubicBezTo>
                      <a:pt x="520448" y="464959"/>
                      <a:pt x="519735" y="465674"/>
                      <a:pt x="519022" y="466389"/>
                    </a:cubicBezTo>
                    <a:cubicBezTo>
                      <a:pt x="501189" y="472110"/>
                      <a:pt x="402040" y="459953"/>
                      <a:pt x="335703" y="508582"/>
                    </a:cubicBezTo>
                    <a:cubicBezTo>
                      <a:pt x="300038" y="534326"/>
                      <a:pt x="272932" y="575804"/>
                      <a:pt x="272932" y="648032"/>
                    </a:cubicBezTo>
                    <a:cubicBezTo>
                      <a:pt x="272932" y="657329"/>
                      <a:pt x="237267" y="653038"/>
                      <a:pt x="228707" y="651608"/>
                    </a:cubicBezTo>
                    <a:cubicBezTo>
                      <a:pt x="227281" y="651608"/>
                      <a:pt x="226567" y="650892"/>
                      <a:pt x="225854" y="649462"/>
                    </a:cubicBezTo>
                    <a:cubicBezTo>
                      <a:pt x="224428" y="635160"/>
                      <a:pt x="207308" y="540047"/>
                      <a:pt x="140971" y="575089"/>
                    </a:cubicBezTo>
                    <a:cubicBezTo>
                      <a:pt x="78200" y="607270"/>
                      <a:pt x="135978" y="728126"/>
                      <a:pt x="140258" y="737423"/>
                    </a:cubicBezTo>
                    <a:cubicBezTo>
                      <a:pt x="140971" y="737423"/>
                      <a:pt x="140971" y="737423"/>
                      <a:pt x="140971" y="738138"/>
                    </a:cubicBezTo>
                    <a:cubicBezTo>
                      <a:pt x="140971" y="857565"/>
                      <a:pt x="140971" y="857565"/>
                      <a:pt x="140971" y="857565"/>
                    </a:cubicBezTo>
                    <a:cubicBezTo>
                      <a:pt x="140971" y="858280"/>
                      <a:pt x="140258" y="859710"/>
                      <a:pt x="139544" y="859710"/>
                    </a:cubicBezTo>
                    <a:cubicBezTo>
                      <a:pt x="138118" y="860425"/>
                      <a:pt x="137405" y="860425"/>
                      <a:pt x="136691" y="859710"/>
                    </a:cubicBezTo>
                    <a:cubicBezTo>
                      <a:pt x="135978" y="858995"/>
                      <a:pt x="135265" y="858280"/>
                      <a:pt x="134551" y="857565"/>
                    </a:cubicBezTo>
                    <a:cubicBezTo>
                      <a:pt x="101026" y="826099"/>
                      <a:pt x="-55187" y="665195"/>
                      <a:pt x="20423" y="502861"/>
                    </a:cubicBezTo>
                    <a:cubicBezTo>
                      <a:pt x="57515" y="424196"/>
                      <a:pt x="133125" y="333375"/>
                      <a:pt x="284345" y="333375"/>
                    </a:cubicBezTo>
                    <a:close/>
                    <a:moveTo>
                      <a:pt x="789169" y="0"/>
                    </a:moveTo>
                    <a:cubicBezTo>
                      <a:pt x="789169" y="0"/>
                      <a:pt x="789169" y="0"/>
                      <a:pt x="1041259" y="0"/>
                    </a:cubicBezTo>
                    <a:cubicBezTo>
                      <a:pt x="1061911" y="0"/>
                      <a:pt x="1078289" y="16459"/>
                      <a:pt x="1078289" y="37211"/>
                    </a:cubicBezTo>
                    <a:cubicBezTo>
                      <a:pt x="1078289" y="37211"/>
                      <a:pt x="1078289" y="37211"/>
                      <a:pt x="1078289" y="197503"/>
                    </a:cubicBezTo>
                    <a:cubicBezTo>
                      <a:pt x="1078289" y="218255"/>
                      <a:pt x="1061911" y="234714"/>
                      <a:pt x="1041259" y="234714"/>
                    </a:cubicBezTo>
                    <a:cubicBezTo>
                      <a:pt x="1041259" y="234714"/>
                      <a:pt x="1041259" y="234714"/>
                      <a:pt x="977881" y="234714"/>
                    </a:cubicBezTo>
                    <a:cubicBezTo>
                      <a:pt x="977881" y="234714"/>
                      <a:pt x="977881" y="234714"/>
                      <a:pt x="977881" y="320585"/>
                    </a:cubicBezTo>
                    <a:cubicBezTo>
                      <a:pt x="977881" y="320585"/>
                      <a:pt x="975744" y="327025"/>
                      <a:pt x="969335" y="327025"/>
                    </a:cubicBezTo>
                    <a:cubicBezTo>
                      <a:pt x="966487" y="327025"/>
                      <a:pt x="962214" y="325594"/>
                      <a:pt x="957229" y="320585"/>
                    </a:cubicBezTo>
                    <a:cubicBezTo>
                      <a:pt x="946547" y="309135"/>
                      <a:pt x="910229" y="266916"/>
                      <a:pt x="878184" y="234714"/>
                    </a:cubicBezTo>
                    <a:cubicBezTo>
                      <a:pt x="878184" y="234714"/>
                      <a:pt x="878184" y="234714"/>
                      <a:pt x="789169" y="234714"/>
                    </a:cubicBezTo>
                    <a:cubicBezTo>
                      <a:pt x="768518" y="234714"/>
                      <a:pt x="752851" y="218255"/>
                      <a:pt x="752851" y="197503"/>
                    </a:cubicBezTo>
                    <a:cubicBezTo>
                      <a:pt x="752851" y="197503"/>
                      <a:pt x="752851" y="197503"/>
                      <a:pt x="752851" y="196072"/>
                    </a:cubicBezTo>
                    <a:cubicBezTo>
                      <a:pt x="752851" y="190347"/>
                      <a:pt x="752851" y="163155"/>
                      <a:pt x="752851" y="37211"/>
                    </a:cubicBezTo>
                    <a:cubicBezTo>
                      <a:pt x="752851" y="21468"/>
                      <a:pt x="761397" y="9303"/>
                      <a:pt x="773503" y="3578"/>
                    </a:cubicBezTo>
                    <a:cubicBezTo>
                      <a:pt x="775639" y="2862"/>
                      <a:pt x="777063" y="2147"/>
                      <a:pt x="778488" y="1431"/>
                    </a:cubicBezTo>
                    <a:cubicBezTo>
                      <a:pt x="782048" y="716"/>
                      <a:pt x="785609" y="0"/>
                      <a:pt x="789169" y="0"/>
                    </a:cubicBez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dirty="0"/>
              </a:p>
            </p:txBody>
          </p:sp>
          <p:sp>
            <p:nvSpPr>
              <p:cNvPr id="34" name="Freeform 12">
                <a:extLst>
                  <a:ext uri="{FF2B5EF4-FFF2-40B4-BE49-F238E27FC236}">
                    <a16:creationId xmlns:a16="http://schemas.microsoft.com/office/drawing/2014/main" id="{2EC8BD6B-E837-453F-9533-6D8BC24C6F4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59413" y="2882899"/>
                <a:ext cx="1388680" cy="1092200"/>
              </a:xfrm>
              <a:custGeom>
                <a:avLst/>
                <a:gdLst>
                  <a:gd name="connsiteX0" fmla="*/ 409403 w 1388680"/>
                  <a:gd name="connsiteY0" fmla="*/ 533400 h 1092200"/>
                  <a:gd name="connsiteX1" fmla="*/ 415119 w 1388680"/>
                  <a:gd name="connsiteY1" fmla="*/ 576330 h 1092200"/>
                  <a:gd name="connsiteX2" fmla="*/ 422264 w 1388680"/>
                  <a:gd name="connsiteY2" fmla="*/ 619975 h 1092200"/>
                  <a:gd name="connsiteX3" fmla="*/ 425836 w 1388680"/>
                  <a:gd name="connsiteY3" fmla="*/ 645017 h 1092200"/>
                  <a:gd name="connsiteX4" fmla="*/ 452272 w 1388680"/>
                  <a:gd name="connsiteY4" fmla="*/ 697964 h 1092200"/>
                  <a:gd name="connsiteX5" fmla="*/ 457988 w 1388680"/>
                  <a:gd name="connsiteY5" fmla="*/ 703687 h 1092200"/>
                  <a:gd name="connsiteX6" fmla="*/ 487282 w 1388680"/>
                  <a:gd name="connsiteY6" fmla="*/ 760927 h 1092200"/>
                  <a:gd name="connsiteX7" fmla="*/ 422978 w 1388680"/>
                  <a:gd name="connsiteY7" fmla="*/ 796702 h 1092200"/>
                  <a:gd name="connsiteX8" fmla="*/ 426551 w 1388680"/>
                  <a:gd name="connsiteY8" fmla="*/ 883276 h 1092200"/>
                  <a:gd name="connsiteX9" fmla="*/ 426551 w 1388680"/>
                  <a:gd name="connsiteY9" fmla="*/ 888285 h 1092200"/>
                  <a:gd name="connsiteX10" fmla="*/ 405116 w 1388680"/>
                  <a:gd name="connsiteY10" fmla="*/ 958403 h 1092200"/>
                  <a:gd name="connsiteX11" fmla="*/ 277222 w 1388680"/>
                  <a:gd name="connsiteY11" fmla="*/ 966273 h 1092200"/>
                  <a:gd name="connsiteX12" fmla="*/ 277222 w 1388680"/>
                  <a:gd name="connsiteY12" fmla="*/ 1076459 h 1092200"/>
                  <a:gd name="connsiteX13" fmla="*/ 261503 w 1388680"/>
                  <a:gd name="connsiteY13" fmla="*/ 1092200 h 1092200"/>
                  <a:gd name="connsiteX14" fmla="*/ 260789 w 1388680"/>
                  <a:gd name="connsiteY14" fmla="*/ 1092200 h 1092200"/>
                  <a:gd name="connsiteX15" fmla="*/ 10003 w 1388680"/>
                  <a:gd name="connsiteY15" fmla="*/ 1047840 h 1092200"/>
                  <a:gd name="connsiteX16" fmla="*/ 0 w 1388680"/>
                  <a:gd name="connsiteY16" fmla="*/ 1033530 h 1092200"/>
                  <a:gd name="connsiteX17" fmla="*/ 0 w 1388680"/>
                  <a:gd name="connsiteY17" fmla="*/ 918335 h 1092200"/>
                  <a:gd name="connsiteX18" fmla="*/ 714 w 1388680"/>
                  <a:gd name="connsiteY18" fmla="*/ 919051 h 1092200"/>
                  <a:gd name="connsiteX19" fmla="*/ 31437 w 1388680"/>
                  <a:gd name="connsiteY19" fmla="*/ 941947 h 1092200"/>
                  <a:gd name="connsiteX20" fmla="*/ 31437 w 1388680"/>
                  <a:gd name="connsiteY20" fmla="*/ 1022797 h 1092200"/>
                  <a:gd name="connsiteX21" fmla="*/ 245785 w 1388680"/>
                  <a:gd name="connsiteY21" fmla="*/ 1060003 h 1092200"/>
                  <a:gd name="connsiteX22" fmla="*/ 245785 w 1388680"/>
                  <a:gd name="connsiteY22" fmla="*/ 948386 h 1092200"/>
                  <a:gd name="connsiteX23" fmla="*/ 250786 w 1388680"/>
                  <a:gd name="connsiteY23" fmla="*/ 936223 h 1092200"/>
                  <a:gd name="connsiteX24" fmla="*/ 263647 w 1388680"/>
                  <a:gd name="connsiteY24" fmla="*/ 932645 h 1092200"/>
                  <a:gd name="connsiteX25" fmla="*/ 390112 w 1388680"/>
                  <a:gd name="connsiteY25" fmla="*/ 931214 h 1092200"/>
                  <a:gd name="connsiteX26" fmla="*/ 395113 w 1388680"/>
                  <a:gd name="connsiteY26" fmla="*/ 886138 h 1092200"/>
                  <a:gd name="connsiteX27" fmla="*/ 395828 w 1388680"/>
                  <a:gd name="connsiteY27" fmla="*/ 881130 h 1092200"/>
                  <a:gd name="connsiteX28" fmla="*/ 390112 w 1388680"/>
                  <a:gd name="connsiteY28" fmla="*/ 782392 h 1092200"/>
                  <a:gd name="connsiteX29" fmla="*/ 394399 w 1388680"/>
                  <a:gd name="connsiteY29" fmla="*/ 769513 h 1092200"/>
                  <a:gd name="connsiteX30" fmla="*/ 407259 w 1388680"/>
                  <a:gd name="connsiteY30" fmla="*/ 764504 h 1092200"/>
                  <a:gd name="connsiteX31" fmla="*/ 456559 w 1388680"/>
                  <a:gd name="connsiteY31" fmla="*/ 752341 h 1092200"/>
                  <a:gd name="connsiteX32" fmla="*/ 434410 w 1388680"/>
                  <a:gd name="connsiteY32" fmla="*/ 725152 h 1092200"/>
                  <a:gd name="connsiteX33" fmla="*/ 428694 w 1388680"/>
                  <a:gd name="connsiteY33" fmla="*/ 718713 h 1092200"/>
                  <a:gd name="connsiteX34" fmla="*/ 395828 w 1388680"/>
                  <a:gd name="connsiteY34" fmla="*/ 655749 h 1092200"/>
                  <a:gd name="connsiteX35" fmla="*/ 390826 w 1388680"/>
                  <a:gd name="connsiteY35" fmla="*/ 622121 h 1092200"/>
                  <a:gd name="connsiteX36" fmla="*/ 385825 w 1388680"/>
                  <a:gd name="connsiteY36" fmla="*/ 586347 h 1092200"/>
                  <a:gd name="connsiteX37" fmla="*/ 377965 w 1388680"/>
                  <a:gd name="connsiteY37" fmla="*/ 536262 h 1092200"/>
                  <a:gd name="connsiteX38" fmla="*/ 378680 w 1388680"/>
                  <a:gd name="connsiteY38" fmla="*/ 536262 h 1092200"/>
                  <a:gd name="connsiteX39" fmla="*/ 409403 w 1388680"/>
                  <a:gd name="connsiteY39" fmla="*/ 533400 h 1092200"/>
                  <a:gd name="connsiteX40" fmla="*/ 1071962 w 1388680"/>
                  <a:gd name="connsiteY40" fmla="*/ 390525 h 1092200"/>
                  <a:gd name="connsiteX41" fmla="*/ 1344581 w 1388680"/>
                  <a:gd name="connsiteY41" fmla="*/ 545966 h 1092200"/>
                  <a:gd name="connsiteX42" fmla="*/ 1192571 w 1388680"/>
                  <a:gd name="connsiteY42" fmla="*/ 964515 h 1092200"/>
                  <a:gd name="connsiteX43" fmla="*/ 1166165 w 1388680"/>
                  <a:gd name="connsiteY43" fmla="*/ 973071 h 1092200"/>
                  <a:gd name="connsiteX44" fmla="*/ 1130482 w 1388680"/>
                  <a:gd name="connsiteY44" fmla="*/ 976636 h 1092200"/>
                  <a:gd name="connsiteX45" fmla="*/ 1209699 w 1388680"/>
                  <a:gd name="connsiteY45" fmla="*/ 792674 h 1092200"/>
                  <a:gd name="connsiteX46" fmla="*/ 871422 w 1388680"/>
                  <a:gd name="connsiteY46" fmla="*/ 545966 h 1092200"/>
                  <a:gd name="connsiteX47" fmla="*/ 853581 w 1388680"/>
                  <a:gd name="connsiteY47" fmla="*/ 519584 h 1092200"/>
                  <a:gd name="connsiteX48" fmla="*/ 842162 w 1388680"/>
                  <a:gd name="connsiteY48" fmla="*/ 501758 h 1092200"/>
                  <a:gd name="connsiteX49" fmla="*/ 1071962 w 1388680"/>
                  <a:gd name="connsiteY49" fmla="*/ 390525 h 1092200"/>
                  <a:gd name="connsiteX50" fmla="*/ 375200 w 1388680"/>
                  <a:gd name="connsiteY50" fmla="*/ 0 h 1092200"/>
                  <a:gd name="connsiteX51" fmla="*/ 627515 w 1388680"/>
                  <a:gd name="connsiteY51" fmla="*/ 0 h 1092200"/>
                  <a:gd name="connsiteX52" fmla="*/ 643196 w 1388680"/>
                  <a:gd name="connsiteY52" fmla="*/ 3578 h 1092200"/>
                  <a:gd name="connsiteX53" fmla="*/ 652462 w 1388680"/>
                  <a:gd name="connsiteY53" fmla="*/ 9303 h 1092200"/>
                  <a:gd name="connsiteX54" fmla="*/ 646760 w 1388680"/>
                  <a:gd name="connsiteY54" fmla="*/ 11449 h 1092200"/>
                  <a:gd name="connsiteX55" fmla="*/ 606845 w 1388680"/>
                  <a:gd name="connsiteY55" fmla="*/ 74421 h 1092200"/>
                  <a:gd name="connsiteX56" fmla="*/ 606845 w 1388680"/>
                  <a:gd name="connsiteY56" fmla="*/ 234714 h 1092200"/>
                  <a:gd name="connsiteX57" fmla="*/ 538421 w 1388680"/>
                  <a:gd name="connsiteY57" fmla="*/ 234714 h 1092200"/>
                  <a:gd name="connsiteX58" fmla="*/ 459305 w 1388680"/>
                  <a:gd name="connsiteY58" fmla="*/ 319869 h 1092200"/>
                  <a:gd name="connsiteX59" fmla="*/ 447188 w 1388680"/>
                  <a:gd name="connsiteY59" fmla="*/ 327025 h 1092200"/>
                  <a:gd name="connsiteX60" fmla="*/ 438635 w 1388680"/>
                  <a:gd name="connsiteY60" fmla="*/ 319869 h 1092200"/>
                  <a:gd name="connsiteX61" fmla="*/ 438635 w 1388680"/>
                  <a:gd name="connsiteY61" fmla="*/ 234714 h 1092200"/>
                  <a:gd name="connsiteX62" fmla="*/ 375200 w 1388680"/>
                  <a:gd name="connsiteY62" fmla="*/ 234714 h 1092200"/>
                  <a:gd name="connsiteX63" fmla="*/ 338137 w 1388680"/>
                  <a:gd name="connsiteY63" fmla="*/ 197503 h 1092200"/>
                  <a:gd name="connsiteX64" fmla="*/ 338137 w 1388680"/>
                  <a:gd name="connsiteY64" fmla="*/ 37211 h 1092200"/>
                  <a:gd name="connsiteX65" fmla="*/ 375200 w 1388680"/>
                  <a:gd name="connsiteY65" fmla="*/ 0 h 10922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</a:cxnLst>
                <a:rect l="l" t="t" r="r" b="b"/>
                <a:pathLst>
                  <a:path w="1388680" h="1092200">
                    <a:moveTo>
                      <a:pt x="409403" y="533400"/>
                    </a:moveTo>
                    <a:cubicBezTo>
                      <a:pt x="410117" y="547710"/>
                      <a:pt x="411546" y="565597"/>
                      <a:pt x="415119" y="576330"/>
                    </a:cubicBezTo>
                    <a:cubicBezTo>
                      <a:pt x="419406" y="589924"/>
                      <a:pt x="420835" y="605665"/>
                      <a:pt x="422264" y="619975"/>
                    </a:cubicBezTo>
                    <a:cubicBezTo>
                      <a:pt x="422978" y="629992"/>
                      <a:pt x="423693" y="640009"/>
                      <a:pt x="425836" y="645017"/>
                    </a:cubicBezTo>
                    <a:cubicBezTo>
                      <a:pt x="434410" y="669344"/>
                      <a:pt x="443698" y="688662"/>
                      <a:pt x="452272" y="697964"/>
                    </a:cubicBezTo>
                    <a:cubicBezTo>
                      <a:pt x="453701" y="699394"/>
                      <a:pt x="455845" y="701541"/>
                      <a:pt x="457988" y="703687"/>
                    </a:cubicBezTo>
                    <a:cubicBezTo>
                      <a:pt x="476565" y="723721"/>
                      <a:pt x="493713" y="743040"/>
                      <a:pt x="487282" y="760927"/>
                    </a:cubicBezTo>
                    <a:cubicBezTo>
                      <a:pt x="484424" y="769513"/>
                      <a:pt x="471564" y="795271"/>
                      <a:pt x="422978" y="796702"/>
                    </a:cubicBezTo>
                    <a:cubicBezTo>
                      <a:pt x="425122" y="818882"/>
                      <a:pt x="428694" y="858234"/>
                      <a:pt x="426551" y="883276"/>
                    </a:cubicBezTo>
                    <a:cubicBezTo>
                      <a:pt x="426551" y="883276"/>
                      <a:pt x="426551" y="883276"/>
                      <a:pt x="426551" y="888285"/>
                    </a:cubicBezTo>
                    <a:cubicBezTo>
                      <a:pt x="423693" y="927637"/>
                      <a:pt x="422264" y="949817"/>
                      <a:pt x="405116" y="958403"/>
                    </a:cubicBezTo>
                    <a:cubicBezTo>
                      <a:pt x="391541" y="966273"/>
                      <a:pt x="342241" y="972713"/>
                      <a:pt x="277222" y="966273"/>
                    </a:cubicBezTo>
                    <a:cubicBezTo>
                      <a:pt x="277222" y="966273"/>
                      <a:pt x="277222" y="966273"/>
                      <a:pt x="277222" y="1076459"/>
                    </a:cubicBezTo>
                    <a:cubicBezTo>
                      <a:pt x="277222" y="1085045"/>
                      <a:pt x="270077" y="1091485"/>
                      <a:pt x="261503" y="1092200"/>
                    </a:cubicBezTo>
                    <a:cubicBezTo>
                      <a:pt x="261503" y="1092200"/>
                      <a:pt x="260789" y="1092200"/>
                      <a:pt x="260789" y="1092200"/>
                    </a:cubicBezTo>
                    <a:cubicBezTo>
                      <a:pt x="250071" y="1092200"/>
                      <a:pt x="115033" y="1090769"/>
                      <a:pt x="10003" y="1047840"/>
                    </a:cubicBezTo>
                    <a:cubicBezTo>
                      <a:pt x="3572" y="1045693"/>
                      <a:pt x="0" y="1039969"/>
                      <a:pt x="0" y="1033530"/>
                    </a:cubicBezTo>
                    <a:cubicBezTo>
                      <a:pt x="0" y="1033530"/>
                      <a:pt x="0" y="1033530"/>
                      <a:pt x="0" y="918335"/>
                    </a:cubicBezTo>
                    <a:cubicBezTo>
                      <a:pt x="0" y="918335"/>
                      <a:pt x="0" y="918335"/>
                      <a:pt x="714" y="919051"/>
                    </a:cubicBezTo>
                    <a:cubicBezTo>
                      <a:pt x="5001" y="922628"/>
                      <a:pt x="20005" y="934792"/>
                      <a:pt x="31437" y="941947"/>
                    </a:cubicBezTo>
                    <a:cubicBezTo>
                      <a:pt x="31437" y="941947"/>
                      <a:pt x="31437" y="941947"/>
                      <a:pt x="31437" y="1022797"/>
                    </a:cubicBezTo>
                    <a:cubicBezTo>
                      <a:pt x="110746" y="1052848"/>
                      <a:pt x="207917" y="1058572"/>
                      <a:pt x="245785" y="1060003"/>
                    </a:cubicBezTo>
                    <a:cubicBezTo>
                      <a:pt x="245785" y="1060003"/>
                      <a:pt x="245785" y="1060003"/>
                      <a:pt x="245785" y="948386"/>
                    </a:cubicBezTo>
                    <a:cubicBezTo>
                      <a:pt x="245785" y="944093"/>
                      <a:pt x="247214" y="939800"/>
                      <a:pt x="250786" y="936223"/>
                    </a:cubicBezTo>
                    <a:cubicBezTo>
                      <a:pt x="254358" y="933361"/>
                      <a:pt x="258645" y="931930"/>
                      <a:pt x="263647" y="932645"/>
                    </a:cubicBezTo>
                    <a:cubicBezTo>
                      <a:pt x="332952" y="941947"/>
                      <a:pt x="379394" y="934792"/>
                      <a:pt x="390112" y="931214"/>
                    </a:cubicBezTo>
                    <a:cubicBezTo>
                      <a:pt x="392970" y="925490"/>
                      <a:pt x="393684" y="904741"/>
                      <a:pt x="395113" y="886138"/>
                    </a:cubicBezTo>
                    <a:cubicBezTo>
                      <a:pt x="395113" y="886138"/>
                      <a:pt x="395113" y="886138"/>
                      <a:pt x="395828" y="881130"/>
                    </a:cubicBezTo>
                    <a:cubicBezTo>
                      <a:pt x="397971" y="847502"/>
                      <a:pt x="390112" y="782392"/>
                      <a:pt x="390112" y="782392"/>
                    </a:cubicBezTo>
                    <a:cubicBezTo>
                      <a:pt x="389397" y="777383"/>
                      <a:pt x="390826" y="772375"/>
                      <a:pt x="394399" y="769513"/>
                    </a:cubicBezTo>
                    <a:cubicBezTo>
                      <a:pt x="397257" y="765935"/>
                      <a:pt x="402258" y="763789"/>
                      <a:pt x="407259" y="764504"/>
                    </a:cubicBezTo>
                    <a:cubicBezTo>
                      <a:pt x="438697" y="767366"/>
                      <a:pt x="452987" y="758780"/>
                      <a:pt x="456559" y="752341"/>
                    </a:cubicBezTo>
                    <a:cubicBezTo>
                      <a:pt x="453701" y="745902"/>
                      <a:pt x="440840" y="732307"/>
                      <a:pt x="434410" y="725152"/>
                    </a:cubicBezTo>
                    <a:cubicBezTo>
                      <a:pt x="432981" y="723006"/>
                      <a:pt x="430838" y="720859"/>
                      <a:pt x="428694" y="718713"/>
                    </a:cubicBezTo>
                    <a:cubicBezTo>
                      <a:pt x="414404" y="702972"/>
                      <a:pt x="402972" y="675783"/>
                      <a:pt x="395828" y="655749"/>
                    </a:cubicBezTo>
                    <a:cubicBezTo>
                      <a:pt x="392970" y="646448"/>
                      <a:pt x="392255" y="635716"/>
                      <a:pt x="390826" y="622121"/>
                    </a:cubicBezTo>
                    <a:cubicBezTo>
                      <a:pt x="390112" y="609958"/>
                      <a:pt x="388683" y="596364"/>
                      <a:pt x="385825" y="586347"/>
                    </a:cubicBezTo>
                    <a:cubicBezTo>
                      <a:pt x="380823" y="572037"/>
                      <a:pt x="378680" y="550572"/>
                      <a:pt x="377965" y="536262"/>
                    </a:cubicBezTo>
                    <a:cubicBezTo>
                      <a:pt x="378680" y="536262"/>
                      <a:pt x="378680" y="536262"/>
                      <a:pt x="378680" y="536262"/>
                    </a:cubicBezTo>
                    <a:cubicBezTo>
                      <a:pt x="392255" y="535547"/>
                      <a:pt x="401543" y="535547"/>
                      <a:pt x="409403" y="533400"/>
                    </a:cubicBezTo>
                    <a:close/>
                    <a:moveTo>
                      <a:pt x="1071962" y="390525"/>
                    </a:moveTo>
                    <a:cubicBezTo>
                      <a:pt x="1218976" y="390525"/>
                      <a:pt x="1307471" y="469671"/>
                      <a:pt x="1344581" y="545966"/>
                    </a:cubicBezTo>
                    <a:cubicBezTo>
                      <a:pt x="1471613" y="808361"/>
                      <a:pt x="1293911" y="928150"/>
                      <a:pt x="1192571" y="964515"/>
                    </a:cubicBezTo>
                    <a:cubicBezTo>
                      <a:pt x="1183293" y="968080"/>
                      <a:pt x="1174015" y="970932"/>
                      <a:pt x="1166165" y="973071"/>
                    </a:cubicBezTo>
                    <a:cubicBezTo>
                      <a:pt x="1146183" y="978062"/>
                      <a:pt x="1132623" y="979488"/>
                      <a:pt x="1130482" y="976636"/>
                    </a:cubicBezTo>
                    <a:cubicBezTo>
                      <a:pt x="1117636" y="961662"/>
                      <a:pt x="1249664" y="885368"/>
                      <a:pt x="1209699" y="792674"/>
                    </a:cubicBezTo>
                    <a:cubicBezTo>
                      <a:pt x="1209699" y="792674"/>
                      <a:pt x="987749" y="704971"/>
                      <a:pt x="871422" y="545966"/>
                    </a:cubicBezTo>
                    <a:cubicBezTo>
                      <a:pt x="864999" y="537409"/>
                      <a:pt x="858576" y="528853"/>
                      <a:pt x="853581" y="519584"/>
                    </a:cubicBezTo>
                    <a:cubicBezTo>
                      <a:pt x="849299" y="513879"/>
                      <a:pt x="845730" y="507462"/>
                      <a:pt x="842162" y="501758"/>
                    </a:cubicBezTo>
                    <a:cubicBezTo>
                      <a:pt x="835025" y="466819"/>
                      <a:pt x="904251" y="390525"/>
                      <a:pt x="1071962" y="390525"/>
                    </a:cubicBezTo>
                    <a:close/>
                    <a:moveTo>
                      <a:pt x="375200" y="0"/>
                    </a:moveTo>
                    <a:cubicBezTo>
                      <a:pt x="627515" y="0"/>
                      <a:pt x="627515" y="0"/>
                      <a:pt x="627515" y="0"/>
                    </a:cubicBezTo>
                    <a:cubicBezTo>
                      <a:pt x="633217" y="0"/>
                      <a:pt x="638207" y="1431"/>
                      <a:pt x="643196" y="3578"/>
                    </a:cubicBezTo>
                    <a:cubicBezTo>
                      <a:pt x="646047" y="5009"/>
                      <a:pt x="649611" y="7156"/>
                      <a:pt x="652462" y="9303"/>
                    </a:cubicBezTo>
                    <a:cubicBezTo>
                      <a:pt x="650324" y="10018"/>
                      <a:pt x="648185" y="10734"/>
                      <a:pt x="646760" y="11449"/>
                    </a:cubicBezTo>
                    <a:cubicBezTo>
                      <a:pt x="621813" y="22183"/>
                      <a:pt x="606845" y="46513"/>
                      <a:pt x="606845" y="74421"/>
                    </a:cubicBezTo>
                    <a:cubicBezTo>
                      <a:pt x="606845" y="74421"/>
                      <a:pt x="606845" y="74421"/>
                      <a:pt x="606845" y="234714"/>
                    </a:cubicBezTo>
                    <a:cubicBezTo>
                      <a:pt x="538421" y="234714"/>
                      <a:pt x="538421" y="234714"/>
                      <a:pt x="538421" y="234714"/>
                    </a:cubicBezTo>
                    <a:cubicBezTo>
                      <a:pt x="506347" y="266915"/>
                      <a:pt x="469996" y="309135"/>
                      <a:pt x="459305" y="319869"/>
                    </a:cubicBezTo>
                    <a:cubicBezTo>
                      <a:pt x="454316" y="324878"/>
                      <a:pt x="450039" y="327025"/>
                      <a:pt x="447188" y="327025"/>
                    </a:cubicBezTo>
                    <a:cubicBezTo>
                      <a:pt x="440773" y="327025"/>
                      <a:pt x="438635" y="319869"/>
                      <a:pt x="438635" y="319869"/>
                    </a:cubicBezTo>
                    <a:cubicBezTo>
                      <a:pt x="438635" y="234714"/>
                      <a:pt x="438635" y="234714"/>
                      <a:pt x="438635" y="234714"/>
                    </a:cubicBezTo>
                    <a:cubicBezTo>
                      <a:pt x="375200" y="234714"/>
                      <a:pt x="375200" y="234714"/>
                      <a:pt x="375200" y="234714"/>
                    </a:cubicBezTo>
                    <a:cubicBezTo>
                      <a:pt x="354530" y="234714"/>
                      <a:pt x="338137" y="218255"/>
                      <a:pt x="338137" y="197503"/>
                    </a:cubicBezTo>
                    <a:cubicBezTo>
                      <a:pt x="338137" y="37211"/>
                      <a:pt x="338137" y="37211"/>
                      <a:pt x="338137" y="37211"/>
                    </a:cubicBezTo>
                    <a:cubicBezTo>
                      <a:pt x="338137" y="16458"/>
                      <a:pt x="354530" y="0"/>
                      <a:pt x="375200" y="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dirty="0"/>
              </a:p>
            </p:txBody>
          </p:sp>
        </p:grpSp>
      </p:grpSp>
      <p:sp>
        <p:nvSpPr>
          <p:cNvPr id="36" name="Fußzeilenplatzhalter 4">
            <a:extLst>
              <a:ext uri="{FF2B5EF4-FFF2-40B4-BE49-F238E27FC236}">
                <a16:creationId xmlns:a16="http://schemas.microsoft.com/office/drawing/2014/main" id="{C3E15696-B2FF-364D-15B3-C9EE5B41BB9C}"/>
              </a:ext>
            </a:extLst>
          </p:cNvPr>
          <p:cNvSpPr txBox="1">
            <a:spLocks/>
          </p:cNvSpPr>
          <p:nvPr/>
        </p:nvSpPr>
        <p:spPr>
          <a:xfrm>
            <a:off x="311162" y="4854985"/>
            <a:ext cx="7829538" cy="28851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1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r>
              <a:rPr lang="en-US" dirty="0">
                <a:latin typeface="Arial"/>
                <a:cs typeface="Arial"/>
              </a:rPr>
              <a:t>◻︎ Outline | ◼︎ </a:t>
            </a:r>
            <a:r>
              <a:rPr lang="en-US" b="1" dirty="0">
                <a:latin typeface="Arial"/>
                <a:cs typeface="Arial"/>
              </a:rPr>
              <a:t>Organizational structure </a:t>
            </a:r>
            <a:r>
              <a:rPr lang="en-US" dirty="0">
                <a:latin typeface="Arial"/>
                <a:cs typeface="Arial"/>
              </a:rPr>
              <a:t>| ◻︎ Research Topics | ◻︎ ML Pipeline  | ◻︎ Next steps</a:t>
            </a:r>
          </a:p>
        </p:txBody>
      </p:sp>
    </p:spTree>
    <p:extLst>
      <p:ext uri="{BB962C8B-B14F-4D97-AF65-F5344CB8AC3E}">
        <p14:creationId xmlns:p14="http://schemas.microsoft.com/office/powerpoint/2010/main" val="6466969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 advTm="20000"/>
    </mc:Choice>
    <mc:Fallback xmlns="">
      <p:transition spd="slow" advClick="0" advTm="20000"/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67DB4390-764A-4A3A-B2CB-92691D915E5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980169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67DB4390-764A-4A3A-B2CB-92691D915E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el 2">
            <a:extLst>
              <a:ext uri="{FF2B5EF4-FFF2-40B4-BE49-F238E27FC236}">
                <a16:creationId xmlns:a16="http://schemas.microsoft.com/office/drawing/2014/main" id="{37327073-11DD-47A1-A0A3-AEC7A599651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7501" y="282065"/>
            <a:ext cx="7891317" cy="380810"/>
          </a:xfrm>
        </p:spPr>
        <p:txBody>
          <a:bodyPr vert="horz"/>
          <a:lstStyle/>
          <a:p>
            <a:r>
              <a:rPr lang="de-DE" dirty="0" err="1">
                <a:latin typeface="+mn-lt"/>
              </a:rPr>
              <a:t>We</a:t>
            </a:r>
            <a:r>
              <a:rPr lang="de-DE">
                <a:latin typeface="+mn-lt"/>
              </a:rPr>
              <a:t> use the wiki to document all of our work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F623D925-8B03-4C79-B8CE-4001D099571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E58CB1E-F828-4F11-99E0-327109AF9DA4}" type="slidenum">
              <a:rPr lang="de-DE" smtClean="0">
                <a:latin typeface="+mn-lt"/>
              </a:rPr>
              <a:pPr/>
              <a:t>5</a:t>
            </a:fld>
            <a:endParaRPr lang="de-DE">
              <a:latin typeface="+mn-lt"/>
            </a:endParaRPr>
          </a:p>
        </p:txBody>
      </p:sp>
      <p:pic>
        <p:nvPicPr>
          <p:cNvPr id="8" name="Grafik 2" descr="countdown.gif">
            <a:extLst>
              <a:ext uri="{FF2B5EF4-FFF2-40B4-BE49-F238E27FC236}">
                <a16:creationId xmlns:a16="http://schemas.microsoft.com/office/drawing/2014/main" id="{9F18EF32-707B-47E4-B94B-5CA81854BA99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85113" y="4575685"/>
            <a:ext cx="1258887" cy="571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7" name="Oval 66">
            <a:extLst>
              <a:ext uri="{FF2B5EF4-FFF2-40B4-BE49-F238E27FC236}">
                <a16:creationId xmlns:a16="http://schemas.microsoft.com/office/drawing/2014/main" id="{CCC0FACD-1B19-410E-8072-C497209658B6}"/>
              </a:ext>
            </a:extLst>
          </p:cNvPr>
          <p:cNvSpPr>
            <a:spLocks noChangeAspect="1"/>
          </p:cNvSpPr>
          <p:nvPr/>
        </p:nvSpPr>
        <p:spPr>
          <a:xfrm>
            <a:off x="552949" y="1327998"/>
            <a:ext cx="3072383" cy="3072384"/>
          </a:xfrm>
          <a:prstGeom prst="ellipse">
            <a:avLst/>
          </a:prstGeom>
          <a:solidFill>
            <a:srgbClr val="FFFFFF"/>
          </a:solidFill>
          <a:ln w="26670">
            <a:gradFill flip="none" rotWithShape="1">
              <a:gsLst>
                <a:gs pos="0">
                  <a:schemeClr val="accent5"/>
                </a:gs>
                <a:gs pos="100000">
                  <a:schemeClr val="bg1">
                    <a:lumMod val="75000"/>
                  </a:schemeClr>
                </a:gs>
              </a:gsLst>
              <a:lin ang="2700000" scaled="1"/>
              <a:tileRect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5000"/>
              </a:lnSpc>
            </a:pPr>
            <a:endParaRPr lang="en-US" sz="3080">
              <a:solidFill>
                <a:srgbClr val="29BA74"/>
              </a:solidFill>
            </a:endParaRPr>
          </a:p>
        </p:txBody>
      </p:sp>
      <p:sp>
        <p:nvSpPr>
          <p:cNvPr id="68" name="TextBox 67">
            <a:extLst>
              <a:ext uri="{FF2B5EF4-FFF2-40B4-BE49-F238E27FC236}">
                <a16:creationId xmlns:a16="http://schemas.microsoft.com/office/drawing/2014/main" id="{A6745C5C-86B5-4FE8-AEB5-F00ED64C4423}"/>
              </a:ext>
            </a:extLst>
          </p:cNvPr>
          <p:cNvSpPr txBox="1"/>
          <p:nvPr/>
        </p:nvSpPr>
        <p:spPr>
          <a:xfrm>
            <a:off x="339034" y="4160694"/>
            <a:ext cx="1134799" cy="215444"/>
          </a:xfrm>
          <a:prstGeom prst="rect">
            <a:avLst/>
          </a:prstGeom>
          <a:noFill/>
        </p:spPr>
        <p:txBody>
          <a:bodyPr wrap="square" lIns="0" tIns="0" rIns="75600" bIns="0" rtlCol="0" anchor="ctr" anchorCtr="0">
            <a:spAutoFit/>
          </a:bodyPr>
          <a:lstStyle/>
          <a:p>
            <a:pPr>
              <a:buSzPct val="100000"/>
              <a:buFont typeface="Trebuchet MS" panose="020B0603020202020204" pitchFamily="34" charset="0"/>
              <a:buChar char="​"/>
            </a:pPr>
            <a:r>
              <a:rPr lang="en-US" sz="1400" b="1">
                <a:solidFill>
                  <a:schemeClr val="tx1">
                    <a:lumMod val="100000"/>
                  </a:schemeClr>
                </a:solidFill>
                <a:latin typeface="+mn-lt"/>
                <a:cs typeface="Arial" panose="020B0604020202020204" pitchFamily="34" charset="0"/>
              </a:rPr>
              <a:t>Literature</a:t>
            </a:r>
          </a:p>
        </p:txBody>
      </p:sp>
      <p:sp>
        <p:nvSpPr>
          <p:cNvPr id="69" name="TextBox 68">
            <a:extLst>
              <a:ext uri="{FF2B5EF4-FFF2-40B4-BE49-F238E27FC236}">
                <a16:creationId xmlns:a16="http://schemas.microsoft.com/office/drawing/2014/main" id="{30CEE5F7-0015-40AF-B65D-93F4DB22FEC1}"/>
              </a:ext>
            </a:extLst>
          </p:cNvPr>
          <p:cNvSpPr txBox="1"/>
          <p:nvPr/>
        </p:nvSpPr>
        <p:spPr>
          <a:xfrm>
            <a:off x="2932190" y="4148771"/>
            <a:ext cx="1600200" cy="215444"/>
          </a:xfrm>
          <a:prstGeom prst="rect">
            <a:avLst/>
          </a:prstGeom>
          <a:noFill/>
        </p:spPr>
        <p:txBody>
          <a:bodyPr wrap="square" lIns="75600" tIns="0" rIns="0" bIns="0" rtlCol="0" anchor="ctr" anchorCtr="0">
            <a:spAutoFit/>
          </a:bodyPr>
          <a:lstStyle/>
          <a:p>
            <a:pPr>
              <a:buSzPct val="100000"/>
              <a:buFont typeface="Trebuchet MS" panose="020B0603020202020204" pitchFamily="34" charset="0"/>
              <a:buChar char="​"/>
            </a:pPr>
            <a:r>
              <a:rPr lang="en-US" sz="1400" b="1">
                <a:solidFill>
                  <a:schemeClr val="tx1">
                    <a:lumMod val="100000"/>
                  </a:schemeClr>
                </a:solidFill>
                <a:latin typeface="+mn-lt"/>
                <a:cs typeface="Arial" panose="020B0604020202020204" pitchFamily="34" charset="0"/>
              </a:rPr>
              <a:t>Guidelines</a:t>
            </a:r>
          </a:p>
        </p:txBody>
      </p:sp>
      <p:sp>
        <p:nvSpPr>
          <p:cNvPr id="79" name="Oval 78">
            <a:extLst>
              <a:ext uri="{FF2B5EF4-FFF2-40B4-BE49-F238E27FC236}">
                <a16:creationId xmlns:a16="http://schemas.microsoft.com/office/drawing/2014/main" id="{3258DA18-F314-4559-A546-208862303112}"/>
              </a:ext>
            </a:extLst>
          </p:cNvPr>
          <p:cNvSpPr>
            <a:spLocks noChangeAspect="1"/>
          </p:cNvSpPr>
          <p:nvPr/>
        </p:nvSpPr>
        <p:spPr>
          <a:xfrm>
            <a:off x="1672928" y="946017"/>
            <a:ext cx="832427" cy="832104"/>
          </a:xfrm>
          <a:prstGeom prst="ellipse">
            <a:avLst/>
          </a:prstGeom>
          <a:solidFill>
            <a:srgbClr val="FFFFFF"/>
          </a:solidFill>
          <a:ln w="26670">
            <a:gradFill flip="none" rotWithShape="1">
              <a:gsLst>
                <a:gs pos="0">
                  <a:schemeClr val="accent5"/>
                </a:gs>
                <a:gs pos="100000">
                  <a:schemeClr val="bg1">
                    <a:lumMod val="75000"/>
                  </a:schemeClr>
                </a:gs>
              </a:gsLst>
              <a:lin ang="2700000" scaled="1"/>
              <a:tileRect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5000"/>
              </a:lnSpc>
            </a:pPr>
            <a:endParaRPr lang="en-US" kern="0">
              <a:solidFill>
                <a:schemeClr val="bg1">
                  <a:lumMod val="50000"/>
                </a:schemeClr>
              </a:solidFill>
            </a:endParaRPr>
          </a:p>
        </p:txBody>
      </p:sp>
      <p:grpSp>
        <p:nvGrpSpPr>
          <p:cNvPr id="84" name="Group 83">
            <a:extLst>
              <a:ext uri="{FF2B5EF4-FFF2-40B4-BE49-F238E27FC236}">
                <a16:creationId xmlns:a16="http://schemas.microsoft.com/office/drawing/2014/main" id="{BD885496-3114-4685-BD15-C457E3E3E81F}"/>
              </a:ext>
            </a:extLst>
          </p:cNvPr>
          <p:cNvGrpSpPr/>
          <p:nvPr/>
        </p:nvGrpSpPr>
        <p:grpSpPr>
          <a:xfrm>
            <a:off x="3006820" y="3211673"/>
            <a:ext cx="832427" cy="832104"/>
            <a:chOff x="7359801" y="1761696"/>
            <a:chExt cx="1189182" cy="1188720"/>
          </a:xfrm>
        </p:grpSpPr>
        <p:sp>
          <p:nvSpPr>
            <p:cNvPr id="85" name="Oval 84">
              <a:extLst>
                <a:ext uri="{FF2B5EF4-FFF2-40B4-BE49-F238E27FC236}">
                  <a16:creationId xmlns:a16="http://schemas.microsoft.com/office/drawing/2014/main" id="{9F258FE2-74E4-4DF0-B376-90A32CA3F5F8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359801" y="1761696"/>
              <a:ext cx="1189182" cy="1188720"/>
            </a:xfrm>
            <a:prstGeom prst="ellipse">
              <a:avLst/>
            </a:prstGeom>
            <a:solidFill>
              <a:srgbClr val="FFFFFF"/>
            </a:solidFill>
            <a:ln w="26670">
              <a:gradFill flip="none" rotWithShape="1">
                <a:gsLst>
                  <a:gs pos="0">
                    <a:schemeClr val="accent5"/>
                  </a:gs>
                  <a:gs pos="100000">
                    <a:schemeClr val="bg1">
                      <a:lumMod val="75000"/>
                    </a:schemeClr>
                  </a:gs>
                </a:gsLst>
                <a:lin ang="2700000" scaled="1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ct val="95000"/>
                </a:lnSpc>
              </a:pPr>
              <a:endParaRPr lang="en-US" kern="0">
                <a:solidFill>
                  <a:schemeClr val="bg1">
                    <a:lumMod val="50000"/>
                  </a:schemeClr>
                </a:solidFill>
              </a:endParaRPr>
            </a:p>
          </p:txBody>
        </p:sp>
        <p:grpSp>
          <p:nvGrpSpPr>
            <p:cNvPr id="86" name="Group 85">
              <a:extLst>
                <a:ext uri="{FF2B5EF4-FFF2-40B4-BE49-F238E27FC236}">
                  <a16:creationId xmlns:a16="http://schemas.microsoft.com/office/drawing/2014/main" id="{447CFABD-B168-4E53-9269-7E356B702DB0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7564836" y="1966139"/>
              <a:ext cx="779112" cy="779834"/>
              <a:chOff x="1682" y="0"/>
              <a:chExt cx="4316" cy="4320"/>
            </a:xfrm>
          </p:grpSpPr>
          <p:sp>
            <p:nvSpPr>
              <p:cNvPr id="87" name="AutoShape 3">
                <a:extLst>
                  <a:ext uri="{FF2B5EF4-FFF2-40B4-BE49-F238E27FC236}">
                    <a16:creationId xmlns:a16="http://schemas.microsoft.com/office/drawing/2014/main" id="{14B4B153-7868-472F-911D-47492E82A125}"/>
                  </a:ext>
                </a:extLst>
              </p:cNvPr>
              <p:cNvSpPr>
                <a:spLocks noChangeAspect="1" noChangeArrowheads="1" noTextEdit="1"/>
              </p:cNvSpPr>
              <p:nvPr/>
            </p:nvSpPr>
            <p:spPr bwMode="auto">
              <a:xfrm>
                <a:off x="1682" y="0"/>
                <a:ext cx="4316" cy="432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64008" tIns="32004" rIns="64008" bIns="3200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575757"/>
                  </a:solidFill>
                  <a:latin typeface="+mn-lt"/>
                </a:endParaRPr>
              </a:p>
            </p:txBody>
          </p:sp>
          <p:sp>
            <p:nvSpPr>
              <p:cNvPr id="88" name="Freeform 5">
                <a:extLst>
                  <a:ext uri="{FF2B5EF4-FFF2-40B4-BE49-F238E27FC236}">
                    <a16:creationId xmlns:a16="http://schemas.microsoft.com/office/drawing/2014/main" id="{BBB177A1-9D62-4655-8BC7-486660CC72F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06" y="3334"/>
                <a:ext cx="2068" cy="542"/>
              </a:xfrm>
              <a:custGeom>
                <a:avLst/>
                <a:gdLst>
                  <a:gd name="T0" fmla="*/ 872 w 1104"/>
                  <a:gd name="T1" fmla="*/ 0 h 289"/>
                  <a:gd name="T2" fmla="*/ 232 w 1104"/>
                  <a:gd name="T3" fmla="*/ 0 h 289"/>
                  <a:gd name="T4" fmla="*/ 215 w 1104"/>
                  <a:gd name="T5" fmla="*/ 8 h 289"/>
                  <a:gd name="T6" fmla="*/ 12 w 1104"/>
                  <a:gd name="T7" fmla="*/ 253 h 289"/>
                  <a:gd name="T8" fmla="*/ 29 w 1104"/>
                  <a:gd name="T9" fmla="*/ 289 h 289"/>
                  <a:gd name="T10" fmla="*/ 1075 w 1104"/>
                  <a:gd name="T11" fmla="*/ 289 h 289"/>
                  <a:gd name="T12" fmla="*/ 1092 w 1104"/>
                  <a:gd name="T13" fmla="*/ 253 h 289"/>
                  <a:gd name="T14" fmla="*/ 889 w 1104"/>
                  <a:gd name="T15" fmla="*/ 8 h 289"/>
                  <a:gd name="T16" fmla="*/ 872 w 1104"/>
                  <a:gd name="T17" fmla="*/ 0 h 28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104" h="289">
                    <a:moveTo>
                      <a:pt x="872" y="0"/>
                    </a:moveTo>
                    <a:cubicBezTo>
                      <a:pt x="232" y="0"/>
                      <a:pt x="232" y="0"/>
                      <a:pt x="232" y="0"/>
                    </a:cubicBezTo>
                    <a:cubicBezTo>
                      <a:pt x="226" y="0"/>
                      <a:pt x="219" y="3"/>
                      <a:pt x="215" y="8"/>
                    </a:cubicBezTo>
                    <a:cubicBezTo>
                      <a:pt x="12" y="253"/>
                      <a:pt x="12" y="253"/>
                      <a:pt x="12" y="253"/>
                    </a:cubicBezTo>
                    <a:cubicBezTo>
                      <a:pt x="0" y="267"/>
                      <a:pt x="10" y="289"/>
                      <a:pt x="29" y="289"/>
                    </a:cubicBezTo>
                    <a:cubicBezTo>
                      <a:pt x="1075" y="289"/>
                      <a:pt x="1075" y="289"/>
                      <a:pt x="1075" y="289"/>
                    </a:cubicBezTo>
                    <a:cubicBezTo>
                      <a:pt x="1094" y="289"/>
                      <a:pt x="1104" y="267"/>
                      <a:pt x="1092" y="253"/>
                    </a:cubicBezTo>
                    <a:cubicBezTo>
                      <a:pt x="889" y="8"/>
                      <a:pt x="889" y="8"/>
                      <a:pt x="889" y="8"/>
                    </a:cubicBezTo>
                    <a:cubicBezTo>
                      <a:pt x="885" y="3"/>
                      <a:pt x="878" y="0"/>
                      <a:pt x="872" y="0"/>
                    </a:cubicBez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4008" tIns="32004" rIns="64008" bIns="3200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575757"/>
                  </a:solidFill>
                  <a:latin typeface="+mn-lt"/>
                </a:endParaRPr>
              </a:p>
            </p:txBody>
          </p:sp>
          <p:sp>
            <p:nvSpPr>
              <p:cNvPr id="89" name="Freeform 6">
                <a:extLst>
                  <a:ext uri="{FF2B5EF4-FFF2-40B4-BE49-F238E27FC236}">
                    <a16:creationId xmlns:a16="http://schemas.microsoft.com/office/drawing/2014/main" id="{6DCAA44B-9E49-49B9-ABFF-1FB8F2D07F2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36" y="456"/>
                <a:ext cx="1904" cy="2373"/>
              </a:xfrm>
              <a:custGeom>
                <a:avLst/>
                <a:gdLst>
                  <a:gd name="T0" fmla="*/ 776 w 1016"/>
                  <a:gd name="T1" fmla="*/ 339 h 1266"/>
                  <a:gd name="T2" fmla="*/ 726 w 1016"/>
                  <a:gd name="T3" fmla="*/ 293 h 1266"/>
                  <a:gd name="T4" fmla="*/ 511 w 1016"/>
                  <a:gd name="T5" fmla="*/ 146 h 1266"/>
                  <a:gd name="T6" fmla="*/ 462 w 1016"/>
                  <a:gd name="T7" fmla="*/ 128 h 1266"/>
                  <a:gd name="T8" fmla="*/ 472 w 1016"/>
                  <a:gd name="T9" fmla="*/ 79 h 1266"/>
                  <a:gd name="T10" fmla="*/ 440 w 1016"/>
                  <a:gd name="T11" fmla="*/ 0 h 1266"/>
                  <a:gd name="T12" fmla="*/ 272 w 1016"/>
                  <a:gd name="T13" fmla="*/ 135 h 1266"/>
                  <a:gd name="T14" fmla="*/ 43 w 1016"/>
                  <a:gd name="T15" fmla="*/ 449 h 1266"/>
                  <a:gd name="T16" fmla="*/ 159 w 1016"/>
                  <a:gd name="T17" fmla="*/ 644 h 1266"/>
                  <a:gd name="T18" fmla="*/ 24 w 1016"/>
                  <a:gd name="T19" fmla="*/ 566 h 1266"/>
                  <a:gd name="T20" fmla="*/ 113 w 1016"/>
                  <a:gd name="T21" fmla="*/ 837 h 1266"/>
                  <a:gd name="T22" fmla="*/ 32 w 1016"/>
                  <a:gd name="T23" fmla="*/ 809 h 1266"/>
                  <a:gd name="T24" fmla="*/ 105 w 1016"/>
                  <a:gd name="T25" fmla="*/ 1017 h 1266"/>
                  <a:gd name="T26" fmla="*/ 43 w 1016"/>
                  <a:gd name="T27" fmla="*/ 1077 h 1266"/>
                  <a:gd name="T28" fmla="*/ 56 w 1016"/>
                  <a:gd name="T29" fmla="*/ 1266 h 1266"/>
                  <a:gd name="T30" fmla="*/ 88 w 1016"/>
                  <a:gd name="T31" fmla="*/ 1058 h 1266"/>
                  <a:gd name="T32" fmla="*/ 206 w 1016"/>
                  <a:gd name="T33" fmla="*/ 1079 h 1266"/>
                  <a:gd name="T34" fmla="*/ 66 w 1016"/>
                  <a:gd name="T35" fmla="*/ 906 h 1266"/>
                  <a:gd name="T36" fmla="*/ 218 w 1016"/>
                  <a:gd name="T37" fmla="*/ 953 h 1266"/>
                  <a:gd name="T38" fmla="*/ 246 w 1016"/>
                  <a:gd name="T39" fmla="*/ 919 h 1266"/>
                  <a:gd name="T40" fmla="*/ 54 w 1016"/>
                  <a:gd name="T41" fmla="*/ 612 h 1266"/>
                  <a:gd name="T42" fmla="*/ 283 w 1016"/>
                  <a:gd name="T43" fmla="*/ 791 h 1266"/>
                  <a:gd name="T44" fmla="*/ 87 w 1016"/>
                  <a:gd name="T45" fmla="*/ 445 h 1266"/>
                  <a:gd name="T46" fmla="*/ 308 w 1016"/>
                  <a:gd name="T47" fmla="*/ 160 h 1266"/>
                  <a:gd name="T48" fmla="*/ 428 w 1016"/>
                  <a:gd name="T49" fmla="*/ 47 h 1266"/>
                  <a:gd name="T50" fmla="*/ 422 w 1016"/>
                  <a:gd name="T51" fmla="*/ 107 h 1266"/>
                  <a:gd name="T52" fmla="*/ 496 w 1016"/>
                  <a:gd name="T53" fmla="*/ 188 h 1266"/>
                  <a:gd name="T54" fmla="*/ 687 w 1016"/>
                  <a:gd name="T55" fmla="*/ 312 h 1266"/>
                  <a:gd name="T56" fmla="*/ 750 w 1016"/>
                  <a:gd name="T57" fmla="*/ 375 h 1266"/>
                  <a:gd name="T58" fmla="*/ 889 w 1016"/>
                  <a:gd name="T59" fmla="*/ 694 h 1266"/>
                  <a:gd name="T60" fmla="*/ 658 w 1016"/>
                  <a:gd name="T61" fmla="*/ 593 h 1266"/>
                  <a:gd name="T62" fmla="*/ 485 w 1016"/>
                  <a:gd name="T63" fmla="*/ 647 h 1266"/>
                  <a:gd name="T64" fmla="*/ 457 w 1016"/>
                  <a:gd name="T65" fmla="*/ 677 h 1266"/>
                  <a:gd name="T66" fmla="*/ 522 w 1016"/>
                  <a:gd name="T67" fmla="*/ 784 h 1266"/>
                  <a:gd name="T68" fmla="*/ 704 w 1016"/>
                  <a:gd name="T69" fmla="*/ 1266 h 1266"/>
                  <a:gd name="T70" fmla="*/ 708 w 1016"/>
                  <a:gd name="T71" fmla="*/ 962 h 1266"/>
                  <a:gd name="T72" fmla="*/ 547 w 1016"/>
                  <a:gd name="T73" fmla="*/ 746 h 1266"/>
                  <a:gd name="T74" fmla="*/ 609 w 1016"/>
                  <a:gd name="T75" fmla="*/ 657 h 1266"/>
                  <a:gd name="T76" fmla="*/ 707 w 1016"/>
                  <a:gd name="T77" fmla="*/ 668 h 1266"/>
                  <a:gd name="T78" fmla="*/ 961 w 1016"/>
                  <a:gd name="T79" fmla="*/ 492 h 12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1016" h="1266">
                    <a:moveTo>
                      <a:pt x="961" y="492"/>
                    </a:moveTo>
                    <a:cubicBezTo>
                      <a:pt x="950" y="466"/>
                      <a:pt x="887" y="418"/>
                      <a:pt x="776" y="339"/>
                    </a:cubicBezTo>
                    <a:cubicBezTo>
                      <a:pt x="758" y="327"/>
                      <a:pt x="740" y="314"/>
                      <a:pt x="737" y="311"/>
                    </a:cubicBezTo>
                    <a:cubicBezTo>
                      <a:pt x="734" y="308"/>
                      <a:pt x="730" y="301"/>
                      <a:pt x="726" y="293"/>
                    </a:cubicBezTo>
                    <a:cubicBezTo>
                      <a:pt x="719" y="277"/>
                      <a:pt x="709" y="256"/>
                      <a:pt x="687" y="231"/>
                    </a:cubicBezTo>
                    <a:cubicBezTo>
                      <a:pt x="661" y="200"/>
                      <a:pt x="592" y="174"/>
                      <a:pt x="511" y="146"/>
                    </a:cubicBezTo>
                    <a:cubicBezTo>
                      <a:pt x="490" y="139"/>
                      <a:pt x="468" y="131"/>
                      <a:pt x="463" y="129"/>
                    </a:cubicBezTo>
                    <a:cubicBezTo>
                      <a:pt x="463" y="129"/>
                      <a:pt x="463" y="129"/>
                      <a:pt x="462" y="128"/>
                    </a:cubicBezTo>
                    <a:cubicBezTo>
                      <a:pt x="463" y="126"/>
                      <a:pt x="464" y="122"/>
                      <a:pt x="465" y="118"/>
                    </a:cubicBezTo>
                    <a:cubicBezTo>
                      <a:pt x="467" y="109"/>
                      <a:pt x="471" y="96"/>
                      <a:pt x="472" y="79"/>
                    </a:cubicBezTo>
                    <a:cubicBezTo>
                      <a:pt x="477" y="29"/>
                      <a:pt x="463" y="11"/>
                      <a:pt x="457" y="6"/>
                    </a:cubicBezTo>
                    <a:cubicBezTo>
                      <a:pt x="452" y="2"/>
                      <a:pt x="446" y="0"/>
                      <a:pt x="440" y="0"/>
                    </a:cubicBezTo>
                    <a:cubicBezTo>
                      <a:pt x="358" y="7"/>
                      <a:pt x="298" y="97"/>
                      <a:pt x="275" y="130"/>
                    </a:cubicBezTo>
                    <a:cubicBezTo>
                      <a:pt x="272" y="135"/>
                      <a:pt x="272" y="135"/>
                      <a:pt x="272" y="135"/>
                    </a:cubicBezTo>
                    <a:cubicBezTo>
                      <a:pt x="255" y="160"/>
                      <a:pt x="98" y="327"/>
                      <a:pt x="78" y="344"/>
                    </a:cubicBezTo>
                    <a:cubicBezTo>
                      <a:pt x="43" y="372"/>
                      <a:pt x="43" y="448"/>
                      <a:pt x="43" y="449"/>
                    </a:cubicBezTo>
                    <a:cubicBezTo>
                      <a:pt x="43" y="457"/>
                      <a:pt x="43" y="463"/>
                      <a:pt x="148" y="628"/>
                    </a:cubicBezTo>
                    <a:cubicBezTo>
                      <a:pt x="152" y="633"/>
                      <a:pt x="155" y="638"/>
                      <a:pt x="159" y="644"/>
                    </a:cubicBezTo>
                    <a:cubicBezTo>
                      <a:pt x="66" y="561"/>
                      <a:pt x="55" y="559"/>
                      <a:pt x="50" y="558"/>
                    </a:cubicBezTo>
                    <a:cubicBezTo>
                      <a:pt x="40" y="556"/>
                      <a:pt x="31" y="559"/>
                      <a:pt x="24" y="566"/>
                    </a:cubicBezTo>
                    <a:cubicBezTo>
                      <a:pt x="0" y="592"/>
                      <a:pt x="12" y="693"/>
                      <a:pt x="17" y="711"/>
                    </a:cubicBezTo>
                    <a:cubicBezTo>
                      <a:pt x="22" y="728"/>
                      <a:pt x="66" y="782"/>
                      <a:pt x="113" y="837"/>
                    </a:cubicBezTo>
                    <a:cubicBezTo>
                      <a:pt x="90" y="822"/>
                      <a:pt x="71" y="811"/>
                      <a:pt x="64" y="807"/>
                    </a:cubicBezTo>
                    <a:cubicBezTo>
                      <a:pt x="53" y="801"/>
                      <a:pt x="41" y="801"/>
                      <a:pt x="32" y="809"/>
                    </a:cubicBezTo>
                    <a:cubicBezTo>
                      <a:pt x="3" y="831"/>
                      <a:pt x="24" y="918"/>
                      <a:pt x="24" y="919"/>
                    </a:cubicBezTo>
                    <a:cubicBezTo>
                      <a:pt x="28" y="935"/>
                      <a:pt x="63" y="974"/>
                      <a:pt x="105" y="1017"/>
                    </a:cubicBezTo>
                    <a:cubicBezTo>
                      <a:pt x="74" y="1010"/>
                      <a:pt x="66" y="1015"/>
                      <a:pt x="61" y="1017"/>
                    </a:cubicBezTo>
                    <a:cubicBezTo>
                      <a:pt x="47" y="1025"/>
                      <a:pt x="44" y="1044"/>
                      <a:pt x="43" y="1077"/>
                    </a:cubicBezTo>
                    <a:cubicBezTo>
                      <a:pt x="43" y="1098"/>
                      <a:pt x="44" y="1126"/>
                      <a:pt x="47" y="1160"/>
                    </a:cubicBezTo>
                    <a:cubicBezTo>
                      <a:pt x="49" y="1204"/>
                      <a:pt x="54" y="1248"/>
                      <a:pt x="56" y="1266"/>
                    </a:cubicBezTo>
                    <a:cubicBezTo>
                      <a:pt x="100" y="1266"/>
                      <a:pt x="100" y="1266"/>
                      <a:pt x="100" y="1266"/>
                    </a:cubicBezTo>
                    <a:cubicBezTo>
                      <a:pt x="91" y="1185"/>
                      <a:pt x="85" y="1091"/>
                      <a:pt x="88" y="1058"/>
                    </a:cubicBezTo>
                    <a:cubicBezTo>
                      <a:pt x="107" y="1061"/>
                      <a:pt x="147" y="1075"/>
                      <a:pt x="179" y="1088"/>
                    </a:cubicBezTo>
                    <a:cubicBezTo>
                      <a:pt x="189" y="1092"/>
                      <a:pt x="200" y="1088"/>
                      <a:pt x="206" y="1079"/>
                    </a:cubicBezTo>
                    <a:cubicBezTo>
                      <a:pt x="212" y="1070"/>
                      <a:pt x="211" y="1059"/>
                      <a:pt x="203" y="1051"/>
                    </a:cubicBezTo>
                    <a:cubicBezTo>
                      <a:pt x="143" y="994"/>
                      <a:pt x="74" y="922"/>
                      <a:pt x="66" y="906"/>
                    </a:cubicBezTo>
                    <a:cubicBezTo>
                      <a:pt x="63" y="893"/>
                      <a:pt x="60" y="872"/>
                      <a:pt x="60" y="856"/>
                    </a:cubicBezTo>
                    <a:cubicBezTo>
                      <a:pt x="107" y="884"/>
                      <a:pt x="217" y="952"/>
                      <a:pt x="218" y="953"/>
                    </a:cubicBezTo>
                    <a:cubicBezTo>
                      <a:pt x="228" y="958"/>
                      <a:pt x="240" y="956"/>
                      <a:pt x="247" y="948"/>
                    </a:cubicBezTo>
                    <a:cubicBezTo>
                      <a:pt x="254" y="940"/>
                      <a:pt x="254" y="927"/>
                      <a:pt x="246" y="919"/>
                    </a:cubicBezTo>
                    <a:cubicBezTo>
                      <a:pt x="161" y="826"/>
                      <a:pt x="68" y="718"/>
                      <a:pt x="60" y="698"/>
                    </a:cubicBezTo>
                    <a:cubicBezTo>
                      <a:pt x="55" y="680"/>
                      <a:pt x="53" y="637"/>
                      <a:pt x="54" y="612"/>
                    </a:cubicBezTo>
                    <a:cubicBezTo>
                      <a:pt x="92" y="642"/>
                      <a:pt x="177" y="719"/>
                      <a:pt x="254" y="790"/>
                    </a:cubicBezTo>
                    <a:cubicBezTo>
                      <a:pt x="262" y="798"/>
                      <a:pt x="275" y="798"/>
                      <a:pt x="283" y="791"/>
                    </a:cubicBezTo>
                    <a:cubicBezTo>
                      <a:pt x="292" y="784"/>
                      <a:pt x="294" y="771"/>
                      <a:pt x="287" y="762"/>
                    </a:cubicBezTo>
                    <a:cubicBezTo>
                      <a:pt x="216" y="653"/>
                      <a:pt x="102" y="474"/>
                      <a:pt x="87" y="445"/>
                    </a:cubicBezTo>
                    <a:cubicBezTo>
                      <a:pt x="88" y="425"/>
                      <a:pt x="94" y="387"/>
                      <a:pt x="106" y="378"/>
                    </a:cubicBezTo>
                    <a:cubicBezTo>
                      <a:pt x="129" y="358"/>
                      <a:pt x="289" y="188"/>
                      <a:pt x="308" y="160"/>
                    </a:cubicBezTo>
                    <a:cubicBezTo>
                      <a:pt x="309" y="158"/>
                      <a:pt x="311" y="157"/>
                      <a:pt x="312" y="155"/>
                    </a:cubicBezTo>
                    <a:cubicBezTo>
                      <a:pt x="328" y="131"/>
                      <a:pt x="374" y="63"/>
                      <a:pt x="428" y="47"/>
                    </a:cubicBezTo>
                    <a:cubicBezTo>
                      <a:pt x="429" y="53"/>
                      <a:pt x="430" y="62"/>
                      <a:pt x="428" y="75"/>
                    </a:cubicBezTo>
                    <a:cubicBezTo>
                      <a:pt x="427" y="88"/>
                      <a:pt x="425" y="98"/>
                      <a:pt x="422" y="107"/>
                    </a:cubicBezTo>
                    <a:cubicBezTo>
                      <a:pt x="418" y="125"/>
                      <a:pt x="412" y="149"/>
                      <a:pt x="440" y="166"/>
                    </a:cubicBezTo>
                    <a:cubicBezTo>
                      <a:pt x="448" y="171"/>
                      <a:pt x="464" y="177"/>
                      <a:pt x="496" y="188"/>
                    </a:cubicBezTo>
                    <a:cubicBezTo>
                      <a:pt x="544" y="204"/>
                      <a:pt x="633" y="235"/>
                      <a:pt x="653" y="259"/>
                    </a:cubicBezTo>
                    <a:cubicBezTo>
                      <a:pt x="672" y="280"/>
                      <a:pt x="680" y="298"/>
                      <a:pt x="687" y="312"/>
                    </a:cubicBezTo>
                    <a:cubicBezTo>
                      <a:pt x="693" y="324"/>
                      <a:pt x="698" y="335"/>
                      <a:pt x="708" y="344"/>
                    </a:cubicBezTo>
                    <a:cubicBezTo>
                      <a:pt x="712" y="348"/>
                      <a:pt x="724" y="356"/>
                      <a:pt x="750" y="375"/>
                    </a:cubicBezTo>
                    <a:cubicBezTo>
                      <a:pt x="794" y="406"/>
                      <a:pt x="910" y="488"/>
                      <a:pt x="921" y="509"/>
                    </a:cubicBezTo>
                    <a:cubicBezTo>
                      <a:pt x="931" y="533"/>
                      <a:pt x="965" y="658"/>
                      <a:pt x="889" y="694"/>
                    </a:cubicBezTo>
                    <a:cubicBezTo>
                      <a:pt x="842" y="716"/>
                      <a:pt x="779" y="668"/>
                      <a:pt x="733" y="633"/>
                    </a:cubicBezTo>
                    <a:cubicBezTo>
                      <a:pt x="701" y="608"/>
                      <a:pt x="679" y="591"/>
                      <a:pt x="658" y="593"/>
                    </a:cubicBezTo>
                    <a:cubicBezTo>
                      <a:pt x="643" y="595"/>
                      <a:pt x="620" y="604"/>
                      <a:pt x="592" y="616"/>
                    </a:cubicBezTo>
                    <a:cubicBezTo>
                      <a:pt x="561" y="629"/>
                      <a:pt x="502" y="653"/>
                      <a:pt x="485" y="647"/>
                    </a:cubicBezTo>
                    <a:cubicBezTo>
                      <a:pt x="476" y="644"/>
                      <a:pt x="467" y="646"/>
                      <a:pt x="461" y="652"/>
                    </a:cubicBezTo>
                    <a:cubicBezTo>
                      <a:pt x="455" y="659"/>
                      <a:pt x="453" y="668"/>
                      <a:pt x="457" y="677"/>
                    </a:cubicBezTo>
                    <a:cubicBezTo>
                      <a:pt x="458" y="679"/>
                      <a:pt x="489" y="746"/>
                      <a:pt x="514" y="775"/>
                    </a:cubicBezTo>
                    <a:cubicBezTo>
                      <a:pt x="515" y="777"/>
                      <a:pt x="518" y="780"/>
                      <a:pt x="522" y="784"/>
                    </a:cubicBezTo>
                    <a:cubicBezTo>
                      <a:pt x="701" y="983"/>
                      <a:pt x="767" y="1153"/>
                      <a:pt x="706" y="1262"/>
                    </a:cubicBezTo>
                    <a:cubicBezTo>
                      <a:pt x="705" y="1263"/>
                      <a:pt x="704" y="1265"/>
                      <a:pt x="704" y="1266"/>
                    </a:cubicBezTo>
                    <a:cubicBezTo>
                      <a:pt x="753" y="1266"/>
                      <a:pt x="753" y="1266"/>
                      <a:pt x="753" y="1266"/>
                    </a:cubicBezTo>
                    <a:cubicBezTo>
                      <a:pt x="789" y="1184"/>
                      <a:pt x="774" y="1082"/>
                      <a:pt x="708" y="962"/>
                    </a:cubicBezTo>
                    <a:cubicBezTo>
                      <a:pt x="653" y="864"/>
                      <a:pt x="579" y="782"/>
                      <a:pt x="554" y="754"/>
                    </a:cubicBezTo>
                    <a:cubicBezTo>
                      <a:pt x="551" y="751"/>
                      <a:pt x="548" y="748"/>
                      <a:pt x="547" y="746"/>
                    </a:cubicBezTo>
                    <a:cubicBezTo>
                      <a:pt x="537" y="734"/>
                      <a:pt x="523" y="710"/>
                      <a:pt x="512" y="690"/>
                    </a:cubicBezTo>
                    <a:cubicBezTo>
                      <a:pt x="539" y="685"/>
                      <a:pt x="571" y="672"/>
                      <a:pt x="609" y="657"/>
                    </a:cubicBezTo>
                    <a:cubicBezTo>
                      <a:pt x="629" y="649"/>
                      <a:pt x="652" y="639"/>
                      <a:pt x="662" y="637"/>
                    </a:cubicBezTo>
                    <a:cubicBezTo>
                      <a:pt x="670" y="640"/>
                      <a:pt x="691" y="656"/>
                      <a:pt x="707" y="668"/>
                    </a:cubicBezTo>
                    <a:cubicBezTo>
                      <a:pt x="758" y="708"/>
                      <a:pt x="836" y="768"/>
                      <a:pt x="908" y="734"/>
                    </a:cubicBezTo>
                    <a:cubicBezTo>
                      <a:pt x="1016" y="683"/>
                      <a:pt x="977" y="530"/>
                      <a:pt x="961" y="492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4008" tIns="32004" rIns="64008" bIns="3200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575757"/>
                  </a:solidFill>
                  <a:latin typeface="+mn-lt"/>
                </a:endParaRPr>
              </a:p>
            </p:txBody>
          </p:sp>
          <p:sp>
            <p:nvSpPr>
              <p:cNvPr id="90" name="Freeform 7">
                <a:extLst>
                  <a:ext uri="{FF2B5EF4-FFF2-40B4-BE49-F238E27FC236}">
                    <a16:creationId xmlns:a16="http://schemas.microsoft.com/office/drawing/2014/main" id="{0E7A6D31-4C14-454B-AC2C-0CC7508360A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55" y="2912"/>
                <a:ext cx="1570" cy="341"/>
              </a:xfrm>
              <a:custGeom>
                <a:avLst/>
                <a:gdLst>
                  <a:gd name="T0" fmla="*/ 828 w 838"/>
                  <a:gd name="T1" fmla="*/ 0 h 182"/>
                  <a:gd name="T2" fmla="*/ 10 w 838"/>
                  <a:gd name="T3" fmla="*/ 0 h 182"/>
                  <a:gd name="T4" fmla="*/ 0 w 838"/>
                  <a:gd name="T5" fmla="*/ 10 h 182"/>
                  <a:gd name="T6" fmla="*/ 0 w 838"/>
                  <a:gd name="T7" fmla="*/ 172 h 182"/>
                  <a:gd name="T8" fmla="*/ 10 w 838"/>
                  <a:gd name="T9" fmla="*/ 182 h 182"/>
                  <a:gd name="T10" fmla="*/ 828 w 838"/>
                  <a:gd name="T11" fmla="*/ 182 h 182"/>
                  <a:gd name="T12" fmla="*/ 838 w 838"/>
                  <a:gd name="T13" fmla="*/ 172 h 182"/>
                  <a:gd name="T14" fmla="*/ 838 w 838"/>
                  <a:gd name="T15" fmla="*/ 10 h 182"/>
                  <a:gd name="T16" fmla="*/ 828 w 838"/>
                  <a:gd name="T17" fmla="*/ 0 h 1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838" h="182">
                    <a:moveTo>
                      <a:pt x="828" y="0"/>
                    </a:moveTo>
                    <a:cubicBezTo>
                      <a:pt x="10" y="0"/>
                      <a:pt x="10" y="0"/>
                      <a:pt x="10" y="0"/>
                    </a:cubicBezTo>
                    <a:cubicBezTo>
                      <a:pt x="5" y="0"/>
                      <a:pt x="0" y="4"/>
                      <a:pt x="0" y="10"/>
                    </a:cubicBezTo>
                    <a:cubicBezTo>
                      <a:pt x="0" y="172"/>
                      <a:pt x="0" y="172"/>
                      <a:pt x="0" y="172"/>
                    </a:cubicBezTo>
                    <a:cubicBezTo>
                      <a:pt x="0" y="177"/>
                      <a:pt x="5" y="182"/>
                      <a:pt x="10" y="182"/>
                    </a:cubicBezTo>
                    <a:cubicBezTo>
                      <a:pt x="828" y="182"/>
                      <a:pt x="828" y="182"/>
                      <a:pt x="828" y="182"/>
                    </a:cubicBezTo>
                    <a:cubicBezTo>
                      <a:pt x="833" y="182"/>
                      <a:pt x="838" y="177"/>
                      <a:pt x="838" y="172"/>
                    </a:cubicBezTo>
                    <a:cubicBezTo>
                      <a:pt x="838" y="10"/>
                      <a:pt x="838" y="10"/>
                      <a:pt x="838" y="10"/>
                    </a:cubicBezTo>
                    <a:cubicBezTo>
                      <a:pt x="838" y="4"/>
                      <a:pt x="833" y="0"/>
                      <a:pt x="828" y="0"/>
                    </a:cubicBez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4008" tIns="32004" rIns="64008" bIns="3200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575757"/>
                  </a:solidFill>
                  <a:latin typeface="+mn-lt"/>
                </a:endParaRPr>
              </a:p>
            </p:txBody>
          </p:sp>
        </p:grpSp>
      </p:grpSp>
      <p:sp>
        <p:nvSpPr>
          <p:cNvPr id="91" name="TextBox 90">
            <a:extLst>
              <a:ext uri="{FF2B5EF4-FFF2-40B4-BE49-F238E27FC236}">
                <a16:creationId xmlns:a16="http://schemas.microsoft.com/office/drawing/2014/main" id="{4CFEB2CE-6833-49DE-BB0E-44F10C8ACECF}"/>
              </a:ext>
            </a:extLst>
          </p:cNvPr>
          <p:cNvSpPr txBox="1"/>
          <p:nvPr/>
        </p:nvSpPr>
        <p:spPr>
          <a:xfrm>
            <a:off x="2487795" y="1004159"/>
            <a:ext cx="1600200" cy="215444"/>
          </a:xfrm>
          <a:prstGeom prst="rect">
            <a:avLst/>
          </a:prstGeom>
          <a:noFill/>
        </p:spPr>
        <p:txBody>
          <a:bodyPr wrap="square" lIns="75600" tIns="0" rIns="0" bIns="0" rtlCol="0" anchor="ctr" anchorCtr="0">
            <a:spAutoFit/>
          </a:bodyPr>
          <a:lstStyle/>
          <a:p>
            <a:pPr>
              <a:buSzPct val="100000"/>
              <a:buFont typeface="Trebuchet MS" panose="020B0603020202020204" pitchFamily="34" charset="0"/>
              <a:buChar char="​"/>
            </a:pPr>
            <a:r>
              <a:rPr lang="en-US" sz="1400" b="1">
                <a:solidFill>
                  <a:schemeClr val="tx1">
                    <a:lumMod val="100000"/>
                  </a:schemeClr>
                </a:solidFill>
                <a:latin typeface="+mn-lt"/>
                <a:cs typeface="Arial" panose="020B0604020202020204" pitchFamily="34" charset="0"/>
              </a:rPr>
              <a:t>Meeting Notes</a:t>
            </a:r>
          </a:p>
        </p:txBody>
      </p:sp>
      <p:pic>
        <p:nvPicPr>
          <p:cNvPr id="92" name="Picture 4">
            <a:extLst>
              <a:ext uri="{FF2B5EF4-FFF2-40B4-BE49-F238E27FC236}">
                <a16:creationId xmlns:a16="http://schemas.microsoft.com/office/drawing/2014/main" id="{0D447B28-16B8-45F1-BC64-E3E888D46C3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38133" y="2313183"/>
            <a:ext cx="1102014" cy="11020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27" name="Group 26">
            <a:extLst>
              <a:ext uri="{FF2B5EF4-FFF2-40B4-BE49-F238E27FC236}">
                <a16:creationId xmlns:a16="http://schemas.microsoft.com/office/drawing/2014/main" id="{A086EE1D-94FD-4D1A-835A-1F6370A6F00E}"/>
              </a:ext>
            </a:extLst>
          </p:cNvPr>
          <p:cNvGrpSpPr/>
          <p:nvPr/>
        </p:nvGrpSpPr>
        <p:grpSpPr>
          <a:xfrm>
            <a:off x="1773008" y="1235419"/>
            <a:ext cx="632266" cy="253300"/>
            <a:chOff x="5332413" y="3094038"/>
            <a:chExt cx="1533525" cy="614362"/>
          </a:xfrm>
        </p:grpSpPr>
        <p:sp>
          <p:nvSpPr>
            <p:cNvPr id="28" name="Freeform 10">
              <a:extLst>
                <a:ext uri="{FF2B5EF4-FFF2-40B4-BE49-F238E27FC236}">
                  <a16:creationId xmlns:a16="http://schemas.microsoft.com/office/drawing/2014/main" id="{1E2AF7B0-9666-4F82-AEC8-F48C7970EEBE}"/>
                </a:ext>
              </a:extLst>
            </p:cNvPr>
            <p:cNvSpPr>
              <a:spLocks/>
            </p:cNvSpPr>
            <p:nvPr/>
          </p:nvSpPr>
          <p:spPr bwMode="auto">
            <a:xfrm>
              <a:off x="5332413" y="3094038"/>
              <a:ext cx="1533525" cy="542925"/>
            </a:xfrm>
            <a:custGeom>
              <a:avLst/>
              <a:gdLst>
                <a:gd name="connsiteX0" fmla="*/ 1246187 w 1533525"/>
                <a:gd name="connsiteY0" fmla="*/ 511175 h 542925"/>
                <a:gd name="connsiteX1" fmla="*/ 1517878 w 1533525"/>
                <a:gd name="connsiteY1" fmla="*/ 511175 h 542925"/>
                <a:gd name="connsiteX2" fmla="*/ 1533525 w 1533525"/>
                <a:gd name="connsiteY2" fmla="*/ 527050 h 542925"/>
                <a:gd name="connsiteX3" fmla="*/ 1517878 w 1533525"/>
                <a:gd name="connsiteY3" fmla="*/ 542925 h 542925"/>
                <a:gd name="connsiteX4" fmla="*/ 1255433 w 1533525"/>
                <a:gd name="connsiteY4" fmla="*/ 542925 h 542925"/>
                <a:gd name="connsiteX5" fmla="*/ 1246187 w 1533525"/>
                <a:gd name="connsiteY5" fmla="*/ 511175 h 542925"/>
                <a:gd name="connsiteX6" fmla="*/ 735012 w 1533525"/>
                <a:gd name="connsiteY6" fmla="*/ 511175 h 542925"/>
                <a:gd name="connsiteX7" fmla="*/ 792162 w 1533525"/>
                <a:gd name="connsiteY7" fmla="*/ 511175 h 542925"/>
                <a:gd name="connsiteX8" fmla="*/ 783101 w 1533525"/>
                <a:gd name="connsiteY8" fmla="*/ 542925 h 542925"/>
                <a:gd name="connsiteX9" fmla="*/ 744072 w 1533525"/>
                <a:gd name="connsiteY9" fmla="*/ 542925 h 542925"/>
                <a:gd name="connsiteX10" fmla="*/ 735012 w 1533525"/>
                <a:gd name="connsiteY10" fmla="*/ 511175 h 542925"/>
                <a:gd name="connsiteX11" fmla="*/ 15650 w 1533525"/>
                <a:gd name="connsiteY11" fmla="*/ 511175 h 542925"/>
                <a:gd name="connsiteX12" fmla="*/ 280988 w 1533525"/>
                <a:gd name="connsiteY12" fmla="*/ 511175 h 542925"/>
                <a:gd name="connsiteX13" fmla="*/ 271740 w 1533525"/>
                <a:gd name="connsiteY13" fmla="*/ 542925 h 542925"/>
                <a:gd name="connsiteX14" fmla="*/ 15650 w 1533525"/>
                <a:gd name="connsiteY14" fmla="*/ 542925 h 542925"/>
                <a:gd name="connsiteX15" fmla="*/ 0 w 1533525"/>
                <a:gd name="connsiteY15" fmla="*/ 527050 h 542925"/>
                <a:gd name="connsiteX16" fmla="*/ 15650 w 1533525"/>
                <a:gd name="connsiteY16" fmla="*/ 511175 h 542925"/>
                <a:gd name="connsiteX17" fmla="*/ 764317 w 1533525"/>
                <a:gd name="connsiteY17" fmla="*/ 349250 h 542925"/>
                <a:gd name="connsiteX18" fmla="*/ 778175 w 1533525"/>
                <a:gd name="connsiteY18" fmla="*/ 350679 h 542925"/>
                <a:gd name="connsiteX19" fmla="*/ 788387 w 1533525"/>
                <a:gd name="connsiteY19" fmla="*/ 352822 h 542925"/>
                <a:gd name="connsiteX20" fmla="*/ 789845 w 1533525"/>
                <a:gd name="connsiteY20" fmla="*/ 355680 h 542925"/>
                <a:gd name="connsiteX21" fmla="*/ 773799 w 1533525"/>
                <a:gd name="connsiteY21" fmla="*/ 380683 h 542925"/>
                <a:gd name="connsiteX22" fmla="*/ 773799 w 1533525"/>
                <a:gd name="connsiteY22" fmla="*/ 382826 h 542925"/>
                <a:gd name="connsiteX23" fmla="*/ 789116 w 1533525"/>
                <a:gd name="connsiteY23" fmla="*/ 477838 h 542925"/>
                <a:gd name="connsiteX24" fmla="*/ 736600 w 1533525"/>
                <a:gd name="connsiteY24" fmla="*/ 477838 h 542925"/>
                <a:gd name="connsiteX25" fmla="*/ 753376 w 1533525"/>
                <a:gd name="connsiteY25" fmla="*/ 382826 h 542925"/>
                <a:gd name="connsiteX26" fmla="*/ 753376 w 1533525"/>
                <a:gd name="connsiteY26" fmla="*/ 380683 h 542925"/>
                <a:gd name="connsiteX27" fmla="*/ 737329 w 1533525"/>
                <a:gd name="connsiteY27" fmla="*/ 355680 h 542925"/>
                <a:gd name="connsiteX28" fmla="*/ 738788 w 1533525"/>
                <a:gd name="connsiteY28" fmla="*/ 352822 h 542925"/>
                <a:gd name="connsiteX29" fmla="*/ 749729 w 1533525"/>
                <a:gd name="connsiteY29" fmla="*/ 350679 h 542925"/>
                <a:gd name="connsiteX30" fmla="*/ 764317 w 1533525"/>
                <a:gd name="connsiteY30" fmla="*/ 349250 h 542925"/>
                <a:gd name="connsiteX31" fmla="*/ 1200963 w 1533525"/>
                <a:gd name="connsiteY31" fmla="*/ 334962 h 542925"/>
                <a:gd name="connsiteX32" fmla="*/ 1203105 w 1533525"/>
                <a:gd name="connsiteY32" fmla="*/ 337095 h 542925"/>
                <a:gd name="connsiteX33" fmla="*/ 1268787 w 1533525"/>
                <a:gd name="connsiteY33" fmla="*/ 409598 h 542925"/>
                <a:gd name="connsiteX34" fmla="*/ 1280210 w 1533525"/>
                <a:gd name="connsiteY34" fmla="*/ 409598 h 542925"/>
                <a:gd name="connsiteX35" fmla="*/ 1345893 w 1533525"/>
                <a:gd name="connsiteY35" fmla="*/ 337095 h 542925"/>
                <a:gd name="connsiteX36" fmla="*/ 1348034 w 1533525"/>
                <a:gd name="connsiteY36" fmla="*/ 334962 h 542925"/>
                <a:gd name="connsiteX37" fmla="*/ 1441561 w 1533525"/>
                <a:gd name="connsiteY37" fmla="*/ 351311 h 542925"/>
                <a:gd name="connsiteX38" fmla="*/ 1492250 w 1533525"/>
                <a:gd name="connsiteY38" fmla="*/ 477837 h 542925"/>
                <a:gd name="connsiteX39" fmla="*/ 1232376 w 1533525"/>
                <a:gd name="connsiteY39" fmla="*/ 477837 h 542925"/>
                <a:gd name="connsiteX40" fmla="*/ 1198821 w 1533525"/>
                <a:gd name="connsiteY40" fmla="*/ 440164 h 542925"/>
                <a:gd name="connsiteX41" fmla="*/ 1101725 w 1533525"/>
                <a:gd name="connsiteY41" fmla="*/ 421682 h 542925"/>
                <a:gd name="connsiteX42" fmla="*/ 1111720 w 1533525"/>
                <a:gd name="connsiteY42" fmla="*/ 409598 h 542925"/>
                <a:gd name="connsiteX43" fmla="*/ 1112434 w 1533525"/>
                <a:gd name="connsiteY43" fmla="*/ 408177 h 542925"/>
                <a:gd name="connsiteX44" fmla="*/ 1118859 w 1533525"/>
                <a:gd name="connsiteY44" fmla="*/ 394671 h 542925"/>
                <a:gd name="connsiteX45" fmla="*/ 1120287 w 1533525"/>
                <a:gd name="connsiteY45" fmla="*/ 390406 h 542925"/>
                <a:gd name="connsiteX46" fmla="*/ 1155271 w 1533525"/>
                <a:gd name="connsiteY46" fmla="*/ 338516 h 542925"/>
                <a:gd name="connsiteX47" fmla="*/ 1200963 w 1533525"/>
                <a:gd name="connsiteY47" fmla="*/ 334962 h 542925"/>
                <a:gd name="connsiteX48" fmla="*/ 837524 w 1533525"/>
                <a:gd name="connsiteY48" fmla="*/ 334962 h 542925"/>
                <a:gd name="connsiteX49" fmla="*/ 883153 w 1533525"/>
                <a:gd name="connsiteY49" fmla="*/ 338545 h 542925"/>
                <a:gd name="connsiteX50" fmla="*/ 917375 w 1533525"/>
                <a:gd name="connsiteY50" fmla="*/ 389427 h 542925"/>
                <a:gd name="connsiteX51" fmla="*/ 919514 w 1533525"/>
                <a:gd name="connsiteY51" fmla="*/ 395160 h 542925"/>
                <a:gd name="connsiteX52" fmla="*/ 928069 w 1533525"/>
                <a:gd name="connsiteY52" fmla="*/ 412360 h 542925"/>
                <a:gd name="connsiteX53" fmla="*/ 936625 w 1533525"/>
                <a:gd name="connsiteY53" fmla="*/ 422393 h 542925"/>
                <a:gd name="connsiteX54" fmla="*/ 839663 w 1533525"/>
                <a:gd name="connsiteY54" fmla="*/ 441026 h 542925"/>
                <a:gd name="connsiteX55" fmla="*/ 817562 w 1533525"/>
                <a:gd name="connsiteY55" fmla="*/ 460375 h 542925"/>
                <a:gd name="connsiteX56" fmla="*/ 835386 w 1533525"/>
                <a:gd name="connsiteY56" fmla="*/ 337112 h 542925"/>
                <a:gd name="connsiteX57" fmla="*/ 837524 w 1533525"/>
                <a:gd name="connsiteY57" fmla="*/ 334962 h 542925"/>
                <a:gd name="connsiteX58" fmla="*/ 689650 w 1533525"/>
                <a:gd name="connsiteY58" fmla="*/ 334962 h 542925"/>
                <a:gd name="connsiteX59" fmla="*/ 691789 w 1533525"/>
                <a:gd name="connsiteY59" fmla="*/ 337112 h 542925"/>
                <a:gd name="connsiteX60" fmla="*/ 709613 w 1533525"/>
                <a:gd name="connsiteY60" fmla="*/ 460375 h 542925"/>
                <a:gd name="connsiteX61" fmla="*/ 687511 w 1533525"/>
                <a:gd name="connsiteY61" fmla="*/ 441026 h 542925"/>
                <a:gd name="connsiteX62" fmla="*/ 590550 w 1533525"/>
                <a:gd name="connsiteY62" fmla="*/ 422393 h 542925"/>
                <a:gd name="connsiteX63" fmla="*/ 600531 w 1533525"/>
                <a:gd name="connsiteY63" fmla="*/ 410210 h 542925"/>
                <a:gd name="connsiteX64" fmla="*/ 601244 w 1533525"/>
                <a:gd name="connsiteY64" fmla="*/ 408777 h 542925"/>
                <a:gd name="connsiteX65" fmla="*/ 607661 w 1533525"/>
                <a:gd name="connsiteY65" fmla="*/ 395160 h 542925"/>
                <a:gd name="connsiteX66" fmla="*/ 609087 w 1533525"/>
                <a:gd name="connsiteY66" fmla="*/ 390860 h 542925"/>
                <a:gd name="connsiteX67" fmla="*/ 644021 w 1533525"/>
                <a:gd name="connsiteY67" fmla="*/ 338545 h 542925"/>
                <a:gd name="connsiteX68" fmla="*/ 689650 w 1533525"/>
                <a:gd name="connsiteY68" fmla="*/ 334962 h 542925"/>
                <a:gd name="connsiteX69" fmla="*/ 180120 w 1533525"/>
                <a:gd name="connsiteY69" fmla="*/ 334962 h 542925"/>
                <a:gd name="connsiteX70" fmla="*/ 252360 w 1533525"/>
                <a:gd name="connsiteY70" fmla="*/ 369082 h 542925"/>
                <a:gd name="connsiteX71" fmla="*/ 323885 w 1533525"/>
                <a:gd name="connsiteY71" fmla="*/ 334962 h 542925"/>
                <a:gd name="connsiteX72" fmla="*/ 371806 w 1533525"/>
                <a:gd name="connsiteY72" fmla="*/ 338516 h 542925"/>
                <a:gd name="connsiteX73" fmla="*/ 406138 w 1533525"/>
                <a:gd name="connsiteY73" fmla="*/ 388985 h 542925"/>
                <a:gd name="connsiteX74" fmla="*/ 408284 w 1533525"/>
                <a:gd name="connsiteY74" fmla="*/ 394671 h 542925"/>
                <a:gd name="connsiteX75" fmla="*/ 416867 w 1533525"/>
                <a:gd name="connsiteY75" fmla="*/ 411731 h 542925"/>
                <a:gd name="connsiteX76" fmla="*/ 425450 w 1533525"/>
                <a:gd name="connsiteY76" fmla="*/ 421682 h 542925"/>
                <a:gd name="connsiteX77" fmla="*/ 328176 w 1533525"/>
                <a:gd name="connsiteY77" fmla="*/ 440164 h 542925"/>
                <a:gd name="connsiteX78" fmla="*/ 294560 w 1533525"/>
                <a:gd name="connsiteY78" fmla="*/ 477837 h 542925"/>
                <a:gd name="connsiteX79" fmla="*/ 34925 w 1533525"/>
                <a:gd name="connsiteY79" fmla="*/ 477837 h 542925"/>
                <a:gd name="connsiteX80" fmla="*/ 84992 w 1533525"/>
                <a:gd name="connsiteY80" fmla="*/ 351311 h 542925"/>
                <a:gd name="connsiteX81" fmla="*/ 180120 w 1533525"/>
                <a:gd name="connsiteY81" fmla="*/ 334962 h 542925"/>
                <a:gd name="connsiteX82" fmla="*/ 1381410 w 1533525"/>
                <a:gd name="connsiteY82" fmla="*/ 215900 h 542925"/>
                <a:gd name="connsiteX83" fmla="*/ 1414463 w 1533525"/>
                <a:gd name="connsiteY83" fmla="*/ 298275 h 542925"/>
                <a:gd name="connsiteX84" fmla="*/ 1376380 w 1533525"/>
                <a:gd name="connsiteY84" fmla="*/ 320675 h 542925"/>
                <a:gd name="connsiteX85" fmla="*/ 1349074 w 1533525"/>
                <a:gd name="connsiteY85" fmla="*/ 319230 h 542925"/>
                <a:gd name="connsiteX86" fmla="*/ 1346200 w 1533525"/>
                <a:gd name="connsiteY86" fmla="*/ 317785 h 542925"/>
                <a:gd name="connsiteX87" fmla="*/ 1346200 w 1533525"/>
                <a:gd name="connsiteY87" fmla="*/ 293939 h 542925"/>
                <a:gd name="connsiteX88" fmla="*/ 1381410 w 1533525"/>
                <a:gd name="connsiteY88" fmla="*/ 215900 h 542925"/>
                <a:gd name="connsiteX89" fmla="*/ 1167890 w 1533525"/>
                <a:gd name="connsiteY89" fmla="*/ 215900 h 542925"/>
                <a:gd name="connsiteX90" fmla="*/ 1203325 w 1533525"/>
                <a:gd name="connsiteY90" fmla="*/ 293939 h 542925"/>
                <a:gd name="connsiteX91" fmla="*/ 1203325 w 1533525"/>
                <a:gd name="connsiteY91" fmla="*/ 317785 h 542925"/>
                <a:gd name="connsiteX92" fmla="*/ 1200490 w 1533525"/>
                <a:gd name="connsiteY92" fmla="*/ 319230 h 542925"/>
                <a:gd name="connsiteX93" fmla="*/ 1173559 w 1533525"/>
                <a:gd name="connsiteY93" fmla="*/ 320675 h 542925"/>
                <a:gd name="connsiteX94" fmla="*/ 1163637 w 1533525"/>
                <a:gd name="connsiteY94" fmla="*/ 317785 h 542925"/>
                <a:gd name="connsiteX95" fmla="*/ 1171433 w 1533525"/>
                <a:gd name="connsiteY95" fmla="*/ 278765 h 542925"/>
                <a:gd name="connsiteX96" fmla="*/ 1165055 w 1533525"/>
                <a:gd name="connsiteY96" fmla="*/ 233242 h 542925"/>
                <a:gd name="connsiteX97" fmla="*/ 1167890 w 1533525"/>
                <a:gd name="connsiteY97" fmla="*/ 215900 h 542925"/>
                <a:gd name="connsiteX98" fmla="*/ 1275200 w 1533525"/>
                <a:gd name="connsiteY98" fmla="*/ 0 h 542925"/>
                <a:gd name="connsiteX99" fmla="*/ 1397875 w 1533525"/>
                <a:gd name="connsiteY99" fmla="*/ 124537 h 542925"/>
                <a:gd name="connsiteX100" fmla="*/ 1393596 w 1533525"/>
                <a:gd name="connsiteY100" fmla="*/ 166524 h 542925"/>
                <a:gd name="connsiteX101" fmla="*/ 1393596 w 1533525"/>
                <a:gd name="connsiteY101" fmla="*/ 165812 h 542925"/>
                <a:gd name="connsiteX102" fmla="*/ 1380044 w 1533525"/>
                <a:gd name="connsiteY102" fmla="*/ 185026 h 542925"/>
                <a:gd name="connsiteX103" fmla="*/ 1378618 w 1533525"/>
                <a:gd name="connsiteY103" fmla="*/ 185738 h 542925"/>
                <a:gd name="connsiteX104" fmla="*/ 1370772 w 1533525"/>
                <a:gd name="connsiteY104" fmla="*/ 185738 h 542925"/>
                <a:gd name="connsiteX105" fmla="*/ 1370059 w 1533525"/>
                <a:gd name="connsiteY105" fmla="*/ 185026 h 542925"/>
                <a:gd name="connsiteX106" fmla="*/ 1208870 w 1533525"/>
                <a:gd name="connsiteY106" fmla="*/ 100341 h 542925"/>
                <a:gd name="connsiteX107" fmla="*/ 1207444 w 1533525"/>
                <a:gd name="connsiteY107" fmla="*/ 99630 h 542925"/>
                <a:gd name="connsiteX108" fmla="*/ 1159658 w 1533525"/>
                <a:gd name="connsiteY108" fmla="*/ 175064 h 542925"/>
                <a:gd name="connsiteX109" fmla="*/ 1152525 w 1533525"/>
                <a:gd name="connsiteY109" fmla="*/ 124537 h 542925"/>
                <a:gd name="connsiteX110" fmla="*/ 1275200 w 1533525"/>
                <a:gd name="connsiteY110" fmla="*/ 0 h 542925"/>
                <a:gd name="connsiteX111" fmla="*/ 763587 w 1533525"/>
                <a:gd name="connsiteY111" fmla="*/ 0 h 542925"/>
                <a:gd name="connsiteX112" fmla="*/ 884237 w 1533525"/>
                <a:gd name="connsiteY112" fmla="*/ 123004 h 542925"/>
                <a:gd name="connsiteX113" fmla="*/ 879953 w 1533525"/>
                <a:gd name="connsiteY113" fmla="*/ 164953 h 542925"/>
                <a:gd name="connsiteX114" fmla="*/ 866389 w 1533525"/>
                <a:gd name="connsiteY114" fmla="*/ 184150 h 542925"/>
                <a:gd name="connsiteX115" fmla="*/ 857108 w 1533525"/>
                <a:gd name="connsiteY115" fmla="*/ 184150 h 542925"/>
                <a:gd name="connsiteX116" fmla="*/ 856394 w 1533525"/>
                <a:gd name="connsiteY116" fmla="*/ 93142 h 542925"/>
                <a:gd name="connsiteX117" fmla="*/ 697194 w 1533525"/>
                <a:gd name="connsiteY117" fmla="*/ 98830 h 542925"/>
                <a:gd name="connsiteX118" fmla="*/ 667923 w 1533525"/>
                <a:gd name="connsiteY118" fmla="*/ 182017 h 542925"/>
                <a:gd name="connsiteX119" fmla="*/ 660070 w 1533525"/>
                <a:gd name="connsiteY119" fmla="*/ 181306 h 542925"/>
                <a:gd name="connsiteX120" fmla="*/ 647934 w 1533525"/>
                <a:gd name="connsiteY120" fmla="*/ 166375 h 542925"/>
                <a:gd name="connsiteX121" fmla="*/ 642937 w 1533525"/>
                <a:gd name="connsiteY121" fmla="*/ 123004 h 542925"/>
                <a:gd name="connsiteX122" fmla="*/ 763587 w 1533525"/>
                <a:gd name="connsiteY122" fmla="*/ 0 h 542925"/>
                <a:gd name="connsiteX123" fmla="*/ 252412 w 1533525"/>
                <a:gd name="connsiteY123" fmla="*/ 0 h 542925"/>
                <a:gd name="connsiteX124" fmla="*/ 373062 w 1533525"/>
                <a:gd name="connsiteY124" fmla="*/ 123004 h 542925"/>
                <a:gd name="connsiteX125" fmla="*/ 368778 w 1533525"/>
                <a:gd name="connsiteY125" fmla="*/ 164953 h 542925"/>
                <a:gd name="connsiteX126" fmla="*/ 368064 w 1533525"/>
                <a:gd name="connsiteY126" fmla="*/ 164953 h 542925"/>
                <a:gd name="connsiteX127" fmla="*/ 354500 w 1533525"/>
                <a:gd name="connsiteY127" fmla="*/ 184150 h 542925"/>
                <a:gd name="connsiteX128" fmla="*/ 345933 w 1533525"/>
                <a:gd name="connsiteY128" fmla="*/ 184150 h 542925"/>
                <a:gd name="connsiteX129" fmla="*/ 344506 w 1533525"/>
                <a:gd name="connsiteY129" fmla="*/ 93142 h 542925"/>
                <a:gd name="connsiteX130" fmla="*/ 186019 w 1533525"/>
                <a:gd name="connsiteY130" fmla="*/ 98830 h 542925"/>
                <a:gd name="connsiteX131" fmla="*/ 156748 w 1533525"/>
                <a:gd name="connsiteY131" fmla="*/ 182017 h 542925"/>
                <a:gd name="connsiteX132" fmla="*/ 148182 w 1533525"/>
                <a:gd name="connsiteY132" fmla="*/ 181306 h 542925"/>
                <a:gd name="connsiteX133" fmla="*/ 136759 w 1533525"/>
                <a:gd name="connsiteY133" fmla="*/ 166375 h 542925"/>
                <a:gd name="connsiteX134" fmla="*/ 131762 w 1533525"/>
                <a:gd name="connsiteY134" fmla="*/ 123004 h 542925"/>
                <a:gd name="connsiteX135" fmla="*/ 252412 w 1533525"/>
                <a:gd name="connsiteY135" fmla="*/ 0 h 5429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</a:cxnLst>
              <a:rect l="l" t="t" r="r" b="b"/>
              <a:pathLst>
                <a:path w="1533525" h="542925">
                  <a:moveTo>
                    <a:pt x="1246187" y="511175"/>
                  </a:moveTo>
                  <a:cubicBezTo>
                    <a:pt x="1246187" y="511175"/>
                    <a:pt x="1246187" y="511175"/>
                    <a:pt x="1517878" y="511175"/>
                  </a:cubicBezTo>
                  <a:cubicBezTo>
                    <a:pt x="1526413" y="511175"/>
                    <a:pt x="1533525" y="518391"/>
                    <a:pt x="1533525" y="527050"/>
                  </a:cubicBezTo>
                  <a:cubicBezTo>
                    <a:pt x="1533525" y="536431"/>
                    <a:pt x="1526413" y="542925"/>
                    <a:pt x="1517878" y="542925"/>
                  </a:cubicBezTo>
                  <a:cubicBezTo>
                    <a:pt x="1517878" y="542925"/>
                    <a:pt x="1517878" y="542925"/>
                    <a:pt x="1255433" y="542925"/>
                  </a:cubicBezTo>
                  <a:cubicBezTo>
                    <a:pt x="1252588" y="531380"/>
                    <a:pt x="1249032" y="521277"/>
                    <a:pt x="1246187" y="511175"/>
                  </a:cubicBezTo>
                  <a:close/>
                  <a:moveTo>
                    <a:pt x="735012" y="511175"/>
                  </a:moveTo>
                  <a:cubicBezTo>
                    <a:pt x="735012" y="511175"/>
                    <a:pt x="735012" y="511175"/>
                    <a:pt x="792162" y="511175"/>
                  </a:cubicBezTo>
                  <a:cubicBezTo>
                    <a:pt x="789374" y="521277"/>
                    <a:pt x="786586" y="531380"/>
                    <a:pt x="783101" y="542925"/>
                  </a:cubicBezTo>
                  <a:cubicBezTo>
                    <a:pt x="783101" y="542925"/>
                    <a:pt x="783101" y="542925"/>
                    <a:pt x="744072" y="542925"/>
                  </a:cubicBezTo>
                  <a:cubicBezTo>
                    <a:pt x="740587" y="531380"/>
                    <a:pt x="737800" y="521277"/>
                    <a:pt x="735012" y="511175"/>
                  </a:cubicBezTo>
                  <a:close/>
                  <a:moveTo>
                    <a:pt x="15650" y="511175"/>
                  </a:moveTo>
                  <a:cubicBezTo>
                    <a:pt x="15650" y="511175"/>
                    <a:pt x="15650" y="511175"/>
                    <a:pt x="280988" y="511175"/>
                  </a:cubicBezTo>
                  <a:cubicBezTo>
                    <a:pt x="278142" y="521277"/>
                    <a:pt x="274586" y="531380"/>
                    <a:pt x="271740" y="542925"/>
                  </a:cubicBezTo>
                  <a:cubicBezTo>
                    <a:pt x="271740" y="542925"/>
                    <a:pt x="271740" y="542925"/>
                    <a:pt x="15650" y="542925"/>
                  </a:cubicBezTo>
                  <a:cubicBezTo>
                    <a:pt x="6402" y="542925"/>
                    <a:pt x="0" y="536431"/>
                    <a:pt x="0" y="527050"/>
                  </a:cubicBezTo>
                  <a:cubicBezTo>
                    <a:pt x="0" y="518391"/>
                    <a:pt x="6402" y="511175"/>
                    <a:pt x="15650" y="511175"/>
                  </a:cubicBezTo>
                  <a:close/>
                  <a:moveTo>
                    <a:pt x="764317" y="349250"/>
                  </a:moveTo>
                  <a:cubicBezTo>
                    <a:pt x="768693" y="349250"/>
                    <a:pt x="773799" y="349965"/>
                    <a:pt x="778175" y="350679"/>
                  </a:cubicBezTo>
                  <a:cubicBezTo>
                    <a:pt x="782551" y="351393"/>
                    <a:pt x="786198" y="352108"/>
                    <a:pt x="788387" y="352822"/>
                  </a:cubicBezTo>
                  <a:cubicBezTo>
                    <a:pt x="789845" y="352822"/>
                    <a:pt x="790575" y="354251"/>
                    <a:pt x="789845" y="355680"/>
                  </a:cubicBezTo>
                  <a:cubicBezTo>
                    <a:pt x="789845" y="355680"/>
                    <a:pt x="789845" y="355680"/>
                    <a:pt x="773799" y="380683"/>
                  </a:cubicBezTo>
                  <a:cubicBezTo>
                    <a:pt x="773799" y="381397"/>
                    <a:pt x="773799" y="382112"/>
                    <a:pt x="773799" y="382826"/>
                  </a:cubicBezTo>
                  <a:cubicBezTo>
                    <a:pt x="773799" y="382826"/>
                    <a:pt x="773799" y="382826"/>
                    <a:pt x="789116" y="477838"/>
                  </a:cubicBezTo>
                  <a:cubicBezTo>
                    <a:pt x="789116" y="477838"/>
                    <a:pt x="789116" y="477838"/>
                    <a:pt x="736600" y="477838"/>
                  </a:cubicBezTo>
                  <a:lnTo>
                    <a:pt x="753376" y="382826"/>
                  </a:lnTo>
                  <a:cubicBezTo>
                    <a:pt x="753376" y="382112"/>
                    <a:pt x="753376" y="381397"/>
                    <a:pt x="753376" y="380683"/>
                  </a:cubicBezTo>
                  <a:cubicBezTo>
                    <a:pt x="753376" y="380683"/>
                    <a:pt x="753376" y="380683"/>
                    <a:pt x="737329" y="355680"/>
                  </a:cubicBezTo>
                  <a:cubicBezTo>
                    <a:pt x="736600" y="354965"/>
                    <a:pt x="737329" y="352822"/>
                    <a:pt x="738788" y="352822"/>
                  </a:cubicBezTo>
                  <a:cubicBezTo>
                    <a:pt x="741705" y="352108"/>
                    <a:pt x="745352" y="351393"/>
                    <a:pt x="749729" y="350679"/>
                  </a:cubicBezTo>
                  <a:cubicBezTo>
                    <a:pt x="754105" y="349965"/>
                    <a:pt x="759940" y="349250"/>
                    <a:pt x="764317" y="349250"/>
                  </a:cubicBezTo>
                  <a:close/>
                  <a:moveTo>
                    <a:pt x="1200963" y="334962"/>
                  </a:moveTo>
                  <a:cubicBezTo>
                    <a:pt x="1202391" y="334962"/>
                    <a:pt x="1203105" y="335673"/>
                    <a:pt x="1203105" y="337095"/>
                  </a:cubicBezTo>
                  <a:cubicBezTo>
                    <a:pt x="1203105" y="337095"/>
                    <a:pt x="1203105" y="337095"/>
                    <a:pt x="1268787" y="409598"/>
                  </a:cubicBezTo>
                  <a:cubicBezTo>
                    <a:pt x="1271643" y="413863"/>
                    <a:pt x="1277354" y="413863"/>
                    <a:pt x="1280210" y="409598"/>
                  </a:cubicBezTo>
                  <a:cubicBezTo>
                    <a:pt x="1280210" y="409598"/>
                    <a:pt x="1280210" y="409598"/>
                    <a:pt x="1345893" y="337095"/>
                  </a:cubicBezTo>
                  <a:cubicBezTo>
                    <a:pt x="1345893" y="335673"/>
                    <a:pt x="1347320" y="334962"/>
                    <a:pt x="1348034" y="334962"/>
                  </a:cubicBezTo>
                  <a:cubicBezTo>
                    <a:pt x="1359457" y="334962"/>
                    <a:pt x="1411575" y="337095"/>
                    <a:pt x="1441561" y="351311"/>
                  </a:cubicBezTo>
                  <a:cubicBezTo>
                    <a:pt x="1465834" y="361973"/>
                    <a:pt x="1484397" y="447983"/>
                    <a:pt x="1492250" y="477837"/>
                  </a:cubicBezTo>
                  <a:cubicBezTo>
                    <a:pt x="1492250" y="477837"/>
                    <a:pt x="1492250" y="477837"/>
                    <a:pt x="1232376" y="477837"/>
                  </a:cubicBezTo>
                  <a:cubicBezTo>
                    <a:pt x="1223095" y="458645"/>
                    <a:pt x="1212386" y="446561"/>
                    <a:pt x="1198821" y="440164"/>
                  </a:cubicBezTo>
                  <a:cubicBezTo>
                    <a:pt x="1168836" y="425947"/>
                    <a:pt x="1123143" y="422393"/>
                    <a:pt x="1101725" y="421682"/>
                  </a:cubicBezTo>
                  <a:cubicBezTo>
                    <a:pt x="1106008" y="417417"/>
                    <a:pt x="1109578" y="413152"/>
                    <a:pt x="1111720" y="409598"/>
                  </a:cubicBezTo>
                  <a:cubicBezTo>
                    <a:pt x="1111720" y="409598"/>
                    <a:pt x="1111720" y="409598"/>
                    <a:pt x="1112434" y="408177"/>
                  </a:cubicBezTo>
                  <a:cubicBezTo>
                    <a:pt x="1116004" y="402490"/>
                    <a:pt x="1116717" y="400358"/>
                    <a:pt x="1118859" y="394671"/>
                  </a:cubicBezTo>
                  <a:cubicBezTo>
                    <a:pt x="1119573" y="393960"/>
                    <a:pt x="1119573" y="392539"/>
                    <a:pt x="1120287" y="390406"/>
                  </a:cubicBezTo>
                  <a:cubicBezTo>
                    <a:pt x="1133852" y="376901"/>
                    <a:pt x="1148131" y="354865"/>
                    <a:pt x="1155271" y="338516"/>
                  </a:cubicBezTo>
                  <a:cubicBezTo>
                    <a:pt x="1175975" y="335673"/>
                    <a:pt x="1195251" y="334962"/>
                    <a:pt x="1200963" y="334962"/>
                  </a:cubicBezTo>
                  <a:close/>
                  <a:moveTo>
                    <a:pt x="837524" y="334962"/>
                  </a:moveTo>
                  <a:cubicBezTo>
                    <a:pt x="843941" y="334962"/>
                    <a:pt x="862478" y="335679"/>
                    <a:pt x="883153" y="338545"/>
                  </a:cubicBezTo>
                  <a:cubicBezTo>
                    <a:pt x="891709" y="356461"/>
                    <a:pt x="905968" y="377244"/>
                    <a:pt x="917375" y="389427"/>
                  </a:cubicBezTo>
                  <a:cubicBezTo>
                    <a:pt x="918801" y="392294"/>
                    <a:pt x="918801" y="393727"/>
                    <a:pt x="919514" y="395160"/>
                  </a:cubicBezTo>
                  <a:cubicBezTo>
                    <a:pt x="921653" y="402327"/>
                    <a:pt x="923792" y="405910"/>
                    <a:pt x="928069" y="412360"/>
                  </a:cubicBezTo>
                  <a:cubicBezTo>
                    <a:pt x="930208" y="415226"/>
                    <a:pt x="933060" y="418810"/>
                    <a:pt x="936625" y="422393"/>
                  </a:cubicBezTo>
                  <a:cubicBezTo>
                    <a:pt x="915949" y="423110"/>
                    <a:pt x="870320" y="426693"/>
                    <a:pt x="839663" y="441026"/>
                  </a:cubicBezTo>
                  <a:cubicBezTo>
                    <a:pt x="831108" y="444609"/>
                    <a:pt x="823978" y="451059"/>
                    <a:pt x="817562" y="460375"/>
                  </a:cubicBezTo>
                  <a:cubicBezTo>
                    <a:pt x="817562" y="460375"/>
                    <a:pt x="817562" y="460375"/>
                    <a:pt x="835386" y="337112"/>
                  </a:cubicBezTo>
                  <a:cubicBezTo>
                    <a:pt x="835386" y="335679"/>
                    <a:pt x="836811" y="334962"/>
                    <a:pt x="837524" y="334962"/>
                  </a:cubicBezTo>
                  <a:close/>
                  <a:moveTo>
                    <a:pt x="689650" y="334962"/>
                  </a:moveTo>
                  <a:cubicBezTo>
                    <a:pt x="690363" y="334962"/>
                    <a:pt x="691789" y="335679"/>
                    <a:pt x="691789" y="337112"/>
                  </a:cubicBezTo>
                  <a:cubicBezTo>
                    <a:pt x="691789" y="337112"/>
                    <a:pt x="691789" y="337112"/>
                    <a:pt x="709613" y="460375"/>
                  </a:cubicBezTo>
                  <a:cubicBezTo>
                    <a:pt x="703196" y="451059"/>
                    <a:pt x="696067" y="444609"/>
                    <a:pt x="687511" y="441026"/>
                  </a:cubicBezTo>
                  <a:cubicBezTo>
                    <a:pt x="656854" y="426693"/>
                    <a:pt x="611225" y="423110"/>
                    <a:pt x="590550" y="422393"/>
                  </a:cubicBezTo>
                  <a:cubicBezTo>
                    <a:pt x="594827" y="418093"/>
                    <a:pt x="598392" y="413793"/>
                    <a:pt x="600531" y="410210"/>
                  </a:cubicBezTo>
                  <a:cubicBezTo>
                    <a:pt x="600531" y="410210"/>
                    <a:pt x="600531" y="410210"/>
                    <a:pt x="601244" y="408777"/>
                  </a:cubicBezTo>
                  <a:cubicBezTo>
                    <a:pt x="604809" y="403043"/>
                    <a:pt x="605522" y="400894"/>
                    <a:pt x="607661" y="395160"/>
                  </a:cubicBezTo>
                  <a:cubicBezTo>
                    <a:pt x="607661" y="394444"/>
                    <a:pt x="608374" y="393010"/>
                    <a:pt x="609087" y="390860"/>
                  </a:cubicBezTo>
                  <a:cubicBezTo>
                    <a:pt x="622633" y="377244"/>
                    <a:pt x="636179" y="355028"/>
                    <a:pt x="644021" y="338545"/>
                  </a:cubicBezTo>
                  <a:cubicBezTo>
                    <a:pt x="664697" y="335679"/>
                    <a:pt x="683234" y="334962"/>
                    <a:pt x="689650" y="334962"/>
                  </a:cubicBezTo>
                  <a:close/>
                  <a:moveTo>
                    <a:pt x="180120" y="334962"/>
                  </a:moveTo>
                  <a:cubicBezTo>
                    <a:pt x="180120" y="334962"/>
                    <a:pt x="204438" y="368371"/>
                    <a:pt x="252360" y="369082"/>
                  </a:cubicBezTo>
                  <a:cubicBezTo>
                    <a:pt x="299566" y="368371"/>
                    <a:pt x="323885" y="334962"/>
                    <a:pt x="323885" y="334962"/>
                  </a:cubicBezTo>
                  <a:cubicBezTo>
                    <a:pt x="323885" y="334962"/>
                    <a:pt x="346773" y="334962"/>
                    <a:pt x="371806" y="338516"/>
                  </a:cubicBezTo>
                  <a:cubicBezTo>
                    <a:pt x="379674" y="356287"/>
                    <a:pt x="394694" y="376901"/>
                    <a:pt x="406138" y="388985"/>
                  </a:cubicBezTo>
                  <a:cubicBezTo>
                    <a:pt x="406853" y="391828"/>
                    <a:pt x="407569" y="393249"/>
                    <a:pt x="408284" y="394671"/>
                  </a:cubicBezTo>
                  <a:cubicBezTo>
                    <a:pt x="410430" y="401779"/>
                    <a:pt x="411860" y="405333"/>
                    <a:pt x="416867" y="411731"/>
                  </a:cubicBezTo>
                  <a:cubicBezTo>
                    <a:pt x="419013" y="414574"/>
                    <a:pt x="421874" y="418128"/>
                    <a:pt x="425450" y="421682"/>
                  </a:cubicBezTo>
                  <a:cubicBezTo>
                    <a:pt x="404708" y="422393"/>
                    <a:pt x="358932" y="425947"/>
                    <a:pt x="328176" y="440164"/>
                  </a:cubicBezTo>
                  <a:cubicBezTo>
                    <a:pt x="314586" y="446561"/>
                    <a:pt x="303858" y="458645"/>
                    <a:pt x="294560" y="477837"/>
                  </a:cubicBezTo>
                  <a:cubicBezTo>
                    <a:pt x="294560" y="477837"/>
                    <a:pt x="294560" y="477837"/>
                    <a:pt x="34925" y="477837"/>
                  </a:cubicBezTo>
                  <a:cubicBezTo>
                    <a:pt x="43508" y="444429"/>
                    <a:pt x="61389" y="361973"/>
                    <a:pt x="84992" y="351311"/>
                  </a:cubicBezTo>
                  <a:cubicBezTo>
                    <a:pt x="118609" y="335673"/>
                    <a:pt x="180120" y="334962"/>
                    <a:pt x="180120" y="334962"/>
                  </a:cubicBezTo>
                  <a:close/>
                  <a:moveTo>
                    <a:pt x="1381410" y="215900"/>
                  </a:moveTo>
                  <a:cubicBezTo>
                    <a:pt x="1388595" y="215900"/>
                    <a:pt x="1375661" y="294662"/>
                    <a:pt x="1414463" y="298275"/>
                  </a:cubicBezTo>
                  <a:cubicBezTo>
                    <a:pt x="1400811" y="312727"/>
                    <a:pt x="1387158" y="318507"/>
                    <a:pt x="1376380" y="320675"/>
                  </a:cubicBezTo>
                  <a:cubicBezTo>
                    <a:pt x="1364164" y="319230"/>
                    <a:pt x="1354104" y="319230"/>
                    <a:pt x="1349074" y="319230"/>
                  </a:cubicBezTo>
                  <a:cubicBezTo>
                    <a:pt x="1347637" y="318507"/>
                    <a:pt x="1346200" y="317785"/>
                    <a:pt x="1346200" y="317785"/>
                  </a:cubicBezTo>
                  <a:cubicBezTo>
                    <a:pt x="1346200" y="317785"/>
                    <a:pt x="1346200" y="317785"/>
                    <a:pt x="1346200" y="293939"/>
                  </a:cubicBezTo>
                  <a:cubicBezTo>
                    <a:pt x="1346200" y="293939"/>
                    <a:pt x="1376380" y="238300"/>
                    <a:pt x="1381410" y="215900"/>
                  </a:cubicBezTo>
                  <a:close/>
                  <a:moveTo>
                    <a:pt x="1167890" y="215900"/>
                  </a:moveTo>
                  <a:cubicBezTo>
                    <a:pt x="1172851" y="236855"/>
                    <a:pt x="1203325" y="293939"/>
                    <a:pt x="1203325" y="293939"/>
                  </a:cubicBezTo>
                  <a:cubicBezTo>
                    <a:pt x="1203325" y="293939"/>
                    <a:pt x="1203325" y="293939"/>
                    <a:pt x="1203325" y="317785"/>
                  </a:cubicBezTo>
                  <a:cubicBezTo>
                    <a:pt x="1203325" y="317785"/>
                    <a:pt x="1201908" y="318507"/>
                    <a:pt x="1200490" y="319230"/>
                  </a:cubicBezTo>
                  <a:cubicBezTo>
                    <a:pt x="1196238" y="319230"/>
                    <a:pt x="1185607" y="319230"/>
                    <a:pt x="1173559" y="320675"/>
                  </a:cubicBezTo>
                  <a:cubicBezTo>
                    <a:pt x="1170016" y="319953"/>
                    <a:pt x="1167181" y="319230"/>
                    <a:pt x="1163637" y="317785"/>
                  </a:cubicBezTo>
                  <a:cubicBezTo>
                    <a:pt x="1167181" y="306946"/>
                    <a:pt x="1171433" y="293939"/>
                    <a:pt x="1171433" y="278765"/>
                  </a:cubicBezTo>
                  <a:cubicBezTo>
                    <a:pt x="1171433" y="262868"/>
                    <a:pt x="1169307" y="247694"/>
                    <a:pt x="1165055" y="233242"/>
                  </a:cubicBezTo>
                  <a:cubicBezTo>
                    <a:pt x="1165763" y="223126"/>
                    <a:pt x="1165763" y="215900"/>
                    <a:pt x="1167890" y="215900"/>
                  </a:cubicBezTo>
                  <a:close/>
                  <a:moveTo>
                    <a:pt x="1275200" y="0"/>
                  </a:moveTo>
                  <a:cubicBezTo>
                    <a:pt x="1344383" y="0"/>
                    <a:pt x="1397875" y="55508"/>
                    <a:pt x="1397875" y="124537"/>
                  </a:cubicBezTo>
                  <a:cubicBezTo>
                    <a:pt x="1397875" y="138770"/>
                    <a:pt x="1398588" y="153003"/>
                    <a:pt x="1393596" y="166524"/>
                  </a:cubicBezTo>
                  <a:cubicBezTo>
                    <a:pt x="1393596" y="166524"/>
                    <a:pt x="1393596" y="165812"/>
                    <a:pt x="1393596" y="165812"/>
                  </a:cubicBezTo>
                  <a:cubicBezTo>
                    <a:pt x="1392882" y="166524"/>
                    <a:pt x="1391456" y="172217"/>
                    <a:pt x="1380044" y="185026"/>
                  </a:cubicBezTo>
                  <a:cubicBezTo>
                    <a:pt x="1380044" y="185026"/>
                    <a:pt x="1379331" y="185738"/>
                    <a:pt x="1378618" y="185738"/>
                  </a:cubicBezTo>
                  <a:cubicBezTo>
                    <a:pt x="1378618" y="185738"/>
                    <a:pt x="1378618" y="185738"/>
                    <a:pt x="1370772" y="185738"/>
                  </a:cubicBezTo>
                  <a:cubicBezTo>
                    <a:pt x="1370772" y="185738"/>
                    <a:pt x="1370772" y="185738"/>
                    <a:pt x="1370059" y="185026"/>
                  </a:cubicBezTo>
                  <a:cubicBezTo>
                    <a:pt x="1370059" y="185026"/>
                    <a:pt x="1370059" y="185026"/>
                    <a:pt x="1208870" y="100341"/>
                  </a:cubicBezTo>
                  <a:cubicBezTo>
                    <a:pt x="1208157" y="99630"/>
                    <a:pt x="1208157" y="99630"/>
                    <a:pt x="1207444" y="99630"/>
                  </a:cubicBezTo>
                  <a:cubicBezTo>
                    <a:pt x="1171782" y="111728"/>
                    <a:pt x="1171782" y="185738"/>
                    <a:pt x="1159658" y="175064"/>
                  </a:cubicBezTo>
                  <a:cubicBezTo>
                    <a:pt x="1154665" y="161542"/>
                    <a:pt x="1152525" y="139482"/>
                    <a:pt x="1152525" y="124537"/>
                  </a:cubicBezTo>
                  <a:cubicBezTo>
                    <a:pt x="1152525" y="55508"/>
                    <a:pt x="1206017" y="0"/>
                    <a:pt x="1275200" y="0"/>
                  </a:cubicBezTo>
                  <a:close/>
                  <a:moveTo>
                    <a:pt x="763587" y="0"/>
                  </a:moveTo>
                  <a:cubicBezTo>
                    <a:pt x="832122" y="0"/>
                    <a:pt x="884237" y="55458"/>
                    <a:pt x="884237" y="123004"/>
                  </a:cubicBezTo>
                  <a:cubicBezTo>
                    <a:pt x="884237" y="137935"/>
                    <a:pt x="884237" y="152155"/>
                    <a:pt x="879953" y="164953"/>
                  </a:cubicBezTo>
                  <a:cubicBezTo>
                    <a:pt x="879239" y="164953"/>
                    <a:pt x="877098" y="171352"/>
                    <a:pt x="866389" y="184150"/>
                  </a:cubicBezTo>
                  <a:cubicBezTo>
                    <a:pt x="866389" y="184150"/>
                    <a:pt x="866389" y="184150"/>
                    <a:pt x="857108" y="184150"/>
                  </a:cubicBezTo>
                  <a:cubicBezTo>
                    <a:pt x="857108" y="184150"/>
                    <a:pt x="857108" y="179173"/>
                    <a:pt x="856394" y="93142"/>
                  </a:cubicBezTo>
                  <a:cubicBezTo>
                    <a:pt x="842116" y="162109"/>
                    <a:pt x="697194" y="98830"/>
                    <a:pt x="697194" y="98830"/>
                  </a:cubicBezTo>
                  <a:cubicBezTo>
                    <a:pt x="661498" y="110206"/>
                    <a:pt x="667923" y="182017"/>
                    <a:pt x="667923" y="182017"/>
                  </a:cubicBezTo>
                  <a:cubicBezTo>
                    <a:pt x="667923" y="182017"/>
                    <a:pt x="667923" y="182017"/>
                    <a:pt x="660070" y="181306"/>
                  </a:cubicBezTo>
                  <a:cubicBezTo>
                    <a:pt x="660070" y="181306"/>
                    <a:pt x="660070" y="177040"/>
                    <a:pt x="647934" y="166375"/>
                  </a:cubicBezTo>
                  <a:cubicBezTo>
                    <a:pt x="642937" y="152866"/>
                    <a:pt x="642937" y="138646"/>
                    <a:pt x="642937" y="123004"/>
                  </a:cubicBezTo>
                  <a:cubicBezTo>
                    <a:pt x="642937" y="55458"/>
                    <a:pt x="695052" y="0"/>
                    <a:pt x="763587" y="0"/>
                  </a:cubicBezTo>
                  <a:close/>
                  <a:moveTo>
                    <a:pt x="252412" y="0"/>
                  </a:moveTo>
                  <a:cubicBezTo>
                    <a:pt x="320233" y="0"/>
                    <a:pt x="373062" y="55458"/>
                    <a:pt x="373062" y="123004"/>
                  </a:cubicBezTo>
                  <a:cubicBezTo>
                    <a:pt x="373062" y="137935"/>
                    <a:pt x="373062" y="152155"/>
                    <a:pt x="368778" y="164953"/>
                  </a:cubicBezTo>
                  <a:cubicBezTo>
                    <a:pt x="368064" y="164953"/>
                    <a:pt x="368064" y="164953"/>
                    <a:pt x="368064" y="164953"/>
                  </a:cubicBezTo>
                  <a:cubicBezTo>
                    <a:pt x="368064" y="164953"/>
                    <a:pt x="365923" y="171352"/>
                    <a:pt x="354500" y="184150"/>
                  </a:cubicBezTo>
                  <a:cubicBezTo>
                    <a:pt x="354500" y="184150"/>
                    <a:pt x="354500" y="184150"/>
                    <a:pt x="345933" y="184150"/>
                  </a:cubicBezTo>
                  <a:cubicBezTo>
                    <a:pt x="345933" y="184150"/>
                    <a:pt x="345933" y="179173"/>
                    <a:pt x="344506" y="93142"/>
                  </a:cubicBezTo>
                  <a:cubicBezTo>
                    <a:pt x="330941" y="162109"/>
                    <a:pt x="186019" y="98830"/>
                    <a:pt x="186019" y="98830"/>
                  </a:cubicBezTo>
                  <a:cubicBezTo>
                    <a:pt x="150323" y="110206"/>
                    <a:pt x="156748" y="182017"/>
                    <a:pt x="156748" y="182017"/>
                  </a:cubicBezTo>
                  <a:cubicBezTo>
                    <a:pt x="156748" y="182017"/>
                    <a:pt x="156748" y="182017"/>
                    <a:pt x="148182" y="181306"/>
                  </a:cubicBezTo>
                  <a:cubicBezTo>
                    <a:pt x="148182" y="181306"/>
                    <a:pt x="148182" y="177040"/>
                    <a:pt x="136759" y="166375"/>
                  </a:cubicBezTo>
                  <a:cubicBezTo>
                    <a:pt x="131762" y="152866"/>
                    <a:pt x="131762" y="138646"/>
                    <a:pt x="131762" y="123004"/>
                  </a:cubicBezTo>
                  <a:cubicBezTo>
                    <a:pt x="131762" y="55458"/>
                    <a:pt x="183877" y="0"/>
                    <a:pt x="252412" y="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29" name="Freeform 11">
              <a:extLst>
                <a:ext uri="{FF2B5EF4-FFF2-40B4-BE49-F238E27FC236}">
                  <a16:creationId xmlns:a16="http://schemas.microsoft.com/office/drawing/2014/main" id="{5DC3289B-5AF8-402B-B8B4-0588500A4A05}"/>
                </a:ext>
              </a:extLst>
            </p:cNvPr>
            <p:cNvSpPr>
              <a:spLocks/>
            </p:cNvSpPr>
            <p:nvPr/>
          </p:nvSpPr>
          <p:spPr bwMode="auto">
            <a:xfrm>
              <a:off x="5620327" y="3249613"/>
              <a:ext cx="951344" cy="458787"/>
            </a:xfrm>
            <a:custGeom>
              <a:avLst/>
              <a:gdLst>
                <a:gd name="connsiteX0" fmla="*/ 660078 w 951344"/>
                <a:gd name="connsiteY0" fmla="*/ 296862 h 458787"/>
                <a:gd name="connsiteX1" fmla="*/ 691398 w 951344"/>
                <a:gd name="connsiteY1" fmla="*/ 313982 h 458787"/>
                <a:gd name="connsiteX2" fmla="*/ 709193 w 951344"/>
                <a:gd name="connsiteY2" fmla="*/ 318262 h 458787"/>
                <a:gd name="connsiteX3" fmla="*/ 731260 w 951344"/>
                <a:gd name="connsiteY3" fmla="*/ 319689 h 458787"/>
                <a:gd name="connsiteX4" fmla="*/ 753326 w 951344"/>
                <a:gd name="connsiteY4" fmla="*/ 318262 h 458787"/>
                <a:gd name="connsiteX5" fmla="*/ 771121 w 951344"/>
                <a:gd name="connsiteY5" fmla="*/ 313982 h 458787"/>
                <a:gd name="connsiteX6" fmla="*/ 803153 w 951344"/>
                <a:gd name="connsiteY6" fmla="*/ 296862 h 458787"/>
                <a:gd name="connsiteX7" fmla="*/ 897824 w 951344"/>
                <a:gd name="connsiteY7" fmla="*/ 313269 h 458787"/>
                <a:gd name="connsiteX8" fmla="*/ 907790 w 951344"/>
                <a:gd name="connsiteY8" fmla="*/ 322542 h 458787"/>
                <a:gd name="connsiteX9" fmla="*/ 916332 w 951344"/>
                <a:gd name="connsiteY9" fmla="*/ 337522 h 458787"/>
                <a:gd name="connsiteX10" fmla="*/ 923450 w 951344"/>
                <a:gd name="connsiteY10" fmla="*/ 353928 h 458787"/>
                <a:gd name="connsiteX11" fmla="*/ 923450 w 951344"/>
                <a:gd name="connsiteY11" fmla="*/ 355355 h 458787"/>
                <a:gd name="connsiteX12" fmla="*/ 934127 w 951344"/>
                <a:gd name="connsiteY12" fmla="*/ 386741 h 458787"/>
                <a:gd name="connsiteX13" fmla="*/ 951210 w 951344"/>
                <a:gd name="connsiteY13" fmla="*/ 451654 h 458787"/>
                <a:gd name="connsiteX14" fmla="*/ 945516 w 951344"/>
                <a:gd name="connsiteY14" fmla="*/ 458787 h 458787"/>
                <a:gd name="connsiteX15" fmla="*/ 517004 w 951344"/>
                <a:gd name="connsiteY15" fmla="*/ 458787 h 458787"/>
                <a:gd name="connsiteX16" fmla="*/ 512021 w 951344"/>
                <a:gd name="connsiteY16" fmla="*/ 451654 h 458787"/>
                <a:gd name="connsiteX17" fmla="*/ 529104 w 951344"/>
                <a:gd name="connsiteY17" fmla="*/ 386741 h 458787"/>
                <a:gd name="connsiteX18" fmla="*/ 539070 w 951344"/>
                <a:gd name="connsiteY18" fmla="*/ 355355 h 458787"/>
                <a:gd name="connsiteX19" fmla="*/ 539782 w 951344"/>
                <a:gd name="connsiteY19" fmla="*/ 353928 h 458787"/>
                <a:gd name="connsiteX20" fmla="*/ 546188 w 951344"/>
                <a:gd name="connsiteY20" fmla="*/ 337522 h 458787"/>
                <a:gd name="connsiteX21" fmla="*/ 554730 w 951344"/>
                <a:gd name="connsiteY21" fmla="*/ 322542 h 458787"/>
                <a:gd name="connsiteX22" fmla="*/ 565407 w 951344"/>
                <a:gd name="connsiteY22" fmla="*/ 313269 h 458787"/>
                <a:gd name="connsiteX23" fmla="*/ 660078 w 951344"/>
                <a:gd name="connsiteY23" fmla="*/ 296862 h 458787"/>
                <a:gd name="connsiteX24" fmla="*/ 148191 w 951344"/>
                <a:gd name="connsiteY24" fmla="*/ 296862 h 458787"/>
                <a:gd name="connsiteX25" fmla="*/ 178799 w 951344"/>
                <a:gd name="connsiteY25" fmla="*/ 313269 h 458787"/>
                <a:gd name="connsiteX26" fmla="*/ 198018 w 951344"/>
                <a:gd name="connsiteY26" fmla="*/ 318262 h 458787"/>
                <a:gd name="connsiteX27" fmla="*/ 220084 w 951344"/>
                <a:gd name="connsiteY27" fmla="*/ 319689 h 458787"/>
                <a:gd name="connsiteX28" fmla="*/ 242151 w 951344"/>
                <a:gd name="connsiteY28" fmla="*/ 318262 h 458787"/>
                <a:gd name="connsiteX29" fmla="*/ 259946 w 951344"/>
                <a:gd name="connsiteY29" fmla="*/ 313982 h 458787"/>
                <a:gd name="connsiteX30" fmla="*/ 291266 w 951344"/>
                <a:gd name="connsiteY30" fmla="*/ 296862 h 458787"/>
                <a:gd name="connsiteX31" fmla="*/ 385937 w 951344"/>
                <a:gd name="connsiteY31" fmla="*/ 313269 h 458787"/>
                <a:gd name="connsiteX32" fmla="*/ 396614 w 951344"/>
                <a:gd name="connsiteY32" fmla="*/ 322542 h 458787"/>
                <a:gd name="connsiteX33" fmla="*/ 405156 w 951344"/>
                <a:gd name="connsiteY33" fmla="*/ 337522 h 458787"/>
                <a:gd name="connsiteX34" fmla="*/ 411562 w 951344"/>
                <a:gd name="connsiteY34" fmla="*/ 353928 h 458787"/>
                <a:gd name="connsiteX35" fmla="*/ 412274 w 951344"/>
                <a:gd name="connsiteY35" fmla="*/ 355355 h 458787"/>
                <a:gd name="connsiteX36" fmla="*/ 422240 w 951344"/>
                <a:gd name="connsiteY36" fmla="*/ 386741 h 458787"/>
                <a:gd name="connsiteX37" fmla="*/ 439323 w 951344"/>
                <a:gd name="connsiteY37" fmla="*/ 451654 h 458787"/>
                <a:gd name="connsiteX38" fmla="*/ 434340 w 951344"/>
                <a:gd name="connsiteY38" fmla="*/ 458787 h 458787"/>
                <a:gd name="connsiteX39" fmla="*/ 5828 w 951344"/>
                <a:gd name="connsiteY39" fmla="*/ 458787 h 458787"/>
                <a:gd name="connsiteX40" fmla="*/ 134 w 951344"/>
                <a:gd name="connsiteY40" fmla="*/ 451654 h 458787"/>
                <a:gd name="connsiteX41" fmla="*/ 17217 w 951344"/>
                <a:gd name="connsiteY41" fmla="*/ 386741 h 458787"/>
                <a:gd name="connsiteX42" fmla="*/ 27894 w 951344"/>
                <a:gd name="connsiteY42" fmla="*/ 355355 h 458787"/>
                <a:gd name="connsiteX43" fmla="*/ 27894 w 951344"/>
                <a:gd name="connsiteY43" fmla="*/ 353928 h 458787"/>
                <a:gd name="connsiteX44" fmla="*/ 33589 w 951344"/>
                <a:gd name="connsiteY44" fmla="*/ 341088 h 458787"/>
                <a:gd name="connsiteX45" fmla="*/ 43554 w 951344"/>
                <a:gd name="connsiteY45" fmla="*/ 322542 h 458787"/>
                <a:gd name="connsiteX46" fmla="*/ 53520 w 951344"/>
                <a:gd name="connsiteY46" fmla="*/ 313269 h 458787"/>
                <a:gd name="connsiteX47" fmla="*/ 148191 w 951344"/>
                <a:gd name="connsiteY47" fmla="*/ 296862 h 458787"/>
                <a:gd name="connsiteX48" fmla="*/ 731260 w 951344"/>
                <a:gd name="connsiteY48" fmla="*/ 0 h 458787"/>
                <a:gd name="connsiteX49" fmla="*/ 851910 w 951344"/>
                <a:gd name="connsiteY49" fmla="*/ 123188 h 458787"/>
                <a:gd name="connsiteX50" fmla="*/ 849055 w 951344"/>
                <a:gd name="connsiteY50" fmla="*/ 142414 h 458787"/>
                <a:gd name="connsiteX51" fmla="*/ 848341 w 951344"/>
                <a:gd name="connsiteY51" fmla="*/ 143838 h 458787"/>
                <a:gd name="connsiteX52" fmla="*/ 842629 w 951344"/>
                <a:gd name="connsiteY52" fmla="*/ 161640 h 458787"/>
                <a:gd name="connsiteX53" fmla="*/ 842629 w 951344"/>
                <a:gd name="connsiteY53" fmla="*/ 162352 h 458787"/>
                <a:gd name="connsiteX54" fmla="*/ 838346 w 951344"/>
                <a:gd name="connsiteY54" fmla="*/ 171609 h 458787"/>
                <a:gd name="connsiteX55" fmla="*/ 826210 w 951344"/>
                <a:gd name="connsiteY55" fmla="*/ 192971 h 458787"/>
                <a:gd name="connsiteX56" fmla="*/ 806220 w 951344"/>
                <a:gd name="connsiteY56" fmla="*/ 216470 h 458787"/>
                <a:gd name="connsiteX57" fmla="*/ 796940 w 951344"/>
                <a:gd name="connsiteY57" fmla="*/ 238544 h 458787"/>
                <a:gd name="connsiteX58" fmla="*/ 791228 w 951344"/>
                <a:gd name="connsiteY58" fmla="*/ 244952 h 458787"/>
                <a:gd name="connsiteX59" fmla="*/ 770525 w 951344"/>
                <a:gd name="connsiteY59" fmla="*/ 258482 h 458787"/>
                <a:gd name="connsiteX60" fmla="*/ 731260 w 951344"/>
                <a:gd name="connsiteY60" fmla="*/ 269875 h 458787"/>
                <a:gd name="connsiteX61" fmla="*/ 691995 w 951344"/>
                <a:gd name="connsiteY61" fmla="*/ 257770 h 458787"/>
                <a:gd name="connsiteX62" fmla="*/ 671292 w 951344"/>
                <a:gd name="connsiteY62" fmla="*/ 244240 h 458787"/>
                <a:gd name="connsiteX63" fmla="*/ 665581 w 951344"/>
                <a:gd name="connsiteY63" fmla="*/ 238544 h 458787"/>
                <a:gd name="connsiteX64" fmla="*/ 656300 w 951344"/>
                <a:gd name="connsiteY64" fmla="*/ 216470 h 458787"/>
                <a:gd name="connsiteX65" fmla="*/ 637025 w 951344"/>
                <a:gd name="connsiteY65" fmla="*/ 192971 h 458787"/>
                <a:gd name="connsiteX66" fmla="*/ 624174 w 951344"/>
                <a:gd name="connsiteY66" fmla="*/ 171609 h 458787"/>
                <a:gd name="connsiteX67" fmla="*/ 619177 w 951344"/>
                <a:gd name="connsiteY67" fmla="*/ 159504 h 458787"/>
                <a:gd name="connsiteX68" fmla="*/ 619177 w 951344"/>
                <a:gd name="connsiteY68" fmla="*/ 158080 h 458787"/>
                <a:gd name="connsiteX69" fmla="*/ 610610 w 951344"/>
                <a:gd name="connsiteY69" fmla="*/ 123188 h 458787"/>
                <a:gd name="connsiteX70" fmla="*/ 731260 w 951344"/>
                <a:gd name="connsiteY70" fmla="*/ 0 h 458787"/>
                <a:gd name="connsiteX71" fmla="*/ 220085 w 951344"/>
                <a:gd name="connsiteY71" fmla="*/ 0 h 458787"/>
                <a:gd name="connsiteX72" fmla="*/ 340735 w 951344"/>
                <a:gd name="connsiteY72" fmla="*/ 123188 h 458787"/>
                <a:gd name="connsiteX73" fmla="*/ 331454 w 951344"/>
                <a:gd name="connsiteY73" fmla="*/ 161640 h 458787"/>
                <a:gd name="connsiteX74" fmla="*/ 331454 w 951344"/>
                <a:gd name="connsiteY74" fmla="*/ 162352 h 458787"/>
                <a:gd name="connsiteX75" fmla="*/ 327171 w 951344"/>
                <a:gd name="connsiteY75" fmla="*/ 171609 h 458787"/>
                <a:gd name="connsiteX76" fmla="*/ 315034 w 951344"/>
                <a:gd name="connsiteY76" fmla="*/ 192971 h 458787"/>
                <a:gd name="connsiteX77" fmla="*/ 295045 w 951344"/>
                <a:gd name="connsiteY77" fmla="*/ 216470 h 458787"/>
                <a:gd name="connsiteX78" fmla="*/ 285764 w 951344"/>
                <a:gd name="connsiteY78" fmla="*/ 238544 h 458787"/>
                <a:gd name="connsiteX79" fmla="*/ 279339 w 951344"/>
                <a:gd name="connsiteY79" fmla="*/ 244952 h 458787"/>
                <a:gd name="connsiteX80" fmla="*/ 259350 w 951344"/>
                <a:gd name="connsiteY80" fmla="*/ 258482 h 458787"/>
                <a:gd name="connsiteX81" fmla="*/ 220085 w 951344"/>
                <a:gd name="connsiteY81" fmla="*/ 269875 h 458787"/>
                <a:gd name="connsiteX82" fmla="*/ 180106 w 951344"/>
                <a:gd name="connsiteY82" fmla="*/ 257770 h 458787"/>
                <a:gd name="connsiteX83" fmla="*/ 159403 w 951344"/>
                <a:gd name="connsiteY83" fmla="*/ 244240 h 458787"/>
                <a:gd name="connsiteX84" fmla="*/ 154405 w 951344"/>
                <a:gd name="connsiteY84" fmla="*/ 238544 h 458787"/>
                <a:gd name="connsiteX85" fmla="*/ 145125 w 951344"/>
                <a:gd name="connsiteY85" fmla="*/ 216470 h 458787"/>
                <a:gd name="connsiteX86" fmla="*/ 125849 w 951344"/>
                <a:gd name="connsiteY86" fmla="*/ 192971 h 458787"/>
                <a:gd name="connsiteX87" fmla="*/ 112999 w 951344"/>
                <a:gd name="connsiteY87" fmla="*/ 171609 h 458787"/>
                <a:gd name="connsiteX88" fmla="*/ 108002 w 951344"/>
                <a:gd name="connsiteY88" fmla="*/ 159504 h 458787"/>
                <a:gd name="connsiteX89" fmla="*/ 107288 w 951344"/>
                <a:gd name="connsiteY89" fmla="*/ 158080 h 458787"/>
                <a:gd name="connsiteX90" fmla="*/ 99435 w 951344"/>
                <a:gd name="connsiteY90" fmla="*/ 123188 h 458787"/>
                <a:gd name="connsiteX91" fmla="*/ 220085 w 951344"/>
                <a:gd name="connsiteY91" fmla="*/ 0 h 4587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</a:cxnLst>
              <a:rect l="l" t="t" r="r" b="b"/>
              <a:pathLst>
                <a:path w="951344" h="458787">
                  <a:moveTo>
                    <a:pt x="660078" y="296862"/>
                  </a:moveTo>
                  <a:cubicBezTo>
                    <a:pt x="660078" y="296862"/>
                    <a:pt x="670756" y="306849"/>
                    <a:pt x="691398" y="313982"/>
                  </a:cubicBezTo>
                  <a:cubicBezTo>
                    <a:pt x="696381" y="315409"/>
                    <a:pt x="702787" y="316835"/>
                    <a:pt x="709193" y="318262"/>
                  </a:cubicBezTo>
                  <a:cubicBezTo>
                    <a:pt x="716312" y="318975"/>
                    <a:pt x="723430" y="319689"/>
                    <a:pt x="731260" y="319689"/>
                  </a:cubicBezTo>
                  <a:cubicBezTo>
                    <a:pt x="739090" y="319689"/>
                    <a:pt x="746920" y="318975"/>
                    <a:pt x="753326" y="318262"/>
                  </a:cubicBezTo>
                  <a:cubicBezTo>
                    <a:pt x="759732" y="316835"/>
                    <a:pt x="766139" y="315409"/>
                    <a:pt x="771121" y="313982"/>
                  </a:cubicBezTo>
                  <a:cubicBezTo>
                    <a:pt x="792476" y="306849"/>
                    <a:pt x="803153" y="296862"/>
                    <a:pt x="803153" y="296862"/>
                  </a:cubicBezTo>
                  <a:cubicBezTo>
                    <a:pt x="803153" y="296862"/>
                    <a:pt x="864369" y="297575"/>
                    <a:pt x="897824" y="313269"/>
                  </a:cubicBezTo>
                  <a:cubicBezTo>
                    <a:pt x="901383" y="314695"/>
                    <a:pt x="904231" y="318262"/>
                    <a:pt x="907790" y="322542"/>
                  </a:cubicBezTo>
                  <a:cubicBezTo>
                    <a:pt x="910637" y="326822"/>
                    <a:pt x="913484" y="331815"/>
                    <a:pt x="916332" y="337522"/>
                  </a:cubicBezTo>
                  <a:cubicBezTo>
                    <a:pt x="918467" y="342515"/>
                    <a:pt x="921314" y="348222"/>
                    <a:pt x="923450" y="353928"/>
                  </a:cubicBezTo>
                  <a:cubicBezTo>
                    <a:pt x="923450" y="354642"/>
                    <a:pt x="923450" y="355355"/>
                    <a:pt x="923450" y="355355"/>
                  </a:cubicBezTo>
                  <a:cubicBezTo>
                    <a:pt x="927721" y="365341"/>
                    <a:pt x="930568" y="376041"/>
                    <a:pt x="934127" y="386741"/>
                  </a:cubicBezTo>
                  <a:cubicBezTo>
                    <a:pt x="941957" y="415274"/>
                    <a:pt x="947651" y="443094"/>
                    <a:pt x="951210" y="451654"/>
                  </a:cubicBezTo>
                  <a:cubicBezTo>
                    <a:pt x="951922" y="455221"/>
                    <a:pt x="949787" y="458787"/>
                    <a:pt x="945516" y="458787"/>
                  </a:cubicBezTo>
                  <a:cubicBezTo>
                    <a:pt x="945516" y="458787"/>
                    <a:pt x="945516" y="458787"/>
                    <a:pt x="517004" y="458787"/>
                  </a:cubicBezTo>
                  <a:cubicBezTo>
                    <a:pt x="513445" y="458787"/>
                    <a:pt x="510597" y="455221"/>
                    <a:pt x="512021" y="451654"/>
                  </a:cubicBezTo>
                  <a:cubicBezTo>
                    <a:pt x="514868" y="443094"/>
                    <a:pt x="520563" y="415274"/>
                    <a:pt x="529104" y="386741"/>
                  </a:cubicBezTo>
                  <a:cubicBezTo>
                    <a:pt x="531952" y="376041"/>
                    <a:pt x="535511" y="365341"/>
                    <a:pt x="539070" y="355355"/>
                  </a:cubicBezTo>
                  <a:cubicBezTo>
                    <a:pt x="539070" y="355355"/>
                    <a:pt x="539070" y="354642"/>
                    <a:pt x="539782" y="353928"/>
                  </a:cubicBezTo>
                  <a:cubicBezTo>
                    <a:pt x="541917" y="348222"/>
                    <a:pt x="544053" y="342515"/>
                    <a:pt x="546188" y="337522"/>
                  </a:cubicBezTo>
                  <a:cubicBezTo>
                    <a:pt x="549035" y="331815"/>
                    <a:pt x="551882" y="326822"/>
                    <a:pt x="554730" y="322542"/>
                  </a:cubicBezTo>
                  <a:cubicBezTo>
                    <a:pt x="558289" y="318262"/>
                    <a:pt x="561848" y="314695"/>
                    <a:pt x="565407" y="313269"/>
                  </a:cubicBezTo>
                  <a:cubicBezTo>
                    <a:pt x="598150" y="297575"/>
                    <a:pt x="660078" y="296862"/>
                    <a:pt x="660078" y="296862"/>
                  </a:cubicBezTo>
                  <a:close/>
                  <a:moveTo>
                    <a:pt x="148191" y="296862"/>
                  </a:moveTo>
                  <a:cubicBezTo>
                    <a:pt x="148191" y="296862"/>
                    <a:pt x="158868" y="306849"/>
                    <a:pt x="178799" y="313269"/>
                  </a:cubicBezTo>
                  <a:cubicBezTo>
                    <a:pt x="184494" y="315409"/>
                    <a:pt x="190900" y="316835"/>
                    <a:pt x="198018" y="318262"/>
                  </a:cubicBezTo>
                  <a:cubicBezTo>
                    <a:pt x="204424" y="318975"/>
                    <a:pt x="212254" y="319689"/>
                    <a:pt x="220084" y="319689"/>
                  </a:cubicBezTo>
                  <a:cubicBezTo>
                    <a:pt x="227914" y="319689"/>
                    <a:pt x="235032" y="318975"/>
                    <a:pt x="242151" y="318262"/>
                  </a:cubicBezTo>
                  <a:cubicBezTo>
                    <a:pt x="248557" y="316835"/>
                    <a:pt x="254963" y="315409"/>
                    <a:pt x="259946" y="313982"/>
                  </a:cubicBezTo>
                  <a:cubicBezTo>
                    <a:pt x="280588" y="306849"/>
                    <a:pt x="291266" y="296862"/>
                    <a:pt x="291266" y="296862"/>
                  </a:cubicBezTo>
                  <a:cubicBezTo>
                    <a:pt x="291266" y="296862"/>
                    <a:pt x="353194" y="297575"/>
                    <a:pt x="385937" y="313269"/>
                  </a:cubicBezTo>
                  <a:cubicBezTo>
                    <a:pt x="389496" y="314695"/>
                    <a:pt x="393055" y="318262"/>
                    <a:pt x="396614" y="322542"/>
                  </a:cubicBezTo>
                  <a:cubicBezTo>
                    <a:pt x="399462" y="326822"/>
                    <a:pt x="402309" y="331815"/>
                    <a:pt x="405156" y="337522"/>
                  </a:cubicBezTo>
                  <a:cubicBezTo>
                    <a:pt x="407291" y="342515"/>
                    <a:pt x="409427" y="348222"/>
                    <a:pt x="411562" y="353928"/>
                  </a:cubicBezTo>
                  <a:cubicBezTo>
                    <a:pt x="412274" y="354642"/>
                    <a:pt x="412274" y="355355"/>
                    <a:pt x="412274" y="355355"/>
                  </a:cubicBezTo>
                  <a:cubicBezTo>
                    <a:pt x="415833" y="365341"/>
                    <a:pt x="419392" y="376041"/>
                    <a:pt x="422240" y="386741"/>
                  </a:cubicBezTo>
                  <a:cubicBezTo>
                    <a:pt x="430781" y="415274"/>
                    <a:pt x="436476" y="443094"/>
                    <a:pt x="439323" y="451654"/>
                  </a:cubicBezTo>
                  <a:cubicBezTo>
                    <a:pt x="440747" y="455221"/>
                    <a:pt x="437900" y="458787"/>
                    <a:pt x="434340" y="458787"/>
                  </a:cubicBezTo>
                  <a:cubicBezTo>
                    <a:pt x="434340" y="458787"/>
                    <a:pt x="434340" y="458787"/>
                    <a:pt x="5828" y="458787"/>
                  </a:cubicBezTo>
                  <a:cubicBezTo>
                    <a:pt x="1557" y="458787"/>
                    <a:pt x="-578" y="455221"/>
                    <a:pt x="134" y="451654"/>
                  </a:cubicBezTo>
                  <a:cubicBezTo>
                    <a:pt x="3693" y="443094"/>
                    <a:pt x="9387" y="415274"/>
                    <a:pt x="17217" y="386741"/>
                  </a:cubicBezTo>
                  <a:cubicBezTo>
                    <a:pt x="20776" y="376041"/>
                    <a:pt x="23623" y="365341"/>
                    <a:pt x="27894" y="355355"/>
                  </a:cubicBezTo>
                  <a:cubicBezTo>
                    <a:pt x="27894" y="355355"/>
                    <a:pt x="27894" y="354642"/>
                    <a:pt x="27894" y="353928"/>
                  </a:cubicBezTo>
                  <a:cubicBezTo>
                    <a:pt x="30030" y="349648"/>
                    <a:pt x="31453" y="345368"/>
                    <a:pt x="33589" y="341088"/>
                  </a:cubicBezTo>
                  <a:cubicBezTo>
                    <a:pt x="36436" y="333955"/>
                    <a:pt x="39995" y="327535"/>
                    <a:pt x="43554" y="322542"/>
                  </a:cubicBezTo>
                  <a:cubicBezTo>
                    <a:pt x="47113" y="318262"/>
                    <a:pt x="49961" y="314695"/>
                    <a:pt x="53520" y="313269"/>
                  </a:cubicBezTo>
                  <a:cubicBezTo>
                    <a:pt x="86975" y="297575"/>
                    <a:pt x="148191" y="296862"/>
                    <a:pt x="148191" y="296862"/>
                  </a:cubicBezTo>
                  <a:close/>
                  <a:moveTo>
                    <a:pt x="731260" y="0"/>
                  </a:moveTo>
                  <a:cubicBezTo>
                    <a:pt x="799795" y="0"/>
                    <a:pt x="851910" y="55541"/>
                    <a:pt x="851910" y="123188"/>
                  </a:cubicBezTo>
                  <a:cubicBezTo>
                    <a:pt x="851910" y="129597"/>
                    <a:pt x="850482" y="136005"/>
                    <a:pt x="849055" y="142414"/>
                  </a:cubicBezTo>
                  <a:cubicBezTo>
                    <a:pt x="849055" y="143126"/>
                    <a:pt x="848341" y="143126"/>
                    <a:pt x="848341" y="143838"/>
                  </a:cubicBezTo>
                  <a:cubicBezTo>
                    <a:pt x="846913" y="150247"/>
                    <a:pt x="844771" y="155943"/>
                    <a:pt x="842629" y="161640"/>
                  </a:cubicBezTo>
                  <a:cubicBezTo>
                    <a:pt x="842629" y="161640"/>
                    <a:pt x="842629" y="161640"/>
                    <a:pt x="842629" y="162352"/>
                  </a:cubicBezTo>
                  <a:cubicBezTo>
                    <a:pt x="842629" y="163776"/>
                    <a:pt x="841202" y="167337"/>
                    <a:pt x="838346" y="171609"/>
                  </a:cubicBezTo>
                  <a:cubicBezTo>
                    <a:pt x="835490" y="178018"/>
                    <a:pt x="831207" y="185850"/>
                    <a:pt x="826210" y="192971"/>
                  </a:cubicBezTo>
                  <a:cubicBezTo>
                    <a:pt x="819785" y="202940"/>
                    <a:pt x="811932" y="212197"/>
                    <a:pt x="806220" y="216470"/>
                  </a:cubicBezTo>
                  <a:cubicBezTo>
                    <a:pt x="799081" y="234983"/>
                    <a:pt x="803365" y="227863"/>
                    <a:pt x="796940" y="238544"/>
                  </a:cubicBezTo>
                  <a:cubicBezTo>
                    <a:pt x="795512" y="240680"/>
                    <a:pt x="793370" y="242816"/>
                    <a:pt x="791228" y="244952"/>
                  </a:cubicBezTo>
                  <a:cubicBezTo>
                    <a:pt x="786231" y="249225"/>
                    <a:pt x="779092" y="254209"/>
                    <a:pt x="770525" y="258482"/>
                  </a:cubicBezTo>
                  <a:cubicBezTo>
                    <a:pt x="757675" y="264890"/>
                    <a:pt x="742683" y="269875"/>
                    <a:pt x="731260" y="269875"/>
                  </a:cubicBezTo>
                  <a:cubicBezTo>
                    <a:pt x="719838" y="269875"/>
                    <a:pt x="704846" y="264178"/>
                    <a:pt x="691995" y="257770"/>
                  </a:cubicBezTo>
                  <a:cubicBezTo>
                    <a:pt x="683429" y="253497"/>
                    <a:pt x="676290" y="248513"/>
                    <a:pt x="671292" y="244240"/>
                  </a:cubicBezTo>
                  <a:cubicBezTo>
                    <a:pt x="669150" y="242104"/>
                    <a:pt x="667009" y="239968"/>
                    <a:pt x="665581" y="238544"/>
                  </a:cubicBezTo>
                  <a:cubicBezTo>
                    <a:pt x="659870" y="229999"/>
                    <a:pt x="663439" y="234983"/>
                    <a:pt x="656300" y="216470"/>
                  </a:cubicBezTo>
                  <a:cubicBezTo>
                    <a:pt x="652017" y="213621"/>
                    <a:pt x="644164" y="203652"/>
                    <a:pt x="637025" y="192971"/>
                  </a:cubicBezTo>
                  <a:cubicBezTo>
                    <a:pt x="632027" y="185850"/>
                    <a:pt x="627744" y="178730"/>
                    <a:pt x="624174" y="171609"/>
                  </a:cubicBezTo>
                  <a:cubicBezTo>
                    <a:pt x="621319" y="166625"/>
                    <a:pt x="619177" y="162352"/>
                    <a:pt x="619177" y="159504"/>
                  </a:cubicBezTo>
                  <a:cubicBezTo>
                    <a:pt x="619177" y="158792"/>
                    <a:pt x="619177" y="158792"/>
                    <a:pt x="619177" y="158080"/>
                  </a:cubicBezTo>
                  <a:cubicBezTo>
                    <a:pt x="616321" y="147399"/>
                    <a:pt x="610610" y="135293"/>
                    <a:pt x="610610" y="123188"/>
                  </a:cubicBezTo>
                  <a:cubicBezTo>
                    <a:pt x="610610" y="55541"/>
                    <a:pt x="663439" y="0"/>
                    <a:pt x="731260" y="0"/>
                  </a:cubicBezTo>
                  <a:close/>
                  <a:moveTo>
                    <a:pt x="220085" y="0"/>
                  </a:moveTo>
                  <a:cubicBezTo>
                    <a:pt x="287906" y="0"/>
                    <a:pt x="340735" y="55541"/>
                    <a:pt x="340735" y="123188"/>
                  </a:cubicBezTo>
                  <a:cubicBezTo>
                    <a:pt x="340735" y="136718"/>
                    <a:pt x="335024" y="149535"/>
                    <a:pt x="331454" y="161640"/>
                  </a:cubicBezTo>
                  <a:cubicBezTo>
                    <a:pt x="331454" y="161640"/>
                    <a:pt x="331454" y="161640"/>
                    <a:pt x="331454" y="162352"/>
                  </a:cubicBezTo>
                  <a:cubicBezTo>
                    <a:pt x="331454" y="163776"/>
                    <a:pt x="330026" y="167337"/>
                    <a:pt x="327171" y="171609"/>
                  </a:cubicBezTo>
                  <a:cubicBezTo>
                    <a:pt x="324315" y="178018"/>
                    <a:pt x="320032" y="185850"/>
                    <a:pt x="315034" y="192971"/>
                  </a:cubicBezTo>
                  <a:cubicBezTo>
                    <a:pt x="307895" y="202940"/>
                    <a:pt x="300756" y="212197"/>
                    <a:pt x="295045" y="216470"/>
                  </a:cubicBezTo>
                  <a:cubicBezTo>
                    <a:pt x="287192" y="234983"/>
                    <a:pt x="291475" y="227863"/>
                    <a:pt x="285764" y="238544"/>
                  </a:cubicBezTo>
                  <a:cubicBezTo>
                    <a:pt x="284336" y="240680"/>
                    <a:pt x="282195" y="242816"/>
                    <a:pt x="279339" y="244952"/>
                  </a:cubicBezTo>
                  <a:cubicBezTo>
                    <a:pt x="274342" y="249225"/>
                    <a:pt x="267203" y="254209"/>
                    <a:pt x="259350" y="258482"/>
                  </a:cubicBezTo>
                  <a:cubicBezTo>
                    <a:pt x="246499" y="264890"/>
                    <a:pt x="231507" y="269875"/>
                    <a:pt x="220085" y="269875"/>
                  </a:cubicBezTo>
                  <a:cubicBezTo>
                    <a:pt x="207948" y="269875"/>
                    <a:pt x="192956" y="264178"/>
                    <a:pt x="180106" y="257770"/>
                  </a:cubicBezTo>
                  <a:cubicBezTo>
                    <a:pt x="172253" y="253497"/>
                    <a:pt x="164400" y="248513"/>
                    <a:pt x="159403" y="244240"/>
                  </a:cubicBezTo>
                  <a:cubicBezTo>
                    <a:pt x="157261" y="242104"/>
                    <a:pt x="155833" y="239968"/>
                    <a:pt x="154405" y="238544"/>
                  </a:cubicBezTo>
                  <a:cubicBezTo>
                    <a:pt x="148694" y="229999"/>
                    <a:pt x="152264" y="234983"/>
                    <a:pt x="145125" y="216470"/>
                  </a:cubicBezTo>
                  <a:cubicBezTo>
                    <a:pt x="140841" y="213621"/>
                    <a:pt x="132988" y="203652"/>
                    <a:pt x="125849" y="192971"/>
                  </a:cubicBezTo>
                  <a:cubicBezTo>
                    <a:pt x="120852" y="185850"/>
                    <a:pt x="115855" y="178730"/>
                    <a:pt x="112999" y="171609"/>
                  </a:cubicBezTo>
                  <a:cubicBezTo>
                    <a:pt x="110143" y="166625"/>
                    <a:pt x="108002" y="162352"/>
                    <a:pt x="108002" y="159504"/>
                  </a:cubicBezTo>
                  <a:cubicBezTo>
                    <a:pt x="107288" y="158792"/>
                    <a:pt x="108002" y="158792"/>
                    <a:pt x="107288" y="158080"/>
                  </a:cubicBezTo>
                  <a:cubicBezTo>
                    <a:pt x="105146" y="147399"/>
                    <a:pt x="99435" y="135293"/>
                    <a:pt x="99435" y="123188"/>
                  </a:cubicBezTo>
                  <a:cubicBezTo>
                    <a:pt x="99435" y="55541"/>
                    <a:pt x="151550" y="0"/>
                    <a:pt x="220085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>
                <a:latin typeface="+mn-lt"/>
              </a:endParaRPr>
            </a:p>
          </p:txBody>
        </p:sp>
      </p:grpSp>
      <p:sp>
        <p:nvSpPr>
          <p:cNvPr id="93" name="Oval 92">
            <a:extLst>
              <a:ext uri="{FF2B5EF4-FFF2-40B4-BE49-F238E27FC236}">
                <a16:creationId xmlns:a16="http://schemas.microsoft.com/office/drawing/2014/main" id="{BC7959C6-6B15-4409-A23B-21F1BB517CD8}"/>
              </a:ext>
            </a:extLst>
          </p:cNvPr>
          <p:cNvSpPr>
            <a:spLocks noChangeAspect="1"/>
          </p:cNvSpPr>
          <p:nvPr/>
        </p:nvSpPr>
        <p:spPr>
          <a:xfrm>
            <a:off x="345161" y="3223966"/>
            <a:ext cx="832427" cy="832104"/>
          </a:xfrm>
          <a:prstGeom prst="ellipse">
            <a:avLst/>
          </a:prstGeom>
          <a:solidFill>
            <a:srgbClr val="FFFFFF"/>
          </a:solidFill>
          <a:ln w="26670">
            <a:gradFill flip="none" rotWithShape="1">
              <a:gsLst>
                <a:gs pos="0">
                  <a:schemeClr val="accent5"/>
                </a:gs>
                <a:gs pos="100000">
                  <a:schemeClr val="bg1">
                    <a:lumMod val="75000"/>
                  </a:schemeClr>
                </a:gs>
              </a:gsLst>
              <a:lin ang="2700000" scaled="1"/>
              <a:tileRect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5000"/>
              </a:lnSpc>
            </a:pPr>
            <a:endParaRPr lang="en-US" kern="0">
              <a:solidFill>
                <a:schemeClr val="bg1">
                  <a:lumMod val="50000"/>
                </a:schemeClr>
              </a:solidFill>
            </a:endParaRPr>
          </a:p>
        </p:txBody>
      </p:sp>
      <p:grpSp>
        <p:nvGrpSpPr>
          <p:cNvPr id="38" name="Group 37">
            <a:extLst>
              <a:ext uri="{FF2B5EF4-FFF2-40B4-BE49-F238E27FC236}">
                <a16:creationId xmlns:a16="http://schemas.microsoft.com/office/drawing/2014/main" id="{5B5FF085-075E-43C6-8917-471801B6EE50}"/>
              </a:ext>
            </a:extLst>
          </p:cNvPr>
          <p:cNvGrpSpPr>
            <a:grpSpLocks noChangeAspect="1"/>
          </p:cNvGrpSpPr>
          <p:nvPr/>
        </p:nvGrpSpPr>
        <p:grpSpPr>
          <a:xfrm>
            <a:off x="422891" y="3301535"/>
            <a:ext cx="676966" cy="676966"/>
            <a:chOff x="5273675" y="2606675"/>
            <a:chExt cx="1644650" cy="1644650"/>
          </a:xfrm>
        </p:grpSpPr>
        <p:sp>
          <p:nvSpPr>
            <p:cNvPr id="39" name="AutoShape 3">
              <a:extLst>
                <a:ext uri="{FF2B5EF4-FFF2-40B4-BE49-F238E27FC236}">
                  <a16:creationId xmlns:a16="http://schemas.microsoft.com/office/drawing/2014/main" id="{B36E22B2-2703-48AA-8881-2011868B6F29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5273675" y="2606675"/>
              <a:ext cx="1644650" cy="16446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</a:endParaRPr>
            </a:p>
          </p:txBody>
        </p:sp>
        <p:grpSp>
          <p:nvGrpSpPr>
            <p:cNvPr id="40" name="Group 39">
              <a:extLst>
                <a:ext uri="{FF2B5EF4-FFF2-40B4-BE49-F238E27FC236}">
                  <a16:creationId xmlns:a16="http://schemas.microsoft.com/office/drawing/2014/main" id="{8F020055-E5D0-411A-878D-24755487F93D}"/>
                </a:ext>
              </a:extLst>
            </p:cNvPr>
            <p:cNvGrpSpPr/>
            <p:nvPr/>
          </p:nvGrpSpPr>
          <p:grpSpPr>
            <a:xfrm>
              <a:off x="5426075" y="2957513"/>
              <a:ext cx="1338263" cy="939800"/>
              <a:chOff x="5426075" y="2957513"/>
              <a:chExt cx="1338263" cy="939800"/>
            </a:xfrm>
          </p:grpSpPr>
          <p:sp>
            <p:nvSpPr>
              <p:cNvPr id="41" name="Freeform 5">
                <a:extLst>
                  <a:ext uri="{FF2B5EF4-FFF2-40B4-BE49-F238E27FC236}">
                    <a16:creationId xmlns:a16="http://schemas.microsoft.com/office/drawing/2014/main" id="{5B65913F-8A89-470C-982C-4EF60076076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426075" y="2957513"/>
                <a:ext cx="1338263" cy="939800"/>
              </a:xfrm>
              <a:custGeom>
                <a:avLst/>
                <a:gdLst>
                  <a:gd name="T0" fmla="*/ 1852 w 1874"/>
                  <a:gd name="T1" fmla="*/ 0 h 1316"/>
                  <a:gd name="T2" fmla="*/ 937 w 1874"/>
                  <a:gd name="T3" fmla="*/ 0 h 1316"/>
                  <a:gd name="T4" fmla="*/ 22 w 1874"/>
                  <a:gd name="T5" fmla="*/ 0 h 1316"/>
                  <a:gd name="T6" fmla="*/ 0 w 1874"/>
                  <a:gd name="T7" fmla="*/ 22 h 1316"/>
                  <a:gd name="T8" fmla="*/ 0 w 1874"/>
                  <a:gd name="T9" fmla="*/ 1294 h 1316"/>
                  <a:gd name="T10" fmla="*/ 22 w 1874"/>
                  <a:gd name="T11" fmla="*/ 1316 h 1316"/>
                  <a:gd name="T12" fmla="*/ 937 w 1874"/>
                  <a:gd name="T13" fmla="*/ 1316 h 1316"/>
                  <a:gd name="T14" fmla="*/ 1852 w 1874"/>
                  <a:gd name="T15" fmla="*/ 1316 h 1316"/>
                  <a:gd name="T16" fmla="*/ 1874 w 1874"/>
                  <a:gd name="T17" fmla="*/ 1294 h 1316"/>
                  <a:gd name="T18" fmla="*/ 1874 w 1874"/>
                  <a:gd name="T19" fmla="*/ 22 h 1316"/>
                  <a:gd name="T20" fmla="*/ 1852 w 1874"/>
                  <a:gd name="T21" fmla="*/ 0 h 1316"/>
                  <a:gd name="T22" fmla="*/ 44 w 1874"/>
                  <a:gd name="T23" fmla="*/ 44 h 1316"/>
                  <a:gd name="T24" fmla="*/ 915 w 1874"/>
                  <a:gd name="T25" fmla="*/ 44 h 1316"/>
                  <a:gd name="T26" fmla="*/ 915 w 1874"/>
                  <a:gd name="T27" fmla="*/ 1272 h 1316"/>
                  <a:gd name="T28" fmla="*/ 44 w 1874"/>
                  <a:gd name="T29" fmla="*/ 1272 h 1316"/>
                  <a:gd name="T30" fmla="*/ 44 w 1874"/>
                  <a:gd name="T31" fmla="*/ 44 h 1316"/>
                  <a:gd name="T32" fmla="*/ 44 w 1874"/>
                  <a:gd name="T33" fmla="*/ 44 h 1316"/>
                  <a:gd name="T34" fmla="*/ 1830 w 1874"/>
                  <a:gd name="T35" fmla="*/ 1272 h 1316"/>
                  <a:gd name="T36" fmla="*/ 959 w 1874"/>
                  <a:gd name="T37" fmla="*/ 1272 h 1316"/>
                  <a:gd name="T38" fmla="*/ 959 w 1874"/>
                  <a:gd name="T39" fmla="*/ 44 h 1316"/>
                  <a:gd name="T40" fmla="*/ 1830 w 1874"/>
                  <a:gd name="T41" fmla="*/ 44 h 1316"/>
                  <a:gd name="T42" fmla="*/ 1830 w 1874"/>
                  <a:gd name="T43" fmla="*/ 1272 h 1316"/>
                  <a:gd name="T44" fmla="*/ 1830 w 1874"/>
                  <a:gd name="T45" fmla="*/ 1272 h 13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1874" h="1316">
                    <a:moveTo>
                      <a:pt x="1852" y="0"/>
                    </a:moveTo>
                    <a:cubicBezTo>
                      <a:pt x="937" y="0"/>
                      <a:pt x="937" y="0"/>
                      <a:pt x="937" y="0"/>
                    </a:cubicBezTo>
                    <a:cubicBezTo>
                      <a:pt x="22" y="0"/>
                      <a:pt x="22" y="0"/>
                      <a:pt x="22" y="0"/>
                    </a:cubicBezTo>
                    <a:cubicBezTo>
                      <a:pt x="9" y="0"/>
                      <a:pt x="0" y="10"/>
                      <a:pt x="0" y="22"/>
                    </a:cubicBezTo>
                    <a:cubicBezTo>
                      <a:pt x="0" y="1294"/>
                      <a:pt x="0" y="1294"/>
                      <a:pt x="0" y="1294"/>
                    </a:cubicBezTo>
                    <a:cubicBezTo>
                      <a:pt x="0" y="1306"/>
                      <a:pt x="9" y="1316"/>
                      <a:pt x="22" y="1316"/>
                    </a:cubicBezTo>
                    <a:cubicBezTo>
                      <a:pt x="937" y="1316"/>
                      <a:pt x="937" y="1316"/>
                      <a:pt x="937" y="1316"/>
                    </a:cubicBezTo>
                    <a:cubicBezTo>
                      <a:pt x="1852" y="1316"/>
                      <a:pt x="1852" y="1316"/>
                      <a:pt x="1852" y="1316"/>
                    </a:cubicBezTo>
                    <a:cubicBezTo>
                      <a:pt x="1865" y="1316"/>
                      <a:pt x="1874" y="1306"/>
                      <a:pt x="1874" y="1294"/>
                    </a:cubicBezTo>
                    <a:cubicBezTo>
                      <a:pt x="1874" y="22"/>
                      <a:pt x="1874" y="22"/>
                      <a:pt x="1874" y="22"/>
                    </a:cubicBezTo>
                    <a:cubicBezTo>
                      <a:pt x="1874" y="10"/>
                      <a:pt x="1865" y="0"/>
                      <a:pt x="1852" y="0"/>
                    </a:cubicBezTo>
                    <a:close/>
                    <a:moveTo>
                      <a:pt x="44" y="44"/>
                    </a:moveTo>
                    <a:cubicBezTo>
                      <a:pt x="915" y="44"/>
                      <a:pt x="915" y="44"/>
                      <a:pt x="915" y="44"/>
                    </a:cubicBezTo>
                    <a:cubicBezTo>
                      <a:pt x="915" y="1272"/>
                      <a:pt x="915" y="1272"/>
                      <a:pt x="915" y="1272"/>
                    </a:cubicBezTo>
                    <a:cubicBezTo>
                      <a:pt x="44" y="1272"/>
                      <a:pt x="44" y="1272"/>
                      <a:pt x="44" y="1272"/>
                    </a:cubicBezTo>
                    <a:cubicBezTo>
                      <a:pt x="44" y="44"/>
                      <a:pt x="44" y="44"/>
                      <a:pt x="44" y="44"/>
                    </a:cubicBezTo>
                    <a:cubicBezTo>
                      <a:pt x="44" y="44"/>
                      <a:pt x="44" y="44"/>
                      <a:pt x="44" y="44"/>
                    </a:cubicBezTo>
                    <a:close/>
                    <a:moveTo>
                      <a:pt x="1830" y="1272"/>
                    </a:moveTo>
                    <a:cubicBezTo>
                      <a:pt x="959" y="1272"/>
                      <a:pt x="959" y="1272"/>
                      <a:pt x="959" y="1272"/>
                    </a:cubicBezTo>
                    <a:cubicBezTo>
                      <a:pt x="959" y="44"/>
                      <a:pt x="959" y="44"/>
                      <a:pt x="959" y="44"/>
                    </a:cubicBezTo>
                    <a:cubicBezTo>
                      <a:pt x="1830" y="44"/>
                      <a:pt x="1830" y="44"/>
                      <a:pt x="1830" y="44"/>
                    </a:cubicBezTo>
                    <a:cubicBezTo>
                      <a:pt x="1830" y="1272"/>
                      <a:pt x="1830" y="1272"/>
                      <a:pt x="1830" y="1272"/>
                    </a:cubicBezTo>
                    <a:cubicBezTo>
                      <a:pt x="1830" y="1272"/>
                      <a:pt x="1830" y="1272"/>
                      <a:pt x="1830" y="1272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42" name="Freeform 11">
                <a:extLst>
                  <a:ext uri="{FF2B5EF4-FFF2-40B4-BE49-F238E27FC236}">
                    <a16:creationId xmlns:a16="http://schemas.microsoft.com/office/drawing/2014/main" id="{0B079C8E-5DB4-4ACA-8A25-BDAE7CE9EA2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91162" y="3017838"/>
                <a:ext cx="1208088" cy="819150"/>
              </a:xfrm>
              <a:custGeom>
                <a:avLst/>
                <a:gdLst>
                  <a:gd name="connsiteX0" fmla="*/ 736459 w 1208088"/>
                  <a:gd name="connsiteY0" fmla="*/ 676275 h 819150"/>
                  <a:gd name="connsiteX1" fmla="*/ 720725 w 1208088"/>
                  <a:gd name="connsiteY1" fmla="*/ 691797 h 819150"/>
                  <a:gd name="connsiteX2" fmla="*/ 736459 w 1208088"/>
                  <a:gd name="connsiteY2" fmla="*/ 708025 h 819150"/>
                  <a:gd name="connsiteX3" fmla="*/ 1124091 w 1208088"/>
                  <a:gd name="connsiteY3" fmla="*/ 708025 h 819150"/>
                  <a:gd name="connsiteX4" fmla="*/ 1139825 w 1208088"/>
                  <a:gd name="connsiteY4" fmla="*/ 691797 h 819150"/>
                  <a:gd name="connsiteX5" fmla="*/ 1124091 w 1208088"/>
                  <a:gd name="connsiteY5" fmla="*/ 676275 h 819150"/>
                  <a:gd name="connsiteX6" fmla="*/ 736459 w 1208088"/>
                  <a:gd name="connsiteY6" fmla="*/ 676275 h 819150"/>
                  <a:gd name="connsiteX7" fmla="*/ 83996 w 1208088"/>
                  <a:gd name="connsiteY7" fmla="*/ 676275 h 819150"/>
                  <a:gd name="connsiteX8" fmla="*/ 68262 w 1208088"/>
                  <a:gd name="connsiteY8" fmla="*/ 691797 h 819150"/>
                  <a:gd name="connsiteX9" fmla="*/ 83996 w 1208088"/>
                  <a:gd name="connsiteY9" fmla="*/ 708025 h 819150"/>
                  <a:gd name="connsiteX10" fmla="*/ 471628 w 1208088"/>
                  <a:gd name="connsiteY10" fmla="*/ 708025 h 819150"/>
                  <a:gd name="connsiteX11" fmla="*/ 487362 w 1208088"/>
                  <a:gd name="connsiteY11" fmla="*/ 691797 h 819150"/>
                  <a:gd name="connsiteX12" fmla="*/ 471628 w 1208088"/>
                  <a:gd name="connsiteY12" fmla="*/ 676275 h 819150"/>
                  <a:gd name="connsiteX13" fmla="*/ 83996 w 1208088"/>
                  <a:gd name="connsiteY13" fmla="*/ 676275 h 819150"/>
                  <a:gd name="connsiteX14" fmla="*/ 736459 w 1208088"/>
                  <a:gd name="connsiteY14" fmla="*/ 601662 h 819150"/>
                  <a:gd name="connsiteX15" fmla="*/ 720725 w 1208088"/>
                  <a:gd name="connsiteY15" fmla="*/ 616744 h 819150"/>
                  <a:gd name="connsiteX16" fmla="*/ 736459 w 1208088"/>
                  <a:gd name="connsiteY16" fmla="*/ 631825 h 819150"/>
                  <a:gd name="connsiteX17" fmla="*/ 1124091 w 1208088"/>
                  <a:gd name="connsiteY17" fmla="*/ 631825 h 819150"/>
                  <a:gd name="connsiteX18" fmla="*/ 1139825 w 1208088"/>
                  <a:gd name="connsiteY18" fmla="*/ 616744 h 819150"/>
                  <a:gd name="connsiteX19" fmla="*/ 1124091 w 1208088"/>
                  <a:gd name="connsiteY19" fmla="*/ 601662 h 819150"/>
                  <a:gd name="connsiteX20" fmla="*/ 736459 w 1208088"/>
                  <a:gd name="connsiteY20" fmla="*/ 601662 h 819150"/>
                  <a:gd name="connsiteX21" fmla="*/ 83996 w 1208088"/>
                  <a:gd name="connsiteY21" fmla="*/ 601662 h 819150"/>
                  <a:gd name="connsiteX22" fmla="*/ 68262 w 1208088"/>
                  <a:gd name="connsiteY22" fmla="*/ 616744 h 819150"/>
                  <a:gd name="connsiteX23" fmla="*/ 83996 w 1208088"/>
                  <a:gd name="connsiteY23" fmla="*/ 631825 h 819150"/>
                  <a:gd name="connsiteX24" fmla="*/ 471628 w 1208088"/>
                  <a:gd name="connsiteY24" fmla="*/ 631825 h 819150"/>
                  <a:gd name="connsiteX25" fmla="*/ 487362 w 1208088"/>
                  <a:gd name="connsiteY25" fmla="*/ 616744 h 819150"/>
                  <a:gd name="connsiteX26" fmla="*/ 471628 w 1208088"/>
                  <a:gd name="connsiteY26" fmla="*/ 601662 h 819150"/>
                  <a:gd name="connsiteX27" fmla="*/ 83996 w 1208088"/>
                  <a:gd name="connsiteY27" fmla="*/ 601662 h 819150"/>
                  <a:gd name="connsiteX28" fmla="*/ 736459 w 1208088"/>
                  <a:gd name="connsiteY28" fmla="*/ 525462 h 819150"/>
                  <a:gd name="connsiteX29" fmla="*/ 720725 w 1208088"/>
                  <a:gd name="connsiteY29" fmla="*/ 541337 h 819150"/>
                  <a:gd name="connsiteX30" fmla="*/ 736459 w 1208088"/>
                  <a:gd name="connsiteY30" fmla="*/ 557212 h 819150"/>
                  <a:gd name="connsiteX31" fmla="*/ 1124091 w 1208088"/>
                  <a:gd name="connsiteY31" fmla="*/ 557212 h 819150"/>
                  <a:gd name="connsiteX32" fmla="*/ 1139825 w 1208088"/>
                  <a:gd name="connsiteY32" fmla="*/ 541337 h 819150"/>
                  <a:gd name="connsiteX33" fmla="*/ 1124091 w 1208088"/>
                  <a:gd name="connsiteY33" fmla="*/ 525462 h 819150"/>
                  <a:gd name="connsiteX34" fmla="*/ 736459 w 1208088"/>
                  <a:gd name="connsiteY34" fmla="*/ 525462 h 819150"/>
                  <a:gd name="connsiteX35" fmla="*/ 83996 w 1208088"/>
                  <a:gd name="connsiteY35" fmla="*/ 525462 h 819150"/>
                  <a:gd name="connsiteX36" fmla="*/ 68262 w 1208088"/>
                  <a:gd name="connsiteY36" fmla="*/ 541337 h 819150"/>
                  <a:gd name="connsiteX37" fmla="*/ 83996 w 1208088"/>
                  <a:gd name="connsiteY37" fmla="*/ 557212 h 819150"/>
                  <a:gd name="connsiteX38" fmla="*/ 471628 w 1208088"/>
                  <a:gd name="connsiteY38" fmla="*/ 557212 h 819150"/>
                  <a:gd name="connsiteX39" fmla="*/ 487362 w 1208088"/>
                  <a:gd name="connsiteY39" fmla="*/ 541337 h 819150"/>
                  <a:gd name="connsiteX40" fmla="*/ 471628 w 1208088"/>
                  <a:gd name="connsiteY40" fmla="*/ 525462 h 819150"/>
                  <a:gd name="connsiteX41" fmla="*/ 83996 w 1208088"/>
                  <a:gd name="connsiteY41" fmla="*/ 525462 h 819150"/>
                  <a:gd name="connsiteX42" fmla="*/ 736459 w 1208088"/>
                  <a:gd name="connsiteY42" fmla="*/ 450850 h 819150"/>
                  <a:gd name="connsiteX43" fmla="*/ 720725 w 1208088"/>
                  <a:gd name="connsiteY43" fmla="*/ 466725 h 819150"/>
                  <a:gd name="connsiteX44" fmla="*/ 736459 w 1208088"/>
                  <a:gd name="connsiteY44" fmla="*/ 482600 h 819150"/>
                  <a:gd name="connsiteX45" fmla="*/ 1124091 w 1208088"/>
                  <a:gd name="connsiteY45" fmla="*/ 482600 h 819150"/>
                  <a:gd name="connsiteX46" fmla="*/ 1139825 w 1208088"/>
                  <a:gd name="connsiteY46" fmla="*/ 466725 h 819150"/>
                  <a:gd name="connsiteX47" fmla="*/ 1124091 w 1208088"/>
                  <a:gd name="connsiteY47" fmla="*/ 450850 h 819150"/>
                  <a:gd name="connsiteX48" fmla="*/ 736459 w 1208088"/>
                  <a:gd name="connsiteY48" fmla="*/ 450850 h 819150"/>
                  <a:gd name="connsiteX49" fmla="*/ 83996 w 1208088"/>
                  <a:gd name="connsiteY49" fmla="*/ 450850 h 819150"/>
                  <a:gd name="connsiteX50" fmla="*/ 68262 w 1208088"/>
                  <a:gd name="connsiteY50" fmla="*/ 466725 h 819150"/>
                  <a:gd name="connsiteX51" fmla="*/ 83996 w 1208088"/>
                  <a:gd name="connsiteY51" fmla="*/ 482600 h 819150"/>
                  <a:gd name="connsiteX52" fmla="*/ 471628 w 1208088"/>
                  <a:gd name="connsiteY52" fmla="*/ 482600 h 819150"/>
                  <a:gd name="connsiteX53" fmla="*/ 487362 w 1208088"/>
                  <a:gd name="connsiteY53" fmla="*/ 466725 h 819150"/>
                  <a:gd name="connsiteX54" fmla="*/ 471628 w 1208088"/>
                  <a:gd name="connsiteY54" fmla="*/ 450850 h 819150"/>
                  <a:gd name="connsiteX55" fmla="*/ 83996 w 1208088"/>
                  <a:gd name="connsiteY55" fmla="*/ 450850 h 819150"/>
                  <a:gd name="connsiteX56" fmla="*/ 736459 w 1208088"/>
                  <a:gd name="connsiteY56" fmla="*/ 374650 h 819150"/>
                  <a:gd name="connsiteX57" fmla="*/ 720725 w 1208088"/>
                  <a:gd name="connsiteY57" fmla="*/ 390525 h 819150"/>
                  <a:gd name="connsiteX58" fmla="*/ 736459 w 1208088"/>
                  <a:gd name="connsiteY58" fmla="*/ 406400 h 819150"/>
                  <a:gd name="connsiteX59" fmla="*/ 1124091 w 1208088"/>
                  <a:gd name="connsiteY59" fmla="*/ 406400 h 819150"/>
                  <a:gd name="connsiteX60" fmla="*/ 1139825 w 1208088"/>
                  <a:gd name="connsiteY60" fmla="*/ 390525 h 819150"/>
                  <a:gd name="connsiteX61" fmla="*/ 1124091 w 1208088"/>
                  <a:gd name="connsiteY61" fmla="*/ 374650 h 819150"/>
                  <a:gd name="connsiteX62" fmla="*/ 736459 w 1208088"/>
                  <a:gd name="connsiteY62" fmla="*/ 374650 h 819150"/>
                  <a:gd name="connsiteX63" fmla="*/ 83996 w 1208088"/>
                  <a:gd name="connsiteY63" fmla="*/ 374650 h 819150"/>
                  <a:gd name="connsiteX64" fmla="*/ 68262 w 1208088"/>
                  <a:gd name="connsiteY64" fmla="*/ 390525 h 819150"/>
                  <a:gd name="connsiteX65" fmla="*/ 83996 w 1208088"/>
                  <a:gd name="connsiteY65" fmla="*/ 406400 h 819150"/>
                  <a:gd name="connsiteX66" fmla="*/ 471628 w 1208088"/>
                  <a:gd name="connsiteY66" fmla="*/ 406400 h 819150"/>
                  <a:gd name="connsiteX67" fmla="*/ 487362 w 1208088"/>
                  <a:gd name="connsiteY67" fmla="*/ 390525 h 819150"/>
                  <a:gd name="connsiteX68" fmla="*/ 471628 w 1208088"/>
                  <a:gd name="connsiteY68" fmla="*/ 374650 h 819150"/>
                  <a:gd name="connsiteX69" fmla="*/ 83996 w 1208088"/>
                  <a:gd name="connsiteY69" fmla="*/ 374650 h 819150"/>
                  <a:gd name="connsiteX70" fmla="*/ 736459 w 1208088"/>
                  <a:gd name="connsiteY70" fmla="*/ 300037 h 819150"/>
                  <a:gd name="connsiteX71" fmla="*/ 720725 w 1208088"/>
                  <a:gd name="connsiteY71" fmla="*/ 315912 h 819150"/>
                  <a:gd name="connsiteX72" fmla="*/ 736459 w 1208088"/>
                  <a:gd name="connsiteY72" fmla="*/ 331787 h 819150"/>
                  <a:gd name="connsiteX73" fmla="*/ 1124091 w 1208088"/>
                  <a:gd name="connsiteY73" fmla="*/ 331787 h 819150"/>
                  <a:gd name="connsiteX74" fmla="*/ 1139825 w 1208088"/>
                  <a:gd name="connsiteY74" fmla="*/ 315912 h 819150"/>
                  <a:gd name="connsiteX75" fmla="*/ 1124091 w 1208088"/>
                  <a:gd name="connsiteY75" fmla="*/ 300037 h 819150"/>
                  <a:gd name="connsiteX76" fmla="*/ 736459 w 1208088"/>
                  <a:gd name="connsiteY76" fmla="*/ 300037 h 819150"/>
                  <a:gd name="connsiteX77" fmla="*/ 83996 w 1208088"/>
                  <a:gd name="connsiteY77" fmla="*/ 300037 h 819150"/>
                  <a:gd name="connsiteX78" fmla="*/ 68262 w 1208088"/>
                  <a:gd name="connsiteY78" fmla="*/ 315912 h 819150"/>
                  <a:gd name="connsiteX79" fmla="*/ 83996 w 1208088"/>
                  <a:gd name="connsiteY79" fmla="*/ 331787 h 819150"/>
                  <a:gd name="connsiteX80" fmla="*/ 471628 w 1208088"/>
                  <a:gd name="connsiteY80" fmla="*/ 331787 h 819150"/>
                  <a:gd name="connsiteX81" fmla="*/ 487362 w 1208088"/>
                  <a:gd name="connsiteY81" fmla="*/ 315912 h 819150"/>
                  <a:gd name="connsiteX82" fmla="*/ 471628 w 1208088"/>
                  <a:gd name="connsiteY82" fmla="*/ 300037 h 819150"/>
                  <a:gd name="connsiteX83" fmla="*/ 83996 w 1208088"/>
                  <a:gd name="connsiteY83" fmla="*/ 300037 h 819150"/>
                  <a:gd name="connsiteX84" fmla="*/ 736459 w 1208088"/>
                  <a:gd name="connsiteY84" fmla="*/ 223837 h 819150"/>
                  <a:gd name="connsiteX85" fmla="*/ 720725 w 1208088"/>
                  <a:gd name="connsiteY85" fmla="*/ 239712 h 819150"/>
                  <a:gd name="connsiteX86" fmla="*/ 736459 w 1208088"/>
                  <a:gd name="connsiteY86" fmla="*/ 255587 h 819150"/>
                  <a:gd name="connsiteX87" fmla="*/ 1124091 w 1208088"/>
                  <a:gd name="connsiteY87" fmla="*/ 255587 h 819150"/>
                  <a:gd name="connsiteX88" fmla="*/ 1139825 w 1208088"/>
                  <a:gd name="connsiteY88" fmla="*/ 239712 h 819150"/>
                  <a:gd name="connsiteX89" fmla="*/ 1124091 w 1208088"/>
                  <a:gd name="connsiteY89" fmla="*/ 223837 h 819150"/>
                  <a:gd name="connsiteX90" fmla="*/ 736459 w 1208088"/>
                  <a:gd name="connsiteY90" fmla="*/ 223837 h 819150"/>
                  <a:gd name="connsiteX91" fmla="*/ 83996 w 1208088"/>
                  <a:gd name="connsiteY91" fmla="*/ 223837 h 819150"/>
                  <a:gd name="connsiteX92" fmla="*/ 68262 w 1208088"/>
                  <a:gd name="connsiteY92" fmla="*/ 239712 h 819150"/>
                  <a:gd name="connsiteX93" fmla="*/ 83996 w 1208088"/>
                  <a:gd name="connsiteY93" fmla="*/ 255587 h 819150"/>
                  <a:gd name="connsiteX94" fmla="*/ 471628 w 1208088"/>
                  <a:gd name="connsiteY94" fmla="*/ 255587 h 819150"/>
                  <a:gd name="connsiteX95" fmla="*/ 487362 w 1208088"/>
                  <a:gd name="connsiteY95" fmla="*/ 239712 h 819150"/>
                  <a:gd name="connsiteX96" fmla="*/ 471628 w 1208088"/>
                  <a:gd name="connsiteY96" fmla="*/ 223837 h 819150"/>
                  <a:gd name="connsiteX97" fmla="*/ 83996 w 1208088"/>
                  <a:gd name="connsiteY97" fmla="*/ 223837 h 819150"/>
                  <a:gd name="connsiteX98" fmla="*/ 736459 w 1208088"/>
                  <a:gd name="connsiteY98" fmla="*/ 149225 h 819150"/>
                  <a:gd name="connsiteX99" fmla="*/ 720725 w 1208088"/>
                  <a:gd name="connsiteY99" fmla="*/ 164307 h 819150"/>
                  <a:gd name="connsiteX100" fmla="*/ 736459 w 1208088"/>
                  <a:gd name="connsiteY100" fmla="*/ 179388 h 819150"/>
                  <a:gd name="connsiteX101" fmla="*/ 1124091 w 1208088"/>
                  <a:gd name="connsiteY101" fmla="*/ 179388 h 819150"/>
                  <a:gd name="connsiteX102" fmla="*/ 1139825 w 1208088"/>
                  <a:gd name="connsiteY102" fmla="*/ 164307 h 819150"/>
                  <a:gd name="connsiteX103" fmla="*/ 1124091 w 1208088"/>
                  <a:gd name="connsiteY103" fmla="*/ 149225 h 819150"/>
                  <a:gd name="connsiteX104" fmla="*/ 736459 w 1208088"/>
                  <a:gd name="connsiteY104" fmla="*/ 149225 h 819150"/>
                  <a:gd name="connsiteX105" fmla="*/ 83996 w 1208088"/>
                  <a:gd name="connsiteY105" fmla="*/ 149225 h 819150"/>
                  <a:gd name="connsiteX106" fmla="*/ 68262 w 1208088"/>
                  <a:gd name="connsiteY106" fmla="*/ 164307 h 819150"/>
                  <a:gd name="connsiteX107" fmla="*/ 83996 w 1208088"/>
                  <a:gd name="connsiteY107" fmla="*/ 179388 h 819150"/>
                  <a:gd name="connsiteX108" fmla="*/ 471628 w 1208088"/>
                  <a:gd name="connsiteY108" fmla="*/ 179388 h 819150"/>
                  <a:gd name="connsiteX109" fmla="*/ 487362 w 1208088"/>
                  <a:gd name="connsiteY109" fmla="*/ 164307 h 819150"/>
                  <a:gd name="connsiteX110" fmla="*/ 471628 w 1208088"/>
                  <a:gd name="connsiteY110" fmla="*/ 149225 h 819150"/>
                  <a:gd name="connsiteX111" fmla="*/ 83996 w 1208088"/>
                  <a:gd name="connsiteY111" fmla="*/ 149225 h 819150"/>
                  <a:gd name="connsiteX112" fmla="*/ 650875 w 1208088"/>
                  <a:gd name="connsiteY112" fmla="*/ 0 h 819150"/>
                  <a:gd name="connsiteX113" fmla="*/ 1208088 w 1208088"/>
                  <a:gd name="connsiteY113" fmla="*/ 0 h 819150"/>
                  <a:gd name="connsiteX114" fmla="*/ 1208088 w 1208088"/>
                  <a:gd name="connsiteY114" fmla="*/ 819150 h 819150"/>
                  <a:gd name="connsiteX115" fmla="*/ 650875 w 1208088"/>
                  <a:gd name="connsiteY115" fmla="*/ 819150 h 819150"/>
                  <a:gd name="connsiteX116" fmla="*/ 650875 w 1208088"/>
                  <a:gd name="connsiteY116" fmla="*/ 0 h 819150"/>
                  <a:gd name="connsiteX117" fmla="*/ 0 w 1208088"/>
                  <a:gd name="connsiteY117" fmla="*/ 0 h 819150"/>
                  <a:gd name="connsiteX118" fmla="*/ 557213 w 1208088"/>
                  <a:gd name="connsiteY118" fmla="*/ 0 h 819150"/>
                  <a:gd name="connsiteX119" fmla="*/ 557213 w 1208088"/>
                  <a:gd name="connsiteY119" fmla="*/ 819150 h 819150"/>
                  <a:gd name="connsiteX120" fmla="*/ 0 w 1208088"/>
                  <a:gd name="connsiteY120" fmla="*/ 819150 h 819150"/>
                  <a:gd name="connsiteX121" fmla="*/ 0 w 1208088"/>
                  <a:gd name="connsiteY121" fmla="*/ 0 h 819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</a:cxnLst>
                <a:rect l="l" t="t" r="r" b="b"/>
                <a:pathLst>
                  <a:path w="1208088" h="819150">
                    <a:moveTo>
                      <a:pt x="736459" y="676275"/>
                    </a:moveTo>
                    <a:cubicBezTo>
                      <a:pt x="727877" y="676275"/>
                      <a:pt x="720725" y="683331"/>
                      <a:pt x="720725" y="691797"/>
                    </a:cubicBezTo>
                    <a:cubicBezTo>
                      <a:pt x="720725" y="700970"/>
                      <a:pt x="727877" y="708025"/>
                      <a:pt x="736459" y="708025"/>
                    </a:cubicBezTo>
                    <a:cubicBezTo>
                      <a:pt x="736459" y="708025"/>
                      <a:pt x="736459" y="708025"/>
                      <a:pt x="1124091" y="708025"/>
                    </a:cubicBezTo>
                    <a:cubicBezTo>
                      <a:pt x="1132673" y="708025"/>
                      <a:pt x="1139825" y="700970"/>
                      <a:pt x="1139825" y="691797"/>
                    </a:cubicBezTo>
                    <a:cubicBezTo>
                      <a:pt x="1139825" y="683331"/>
                      <a:pt x="1132673" y="676275"/>
                      <a:pt x="1124091" y="676275"/>
                    </a:cubicBezTo>
                    <a:cubicBezTo>
                      <a:pt x="1124091" y="676275"/>
                      <a:pt x="1124091" y="676275"/>
                      <a:pt x="736459" y="676275"/>
                    </a:cubicBezTo>
                    <a:close/>
                    <a:moveTo>
                      <a:pt x="83996" y="676275"/>
                    </a:moveTo>
                    <a:cubicBezTo>
                      <a:pt x="75414" y="676275"/>
                      <a:pt x="68262" y="683331"/>
                      <a:pt x="68262" y="691797"/>
                    </a:cubicBezTo>
                    <a:cubicBezTo>
                      <a:pt x="68262" y="700970"/>
                      <a:pt x="75414" y="708025"/>
                      <a:pt x="83996" y="708025"/>
                    </a:cubicBezTo>
                    <a:cubicBezTo>
                      <a:pt x="83996" y="708025"/>
                      <a:pt x="83996" y="708025"/>
                      <a:pt x="471628" y="708025"/>
                    </a:cubicBezTo>
                    <a:cubicBezTo>
                      <a:pt x="480210" y="708025"/>
                      <a:pt x="487362" y="700970"/>
                      <a:pt x="487362" y="691797"/>
                    </a:cubicBezTo>
                    <a:cubicBezTo>
                      <a:pt x="487362" y="683331"/>
                      <a:pt x="480210" y="676275"/>
                      <a:pt x="471628" y="676275"/>
                    </a:cubicBezTo>
                    <a:cubicBezTo>
                      <a:pt x="471628" y="676275"/>
                      <a:pt x="471628" y="676275"/>
                      <a:pt x="83996" y="676275"/>
                    </a:cubicBezTo>
                    <a:close/>
                    <a:moveTo>
                      <a:pt x="736459" y="601662"/>
                    </a:moveTo>
                    <a:cubicBezTo>
                      <a:pt x="727877" y="601662"/>
                      <a:pt x="720725" y="608517"/>
                      <a:pt x="720725" y="616744"/>
                    </a:cubicBezTo>
                    <a:cubicBezTo>
                      <a:pt x="720725" y="624970"/>
                      <a:pt x="727877" y="631825"/>
                      <a:pt x="736459" y="631825"/>
                    </a:cubicBezTo>
                    <a:cubicBezTo>
                      <a:pt x="736459" y="631825"/>
                      <a:pt x="736459" y="631825"/>
                      <a:pt x="1124091" y="631825"/>
                    </a:cubicBezTo>
                    <a:cubicBezTo>
                      <a:pt x="1132673" y="631825"/>
                      <a:pt x="1139825" y="624970"/>
                      <a:pt x="1139825" y="616744"/>
                    </a:cubicBezTo>
                    <a:cubicBezTo>
                      <a:pt x="1139825" y="608517"/>
                      <a:pt x="1132673" y="601662"/>
                      <a:pt x="1124091" y="601662"/>
                    </a:cubicBezTo>
                    <a:cubicBezTo>
                      <a:pt x="1124091" y="601662"/>
                      <a:pt x="1124091" y="601662"/>
                      <a:pt x="736459" y="601662"/>
                    </a:cubicBezTo>
                    <a:close/>
                    <a:moveTo>
                      <a:pt x="83996" y="601662"/>
                    </a:moveTo>
                    <a:cubicBezTo>
                      <a:pt x="75414" y="601662"/>
                      <a:pt x="68262" y="608517"/>
                      <a:pt x="68262" y="616744"/>
                    </a:cubicBezTo>
                    <a:cubicBezTo>
                      <a:pt x="68262" y="624970"/>
                      <a:pt x="75414" y="631825"/>
                      <a:pt x="83996" y="631825"/>
                    </a:cubicBezTo>
                    <a:cubicBezTo>
                      <a:pt x="83996" y="631825"/>
                      <a:pt x="83996" y="631825"/>
                      <a:pt x="471628" y="631825"/>
                    </a:cubicBezTo>
                    <a:cubicBezTo>
                      <a:pt x="480210" y="631825"/>
                      <a:pt x="487362" y="624970"/>
                      <a:pt x="487362" y="616744"/>
                    </a:cubicBezTo>
                    <a:cubicBezTo>
                      <a:pt x="487362" y="608517"/>
                      <a:pt x="480210" y="601662"/>
                      <a:pt x="471628" y="601662"/>
                    </a:cubicBezTo>
                    <a:cubicBezTo>
                      <a:pt x="471628" y="601662"/>
                      <a:pt x="471628" y="601662"/>
                      <a:pt x="83996" y="601662"/>
                    </a:cubicBezTo>
                    <a:close/>
                    <a:moveTo>
                      <a:pt x="736459" y="525462"/>
                    </a:moveTo>
                    <a:cubicBezTo>
                      <a:pt x="727877" y="525462"/>
                      <a:pt x="720725" y="532678"/>
                      <a:pt x="720725" y="541337"/>
                    </a:cubicBezTo>
                    <a:cubicBezTo>
                      <a:pt x="720725" y="549996"/>
                      <a:pt x="727877" y="557212"/>
                      <a:pt x="736459" y="557212"/>
                    </a:cubicBezTo>
                    <a:cubicBezTo>
                      <a:pt x="736459" y="557212"/>
                      <a:pt x="736459" y="557212"/>
                      <a:pt x="1124091" y="557212"/>
                    </a:cubicBezTo>
                    <a:cubicBezTo>
                      <a:pt x="1132673" y="557212"/>
                      <a:pt x="1139825" y="549996"/>
                      <a:pt x="1139825" y="541337"/>
                    </a:cubicBezTo>
                    <a:cubicBezTo>
                      <a:pt x="1139825" y="532678"/>
                      <a:pt x="1132673" y="525462"/>
                      <a:pt x="1124091" y="525462"/>
                    </a:cubicBezTo>
                    <a:cubicBezTo>
                      <a:pt x="1124091" y="525462"/>
                      <a:pt x="1124091" y="525462"/>
                      <a:pt x="736459" y="525462"/>
                    </a:cubicBezTo>
                    <a:close/>
                    <a:moveTo>
                      <a:pt x="83996" y="525462"/>
                    </a:moveTo>
                    <a:cubicBezTo>
                      <a:pt x="75414" y="525462"/>
                      <a:pt x="68262" y="532678"/>
                      <a:pt x="68262" y="541337"/>
                    </a:cubicBezTo>
                    <a:cubicBezTo>
                      <a:pt x="68262" y="549996"/>
                      <a:pt x="75414" y="557212"/>
                      <a:pt x="83996" y="557212"/>
                    </a:cubicBezTo>
                    <a:cubicBezTo>
                      <a:pt x="83996" y="557212"/>
                      <a:pt x="83996" y="557212"/>
                      <a:pt x="471628" y="557212"/>
                    </a:cubicBezTo>
                    <a:cubicBezTo>
                      <a:pt x="480210" y="557212"/>
                      <a:pt x="487362" y="549996"/>
                      <a:pt x="487362" y="541337"/>
                    </a:cubicBezTo>
                    <a:cubicBezTo>
                      <a:pt x="487362" y="532678"/>
                      <a:pt x="480210" y="525462"/>
                      <a:pt x="471628" y="525462"/>
                    </a:cubicBezTo>
                    <a:cubicBezTo>
                      <a:pt x="471628" y="525462"/>
                      <a:pt x="471628" y="525462"/>
                      <a:pt x="83996" y="525462"/>
                    </a:cubicBezTo>
                    <a:close/>
                    <a:moveTo>
                      <a:pt x="736459" y="450850"/>
                    </a:moveTo>
                    <a:cubicBezTo>
                      <a:pt x="727877" y="450850"/>
                      <a:pt x="720725" y="458066"/>
                      <a:pt x="720725" y="466725"/>
                    </a:cubicBezTo>
                    <a:cubicBezTo>
                      <a:pt x="720725" y="475384"/>
                      <a:pt x="727877" y="482600"/>
                      <a:pt x="736459" y="482600"/>
                    </a:cubicBezTo>
                    <a:cubicBezTo>
                      <a:pt x="736459" y="482600"/>
                      <a:pt x="736459" y="482600"/>
                      <a:pt x="1124091" y="482600"/>
                    </a:cubicBezTo>
                    <a:cubicBezTo>
                      <a:pt x="1132673" y="482600"/>
                      <a:pt x="1139825" y="475384"/>
                      <a:pt x="1139825" y="466725"/>
                    </a:cubicBezTo>
                    <a:cubicBezTo>
                      <a:pt x="1139825" y="458066"/>
                      <a:pt x="1132673" y="450850"/>
                      <a:pt x="1124091" y="450850"/>
                    </a:cubicBezTo>
                    <a:cubicBezTo>
                      <a:pt x="1124091" y="450850"/>
                      <a:pt x="1124091" y="450850"/>
                      <a:pt x="736459" y="450850"/>
                    </a:cubicBezTo>
                    <a:close/>
                    <a:moveTo>
                      <a:pt x="83996" y="450850"/>
                    </a:moveTo>
                    <a:cubicBezTo>
                      <a:pt x="75414" y="450850"/>
                      <a:pt x="68262" y="458066"/>
                      <a:pt x="68262" y="466725"/>
                    </a:cubicBezTo>
                    <a:cubicBezTo>
                      <a:pt x="68262" y="475384"/>
                      <a:pt x="75414" y="482600"/>
                      <a:pt x="83996" y="482600"/>
                    </a:cubicBezTo>
                    <a:cubicBezTo>
                      <a:pt x="83996" y="482600"/>
                      <a:pt x="83996" y="482600"/>
                      <a:pt x="471628" y="482600"/>
                    </a:cubicBezTo>
                    <a:cubicBezTo>
                      <a:pt x="480210" y="482600"/>
                      <a:pt x="487362" y="475384"/>
                      <a:pt x="487362" y="466725"/>
                    </a:cubicBezTo>
                    <a:cubicBezTo>
                      <a:pt x="487362" y="458066"/>
                      <a:pt x="480210" y="450850"/>
                      <a:pt x="471628" y="450850"/>
                    </a:cubicBezTo>
                    <a:cubicBezTo>
                      <a:pt x="471628" y="450850"/>
                      <a:pt x="471628" y="450850"/>
                      <a:pt x="83996" y="450850"/>
                    </a:cubicBezTo>
                    <a:close/>
                    <a:moveTo>
                      <a:pt x="736459" y="374650"/>
                    </a:moveTo>
                    <a:cubicBezTo>
                      <a:pt x="727877" y="374650"/>
                      <a:pt x="720725" y="381866"/>
                      <a:pt x="720725" y="390525"/>
                    </a:cubicBezTo>
                    <a:cubicBezTo>
                      <a:pt x="720725" y="399184"/>
                      <a:pt x="727877" y="406400"/>
                      <a:pt x="736459" y="406400"/>
                    </a:cubicBezTo>
                    <a:cubicBezTo>
                      <a:pt x="736459" y="406400"/>
                      <a:pt x="736459" y="406400"/>
                      <a:pt x="1124091" y="406400"/>
                    </a:cubicBezTo>
                    <a:cubicBezTo>
                      <a:pt x="1132673" y="406400"/>
                      <a:pt x="1139825" y="399184"/>
                      <a:pt x="1139825" y="390525"/>
                    </a:cubicBezTo>
                    <a:cubicBezTo>
                      <a:pt x="1139825" y="381866"/>
                      <a:pt x="1132673" y="374650"/>
                      <a:pt x="1124091" y="374650"/>
                    </a:cubicBezTo>
                    <a:cubicBezTo>
                      <a:pt x="1124091" y="374650"/>
                      <a:pt x="1124091" y="374650"/>
                      <a:pt x="736459" y="374650"/>
                    </a:cubicBezTo>
                    <a:close/>
                    <a:moveTo>
                      <a:pt x="83996" y="374650"/>
                    </a:moveTo>
                    <a:cubicBezTo>
                      <a:pt x="75414" y="374650"/>
                      <a:pt x="68262" y="381866"/>
                      <a:pt x="68262" y="390525"/>
                    </a:cubicBezTo>
                    <a:cubicBezTo>
                      <a:pt x="68262" y="399184"/>
                      <a:pt x="75414" y="406400"/>
                      <a:pt x="83996" y="406400"/>
                    </a:cubicBezTo>
                    <a:cubicBezTo>
                      <a:pt x="83996" y="406400"/>
                      <a:pt x="83996" y="406400"/>
                      <a:pt x="471628" y="406400"/>
                    </a:cubicBezTo>
                    <a:cubicBezTo>
                      <a:pt x="480210" y="406400"/>
                      <a:pt x="487362" y="399184"/>
                      <a:pt x="487362" y="390525"/>
                    </a:cubicBezTo>
                    <a:cubicBezTo>
                      <a:pt x="487362" y="381866"/>
                      <a:pt x="480210" y="374650"/>
                      <a:pt x="471628" y="374650"/>
                    </a:cubicBezTo>
                    <a:cubicBezTo>
                      <a:pt x="471628" y="374650"/>
                      <a:pt x="471628" y="374650"/>
                      <a:pt x="83996" y="374650"/>
                    </a:cubicBezTo>
                    <a:close/>
                    <a:moveTo>
                      <a:pt x="736459" y="300037"/>
                    </a:moveTo>
                    <a:cubicBezTo>
                      <a:pt x="727877" y="300037"/>
                      <a:pt x="720725" y="307253"/>
                      <a:pt x="720725" y="315912"/>
                    </a:cubicBezTo>
                    <a:cubicBezTo>
                      <a:pt x="720725" y="324571"/>
                      <a:pt x="727877" y="331787"/>
                      <a:pt x="736459" y="331787"/>
                    </a:cubicBezTo>
                    <a:cubicBezTo>
                      <a:pt x="736459" y="331787"/>
                      <a:pt x="736459" y="331787"/>
                      <a:pt x="1124091" y="331787"/>
                    </a:cubicBezTo>
                    <a:cubicBezTo>
                      <a:pt x="1132673" y="331787"/>
                      <a:pt x="1139825" y="324571"/>
                      <a:pt x="1139825" y="315912"/>
                    </a:cubicBezTo>
                    <a:cubicBezTo>
                      <a:pt x="1139825" y="307253"/>
                      <a:pt x="1132673" y="300037"/>
                      <a:pt x="1124091" y="300037"/>
                    </a:cubicBezTo>
                    <a:cubicBezTo>
                      <a:pt x="1124091" y="300037"/>
                      <a:pt x="1124091" y="300037"/>
                      <a:pt x="736459" y="300037"/>
                    </a:cubicBezTo>
                    <a:close/>
                    <a:moveTo>
                      <a:pt x="83996" y="300037"/>
                    </a:moveTo>
                    <a:cubicBezTo>
                      <a:pt x="75414" y="300037"/>
                      <a:pt x="68262" y="307253"/>
                      <a:pt x="68262" y="315912"/>
                    </a:cubicBezTo>
                    <a:cubicBezTo>
                      <a:pt x="68262" y="324571"/>
                      <a:pt x="75414" y="331787"/>
                      <a:pt x="83996" y="331787"/>
                    </a:cubicBezTo>
                    <a:cubicBezTo>
                      <a:pt x="83996" y="331787"/>
                      <a:pt x="83996" y="331787"/>
                      <a:pt x="471628" y="331787"/>
                    </a:cubicBezTo>
                    <a:cubicBezTo>
                      <a:pt x="480210" y="331787"/>
                      <a:pt x="487362" y="324571"/>
                      <a:pt x="487362" y="315912"/>
                    </a:cubicBezTo>
                    <a:cubicBezTo>
                      <a:pt x="487362" y="307253"/>
                      <a:pt x="480210" y="300037"/>
                      <a:pt x="471628" y="300037"/>
                    </a:cubicBezTo>
                    <a:cubicBezTo>
                      <a:pt x="471628" y="300037"/>
                      <a:pt x="471628" y="300037"/>
                      <a:pt x="83996" y="300037"/>
                    </a:cubicBezTo>
                    <a:close/>
                    <a:moveTo>
                      <a:pt x="736459" y="223837"/>
                    </a:moveTo>
                    <a:cubicBezTo>
                      <a:pt x="727877" y="223837"/>
                      <a:pt x="720725" y="231053"/>
                      <a:pt x="720725" y="239712"/>
                    </a:cubicBezTo>
                    <a:cubicBezTo>
                      <a:pt x="720725" y="248371"/>
                      <a:pt x="727877" y="255587"/>
                      <a:pt x="736459" y="255587"/>
                    </a:cubicBezTo>
                    <a:cubicBezTo>
                      <a:pt x="736459" y="255587"/>
                      <a:pt x="736459" y="255587"/>
                      <a:pt x="1124091" y="255587"/>
                    </a:cubicBezTo>
                    <a:cubicBezTo>
                      <a:pt x="1132673" y="255587"/>
                      <a:pt x="1139825" y="248371"/>
                      <a:pt x="1139825" y="239712"/>
                    </a:cubicBezTo>
                    <a:cubicBezTo>
                      <a:pt x="1139825" y="231053"/>
                      <a:pt x="1132673" y="223837"/>
                      <a:pt x="1124091" y="223837"/>
                    </a:cubicBezTo>
                    <a:cubicBezTo>
                      <a:pt x="1124091" y="223837"/>
                      <a:pt x="1124091" y="223837"/>
                      <a:pt x="736459" y="223837"/>
                    </a:cubicBezTo>
                    <a:close/>
                    <a:moveTo>
                      <a:pt x="83996" y="223837"/>
                    </a:moveTo>
                    <a:cubicBezTo>
                      <a:pt x="75414" y="223837"/>
                      <a:pt x="68262" y="231053"/>
                      <a:pt x="68262" y="239712"/>
                    </a:cubicBezTo>
                    <a:cubicBezTo>
                      <a:pt x="68262" y="248371"/>
                      <a:pt x="75414" y="255587"/>
                      <a:pt x="83996" y="255587"/>
                    </a:cubicBezTo>
                    <a:cubicBezTo>
                      <a:pt x="83996" y="255587"/>
                      <a:pt x="83996" y="255587"/>
                      <a:pt x="471628" y="255587"/>
                    </a:cubicBezTo>
                    <a:cubicBezTo>
                      <a:pt x="480210" y="255587"/>
                      <a:pt x="487362" y="248371"/>
                      <a:pt x="487362" y="239712"/>
                    </a:cubicBezTo>
                    <a:cubicBezTo>
                      <a:pt x="487362" y="231053"/>
                      <a:pt x="480210" y="223837"/>
                      <a:pt x="471628" y="223837"/>
                    </a:cubicBezTo>
                    <a:cubicBezTo>
                      <a:pt x="471628" y="223837"/>
                      <a:pt x="471628" y="223837"/>
                      <a:pt x="83996" y="223837"/>
                    </a:cubicBezTo>
                    <a:close/>
                    <a:moveTo>
                      <a:pt x="736459" y="149225"/>
                    </a:moveTo>
                    <a:cubicBezTo>
                      <a:pt x="727877" y="149225"/>
                      <a:pt x="720725" y="156080"/>
                      <a:pt x="720725" y="164307"/>
                    </a:cubicBezTo>
                    <a:cubicBezTo>
                      <a:pt x="720725" y="172533"/>
                      <a:pt x="727877" y="179388"/>
                      <a:pt x="736459" y="179388"/>
                    </a:cubicBezTo>
                    <a:cubicBezTo>
                      <a:pt x="736459" y="179388"/>
                      <a:pt x="736459" y="179388"/>
                      <a:pt x="1124091" y="179388"/>
                    </a:cubicBezTo>
                    <a:cubicBezTo>
                      <a:pt x="1132673" y="179388"/>
                      <a:pt x="1139825" y="172533"/>
                      <a:pt x="1139825" y="164307"/>
                    </a:cubicBezTo>
                    <a:cubicBezTo>
                      <a:pt x="1139825" y="156080"/>
                      <a:pt x="1132673" y="149225"/>
                      <a:pt x="1124091" y="149225"/>
                    </a:cubicBezTo>
                    <a:cubicBezTo>
                      <a:pt x="1124091" y="149225"/>
                      <a:pt x="1124091" y="149225"/>
                      <a:pt x="736459" y="149225"/>
                    </a:cubicBezTo>
                    <a:close/>
                    <a:moveTo>
                      <a:pt x="83996" y="149225"/>
                    </a:moveTo>
                    <a:cubicBezTo>
                      <a:pt x="75414" y="149225"/>
                      <a:pt x="68262" y="156080"/>
                      <a:pt x="68262" y="164307"/>
                    </a:cubicBezTo>
                    <a:cubicBezTo>
                      <a:pt x="68262" y="172533"/>
                      <a:pt x="75414" y="179388"/>
                      <a:pt x="83996" y="179388"/>
                    </a:cubicBezTo>
                    <a:cubicBezTo>
                      <a:pt x="83996" y="179388"/>
                      <a:pt x="83996" y="179388"/>
                      <a:pt x="471628" y="179388"/>
                    </a:cubicBezTo>
                    <a:cubicBezTo>
                      <a:pt x="480210" y="179388"/>
                      <a:pt x="487362" y="172533"/>
                      <a:pt x="487362" y="164307"/>
                    </a:cubicBezTo>
                    <a:cubicBezTo>
                      <a:pt x="487362" y="156080"/>
                      <a:pt x="480210" y="149225"/>
                      <a:pt x="471628" y="149225"/>
                    </a:cubicBezTo>
                    <a:cubicBezTo>
                      <a:pt x="471628" y="149225"/>
                      <a:pt x="471628" y="149225"/>
                      <a:pt x="83996" y="149225"/>
                    </a:cubicBezTo>
                    <a:close/>
                    <a:moveTo>
                      <a:pt x="650875" y="0"/>
                    </a:moveTo>
                    <a:cubicBezTo>
                      <a:pt x="650875" y="0"/>
                      <a:pt x="650875" y="0"/>
                      <a:pt x="1208088" y="0"/>
                    </a:cubicBezTo>
                    <a:cubicBezTo>
                      <a:pt x="1208088" y="0"/>
                      <a:pt x="1208088" y="0"/>
                      <a:pt x="1208088" y="819150"/>
                    </a:cubicBezTo>
                    <a:cubicBezTo>
                      <a:pt x="1208088" y="819150"/>
                      <a:pt x="1208088" y="819150"/>
                      <a:pt x="650875" y="819150"/>
                    </a:cubicBezTo>
                    <a:cubicBezTo>
                      <a:pt x="650875" y="819150"/>
                      <a:pt x="650875" y="819150"/>
                      <a:pt x="650875" y="0"/>
                    </a:cubicBezTo>
                    <a:close/>
                    <a:moveTo>
                      <a:pt x="0" y="0"/>
                    </a:moveTo>
                    <a:cubicBezTo>
                      <a:pt x="0" y="0"/>
                      <a:pt x="0" y="0"/>
                      <a:pt x="557213" y="0"/>
                    </a:cubicBezTo>
                    <a:cubicBezTo>
                      <a:pt x="557213" y="0"/>
                      <a:pt x="557213" y="0"/>
                      <a:pt x="557213" y="819150"/>
                    </a:cubicBezTo>
                    <a:cubicBezTo>
                      <a:pt x="557213" y="819150"/>
                      <a:pt x="557213" y="819150"/>
                      <a:pt x="0" y="819150"/>
                    </a:cubicBezTo>
                    <a:cubicBezTo>
                      <a:pt x="0" y="819150"/>
                      <a:pt x="0" y="819150"/>
                      <a:pt x="0" y="0"/>
                    </a:cubicBez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>
                  <a:latin typeface="+mn-lt"/>
                </a:endParaRPr>
              </a:p>
            </p:txBody>
          </p:sp>
        </p:grpSp>
      </p:grpSp>
      <p:pic>
        <p:nvPicPr>
          <p:cNvPr id="96" name="Picture 95">
            <a:extLst>
              <a:ext uri="{FF2B5EF4-FFF2-40B4-BE49-F238E27FC236}">
                <a16:creationId xmlns:a16="http://schemas.microsoft.com/office/drawing/2014/main" id="{F0419761-9F2C-4829-B054-2699816ADD5B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l="2378" r="1444"/>
          <a:stretch/>
        </p:blipFill>
        <p:spPr>
          <a:xfrm>
            <a:off x="4141435" y="1062910"/>
            <a:ext cx="4938226" cy="3242555"/>
          </a:xfrm>
          <a:prstGeom prst="rect">
            <a:avLst/>
          </a:prstGeom>
        </p:spPr>
      </p:pic>
      <p:sp>
        <p:nvSpPr>
          <p:cNvPr id="30" name="Fußzeilenplatzhalter 4">
            <a:extLst>
              <a:ext uri="{FF2B5EF4-FFF2-40B4-BE49-F238E27FC236}">
                <a16:creationId xmlns:a16="http://schemas.microsoft.com/office/drawing/2014/main" id="{2E154C1F-5195-1FC4-9F52-E339A6FB1B1F}"/>
              </a:ext>
            </a:extLst>
          </p:cNvPr>
          <p:cNvSpPr txBox="1">
            <a:spLocks/>
          </p:cNvSpPr>
          <p:nvPr/>
        </p:nvSpPr>
        <p:spPr>
          <a:xfrm>
            <a:off x="311162" y="4854985"/>
            <a:ext cx="7829538" cy="28851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1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r>
              <a:rPr lang="en-US" dirty="0">
                <a:latin typeface="Arial"/>
                <a:cs typeface="Arial"/>
              </a:rPr>
              <a:t>◻︎ Outline | ◼︎ </a:t>
            </a:r>
            <a:r>
              <a:rPr lang="en-US" b="1" dirty="0">
                <a:latin typeface="Arial"/>
                <a:cs typeface="Arial"/>
              </a:rPr>
              <a:t>Organizational structure </a:t>
            </a:r>
            <a:r>
              <a:rPr lang="en-US" dirty="0">
                <a:latin typeface="Arial"/>
                <a:cs typeface="Arial"/>
              </a:rPr>
              <a:t>| ◻︎ Research Topics | ◻︎ ML Pipeline  | ◻︎ Next steps</a:t>
            </a:r>
          </a:p>
        </p:txBody>
      </p:sp>
    </p:spTree>
    <p:extLst>
      <p:ext uri="{BB962C8B-B14F-4D97-AF65-F5344CB8AC3E}">
        <p14:creationId xmlns:p14="http://schemas.microsoft.com/office/powerpoint/2010/main" val="922707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 advTm="20000"/>
    </mc:Choice>
    <mc:Fallback xmlns="">
      <p:transition spd="slow" advClick="0" advTm="20000"/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6BDC872E-2D5E-4910-8936-F6E0D86CBDC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65883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6BDC872E-2D5E-4910-8936-F6E0D86CBD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el 2">
            <a:extLst>
              <a:ext uri="{FF2B5EF4-FFF2-40B4-BE49-F238E27FC236}">
                <a16:creationId xmlns:a16="http://schemas.microsoft.com/office/drawing/2014/main" id="{37327073-11DD-47A1-A0A3-AEC7A599651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7501" y="282065"/>
            <a:ext cx="7891317" cy="380810"/>
          </a:xfrm>
        </p:spPr>
        <p:txBody>
          <a:bodyPr vert="horz"/>
          <a:lstStyle/>
          <a:p>
            <a:r>
              <a:rPr lang="de-DE" dirty="0"/>
              <a:t>Problem </a:t>
            </a:r>
            <a:r>
              <a:rPr lang="de-DE" dirty="0" err="1"/>
              <a:t>setting</a:t>
            </a:r>
            <a:r>
              <a:rPr lang="de-DE"/>
              <a:t>: What data are we dealing with?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F623D925-8B03-4C79-B8CE-4001D099571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6</a:t>
            </a:fld>
            <a:endParaRPr lang="de-DE"/>
          </a:p>
        </p:txBody>
      </p:sp>
      <p:pic>
        <p:nvPicPr>
          <p:cNvPr id="8" name="Grafik 2" descr="countdown.gif">
            <a:extLst>
              <a:ext uri="{FF2B5EF4-FFF2-40B4-BE49-F238E27FC236}">
                <a16:creationId xmlns:a16="http://schemas.microsoft.com/office/drawing/2014/main" id="{9F18EF32-707B-47E4-B94B-5CA81854BA99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85113" y="4575685"/>
            <a:ext cx="1258887" cy="571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33" name="Gruppieren 32">
            <a:extLst>
              <a:ext uri="{FF2B5EF4-FFF2-40B4-BE49-F238E27FC236}">
                <a16:creationId xmlns:a16="http://schemas.microsoft.com/office/drawing/2014/main" id="{06144263-2352-1B62-C4D4-516C6C56BD54}"/>
              </a:ext>
            </a:extLst>
          </p:cNvPr>
          <p:cNvGrpSpPr/>
          <p:nvPr/>
        </p:nvGrpSpPr>
        <p:grpSpPr>
          <a:xfrm>
            <a:off x="805824" y="2235646"/>
            <a:ext cx="1048478" cy="1300648"/>
            <a:chOff x="1293629" y="880416"/>
            <a:chExt cx="602886" cy="797593"/>
          </a:xfrm>
        </p:grpSpPr>
        <p:sp>
          <p:nvSpPr>
            <p:cNvPr id="16" name="Textfeld 15">
              <a:extLst>
                <a:ext uri="{FF2B5EF4-FFF2-40B4-BE49-F238E27FC236}">
                  <a16:creationId xmlns:a16="http://schemas.microsoft.com/office/drawing/2014/main" id="{527094AE-8A6B-2F67-D12A-6346DA3CDEE2}"/>
                </a:ext>
              </a:extLst>
            </p:cNvPr>
            <p:cNvSpPr txBox="1"/>
            <p:nvPr/>
          </p:nvSpPr>
          <p:spPr>
            <a:xfrm>
              <a:off x="1293629" y="1420759"/>
              <a:ext cx="602886" cy="25725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lnSpc>
                  <a:spcPct val="114000"/>
                </a:lnSpc>
              </a:pPr>
              <a:r>
                <a:rPr lang="de-DE" sz="1600" b="1">
                  <a:latin typeface="+mn-lt"/>
                </a:rPr>
                <a:t>51259</a:t>
              </a:r>
            </a:p>
          </p:txBody>
        </p:sp>
        <p:pic>
          <p:nvPicPr>
            <p:cNvPr id="31" name="Grafik 30" descr="Bild mit einfarbiger Füllung">
              <a:extLst>
                <a:ext uri="{FF2B5EF4-FFF2-40B4-BE49-F238E27FC236}">
                  <a16:creationId xmlns:a16="http://schemas.microsoft.com/office/drawing/2014/main" id="{1BFEBB97-21FF-BC00-49C5-D9794509A81B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1300556" y="880416"/>
              <a:ext cx="587084" cy="587084"/>
            </a:xfrm>
            <a:prstGeom prst="rect">
              <a:avLst/>
            </a:prstGeom>
          </p:spPr>
        </p:pic>
      </p:grpSp>
      <p:grpSp>
        <p:nvGrpSpPr>
          <p:cNvPr id="43" name="Gruppieren 42">
            <a:extLst>
              <a:ext uri="{FF2B5EF4-FFF2-40B4-BE49-F238E27FC236}">
                <a16:creationId xmlns:a16="http://schemas.microsoft.com/office/drawing/2014/main" id="{A3CD3D66-4DB6-78CA-1BEA-54B126FF578A}"/>
              </a:ext>
            </a:extLst>
          </p:cNvPr>
          <p:cNvGrpSpPr/>
          <p:nvPr/>
        </p:nvGrpSpPr>
        <p:grpSpPr>
          <a:xfrm>
            <a:off x="2875626" y="2004409"/>
            <a:ext cx="1468812" cy="768205"/>
            <a:chOff x="1513717" y="480756"/>
            <a:chExt cx="1757120" cy="912160"/>
          </a:xfrm>
        </p:grpSpPr>
        <p:grpSp>
          <p:nvGrpSpPr>
            <p:cNvPr id="41" name="Gruppieren 40">
              <a:extLst>
                <a:ext uri="{FF2B5EF4-FFF2-40B4-BE49-F238E27FC236}">
                  <a16:creationId xmlns:a16="http://schemas.microsoft.com/office/drawing/2014/main" id="{E40C332B-E8E1-B926-24AF-E6C7737290DA}"/>
                </a:ext>
              </a:extLst>
            </p:cNvPr>
            <p:cNvGrpSpPr/>
            <p:nvPr/>
          </p:nvGrpSpPr>
          <p:grpSpPr>
            <a:xfrm>
              <a:off x="1513717" y="480756"/>
              <a:ext cx="1278899" cy="912160"/>
              <a:chOff x="867299" y="1464321"/>
              <a:chExt cx="1278899" cy="912160"/>
            </a:xfrm>
          </p:grpSpPr>
          <p:grpSp>
            <p:nvGrpSpPr>
              <p:cNvPr id="39" name="Gruppieren 38">
                <a:extLst>
                  <a:ext uri="{FF2B5EF4-FFF2-40B4-BE49-F238E27FC236}">
                    <a16:creationId xmlns:a16="http://schemas.microsoft.com/office/drawing/2014/main" id="{18A27173-C3D0-E677-7106-A2E9672797F6}"/>
                  </a:ext>
                </a:extLst>
              </p:cNvPr>
              <p:cNvGrpSpPr/>
              <p:nvPr/>
            </p:nvGrpSpPr>
            <p:grpSpPr>
              <a:xfrm>
                <a:off x="867299" y="1651468"/>
                <a:ext cx="803880" cy="725013"/>
                <a:chOff x="78338" y="2343809"/>
                <a:chExt cx="1097751" cy="914400"/>
              </a:xfrm>
            </p:grpSpPr>
            <p:pic>
              <p:nvPicPr>
                <p:cNvPr id="37" name="Grafik 36" descr="Cabriolet mit einfarbiger Füllung">
                  <a:extLst>
                    <a:ext uri="{FF2B5EF4-FFF2-40B4-BE49-F238E27FC236}">
                      <a16:creationId xmlns:a16="http://schemas.microsoft.com/office/drawing/2014/main" id="{4FC3E8A1-01F8-22BA-AA9B-C40FC4C55B59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9">
                  <a:extLst>
                    <a:ext uri="{96DAC541-7B7A-43D3-8B79-37D633B846F1}">
                      <asvg:svgBlip xmlns:asvg="http://schemas.microsoft.com/office/drawing/2016/SVG/main" r:embed="rId1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86188" y="2343809"/>
                  <a:ext cx="914401" cy="914400"/>
                </a:xfrm>
                <a:prstGeom prst="rect">
                  <a:avLst/>
                </a:prstGeom>
              </p:spPr>
            </p:pic>
            <p:sp>
              <p:nvSpPr>
                <p:cNvPr id="38" name="Rechteck 37">
                  <a:extLst>
                    <a:ext uri="{FF2B5EF4-FFF2-40B4-BE49-F238E27FC236}">
                      <a16:creationId xmlns:a16="http://schemas.microsoft.com/office/drawing/2014/main" id="{CF385BB7-FE9F-54C6-ACCE-B9993285A4C5}"/>
                    </a:ext>
                  </a:extLst>
                </p:cNvPr>
                <p:cNvSpPr/>
                <p:nvPr/>
              </p:nvSpPr>
              <p:spPr>
                <a:xfrm>
                  <a:off x="78338" y="2532530"/>
                  <a:ext cx="1097751" cy="575295"/>
                </a:xfrm>
                <a:prstGeom prst="rect">
                  <a:avLst/>
                </a:prstGeom>
                <a:noFill/>
                <a:ln>
                  <a:solidFill>
                    <a:schemeClr val="accent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lnSpc>
                      <a:spcPct val="114000"/>
                    </a:lnSpc>
                  </a:pPr>
                  <a:endParaRPr lang="de-DE"/>
                </a:p>
              </p:txBody>
            </p:sp>
          </p:grpSp>
          <p:sp>
            <p:nvSpPr>
              <p:cNvPr id="40" name="Textfeld 39">
                <a:extLst>
                  <a:ext uri="{FF2B5EF4-FFF2-40B4-BE49-F238E27FC236}">
                    <a16:creationId xmlns:a16="http://schemas.microsoft.com/office/drawing/2014/main" id="{8E336D70-0B72-11E7-8A28-DD587866CE27}"/>
                  </a:ext>
                </a:extLst>
              </p:cNvPr>
              <p:cNvSpPr txBox="1"/>
              <p:nvPr/>
            </p:nvSpPr>
            <p:spPr>
              <a:xfrm>
                <a:off x="1342318" y="1464321"/>
                <a:ext cx="803880" cy="305456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ctr">
                  <a:lnSpc>
                    <a:spcPct val="114000"/>
                  </a:lnSpc>
                </a:pPr>
                <a:r>
                  <a:rPr lang="de-DE" sz="1600" b="1">
                    <a:latin typeface="+mn-lt"/>
                  </a:rPr>
                  <a:t>41674</a:t>
                </a:r>
              </a:p>
            </p:txBody>
          </p:sp>
        </p:grpSp>
        <p:sp>
          <p:nvSpPr>
            <p:cNvPr id="42" name="Rechteck 41">
              <a:extLst>
                <a:ext uri="{FF2B5EF4-FFF2-40B4-BE49-F238E27FC236}">
                  <a16:creationId xmlns:a16="http://schemas.microsoft.com/office/drawing/2014/main" id="{AA2C9C7F-E324-DDCB-ED3E-8550B7A343A5}"/>
                </a:ext>
              </a:extLst>
            </p:cNvPr>
            <p:cNvSpPr/>
            <p:nvPr/>
          </p:nvSpPr>
          <p:spPr>
            <a:xfrm>
              <a:off x="2466958" y="817537"/>
              <a:ext cx="803879" cy="456142"/>
            </a:xfrm>
            <a:prstGeom prst="rect">
              <a:avLst/>
            </a:prstGeom>
            <a:noFill/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14000"/>
                </a:lnSpc>
              </a:pPr>
              <a:endParaRPr lang="de-DE"/>
            </a:p>
          </p:txBody>
        </p:sp>
      </p:grpSp>
      <p:sp>
        <p:nvSpPr>
          <p:cNvPr id="58" name="Textfeld 57">
            <a:extLst>
              <a:ext uri="{FF2B5EF4-FFF2-40B4-BE49-F238E27FC236}">
                <a16:creationId xmlns:a16="http://schemas.microsoft.com/office/drawing/2014/main" id="{AEBAA4E8-FA29-7199-9229-990608B98E86}"/>
              </a:ext>
            </a:extLst>
          </p:cNvPr>
          <p:cNvSpPr txBox="1"/>
          <p:nvPr/>
        </p:nvSpPr>
        <p:spPr>
          <a:xfrm>
            <a:off x="2734412" y="1775264"/>
            <a:ext cx="1751241" cy="19300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14000"/>
              </a:lnSpc>
            </a:pPr>
            <a:r>
              <a:rPr lang="en-GB" sz="1200">
                <a:latin typeface="+mn-lt"/>
              </a:rPr>
              <a:t>Pictures with / without car</a:t>
            </a:r>
          </a:p>
        </p:txBody>
      </p:sp>
      <p:sp>
        <p:nvSpPr>
          <p:cNvPr id="69" name="Textfeld 68">
            <a:extLst>
              <a:ext uri="{FF2B5EF4-FFF2-40B4-BE49-F238E27FC236}">
                <a16:creationId xmlns:a16="http://schemas.microsoft.com/office/drawing/2014/main" id="{A4AE1A50-85B1-AB50-724B-6C1803288887}"/>
              </a:ext>
            </a:extLst>
          </p:cNvPr>
          <p:cNvSpPr txBox="1"/>
          <p:nvPr/>
        </p:nvSpPr>
        <p:spPr>
          <a:xfrm>
            <a:off x="4478738" y="3933380"/>
            <a:ext cx="1020874" cy="40350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114000"/>
              </a:lnSpc>
            </a:pPr>
            <a:r>
              <a:rPr lang="en-GB" sz="1200">
                <a:latin typeface="+mn-lt"/>
              </a:rPr>
              <a:t>Damage bounding box</a:t>
            </a:r>
          </a:p>
        </p:txBody>
      </p:sp>
      <p:sp>
        <p:nvSpPr>
          <p:cNvPr id="70" name="Textfeld 69">
            <a:extLst>
              <a:ext uri="{FF2B5EF4-FFF2-40B4-BE49-F238E27FC236}">
                <a16:creationId xmlns:a16="http://schemas.microsoft.com/office/drawing/2014/main" id="{5CBEF878-D3EA-CE0B-4882-7EA56133BCE8}"/>
              </a:ext>
            </a:extLst>
          </p:cNvPr>
          <p:cNvSpPr txBox="1"/>
          <p:nvPr/>
        </p:nvSpPr>
        <p:spPr>
          <a:xfrm>
            <a:off x="3012734" y="3725399"/>
            <a:ext cx="1228623" cy="19300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114000"/>
              </a:lnSpc>
            </a:pPr>
            <a:r>
              <a:rPr lang="en-GB" sz="1200">
                <a:latin typeface="+mn-lt"/>
              </a:rPr>
              <a:t>Pictures with car</a:t>
            </a:r>
          </a:p>
        </p:txBody>
      </p:sp>
      <p:sp>
        <p:nvSpPr>
          <p:cNvPr id="113" name="Textfeld 112">
            <a:extLst>
              <a:ext uri="{FF2B5EF4-FFF2-40B4-BE49-F238E27FC236}">
                <a16:creationId xmlns:a16="http://schemas.microsoft.com/office/drawing/2014/main" id="{70247E99-2036-E728-6CDC-A51242936833}"/>
              </a:ext>
            </a:extLst>
          </p:cNvPr>
          <p:cNvSpPr txBox="1"/>
          <p:nvPr/>
        </p:nvSpPr>
        <p:spPr>
          <a:xfrm>
            <a:off x="6469326" y="2291056"/>
            <a:ext cx="1288526" cy="19300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114000"/>
              </a:lnSpc>
            </a:pPr>
            <a:r>
              <a:rPr lang="en-GB" sz="1200">
                <a:latin typeface="+mn-lt"/>
              </a:rPr>
              <a:t>Possible labelling</a:t>
            </a:r>
          </a:p>
        </p:txBody>
      </p:sp>
      <p:sp>
        <p:nvSpPr>
          <p:cNvPr id="2" name="Arrow: Pentagon 1">
            <a:extLst>
              <a:ext uri="{FF2B5EF4-FFF2-40B4-BE49-F238E27FC236}">
                <a16:creationId xmlns:a16="http://schemas.microsoft.com/office/drawing/2014/main" id="{0884EA3B-F9D9-4A9D-9DA7-B22655040689}"/>
              </a:ext>
            </a:extLst>
          </p:cNvPr>
          <p:cNvSpPr/>
          <p:nvPr/>
        </p:nvSpPr>
        <p:spPr>
          <a:xfrm>
            <a:off x="1839563" y="2250514"/>
            <a:ext cx="922055" cy="546581"/>
          </a:xfrm>
          <a:prstGeom prst="homePlat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114000"/>
              </a:lnSpc>
            </a:pPr>
            <a:r>
              <a:rPr lang="en-US" sz="900">
                <a:solidFill>
                  <a:schemeClr val="tx1"/>
                </a:solidFill>
              </a:rPr>
              <a:t>No JSON entry</a:t>
            </a:r>
          </a:p>
        </p:txBody>
      </p:sp>
      <p:sp>
        <p:nvSpPr>
          <p:cNvPr id="83" name="Arrow: Pentagon 82">
            <a:extLst>
              <a:ext uri="{FF2B5EF4-FFF2-40B4-BE49-F238E27FC236}">
                <a16:creationId xmlns:a16="http://schemas.microsoft.com/office/drawing/2014/main" id="{7E44AEBF-6A85-4693-BE9D-6B47F16AB9D0}"/>
              </a:ext>
            </a:extLst>
          </p:cNvPr>
          <p:cNvSpPr/>
          <p:nvPr/>
        </p:nvSpPr>
        <p:spPr>
          <a:xfrm>
            <a:off x="1839563" y="3004581"/>
            <a:ext cx="922055" cy="546581"/>
          </a:xfrm>
          <a:prstGeom prst="homePlat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114000"/>
              </a:lnSpc>
            </a:pPr>
            <a:r>
              <a:rPr lang="en-US" sz="900">
                <a:solidFill>
                  <a:schemeClr val="tx1"/>
                </a:solidFill>
              </a:rPr>
              <a:t>With JSON entry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79A2C1D3-623F-4EE7-B805-19BFC4DBC600}"/>
              </a:ext>
            </a:extLst>
          </p:cNvPr>
          <p:cNvGrpSpPr/>
          <p:nvPr/>
        </p:nvGrpSpPr>
        <p:grpSpPr>
          <a:xfrm>
            <a:off x="3291056" y="2972575"/>
            <a:ext cx="671979" cy="610593"/>
            <a:chOff x="2269248" y="2056454"/>
            <a:chExt cx="671979" cy="610593"/>
          </a:xfrm>
        </p:grpSpPr>
        <p:pic>
          <p:nvPicPr>
            <p:cNvPr id="84" name="Grafik 36" descr="Cabriolet mit einfarbiger Füllung">
              <a:extLst>
                <a:ext uri="{FF2B5EF4-FFF2-40B4-BE49-F238E27FC236}">
                  <a16:creationId xmlns:a16="http://schemas.microsoft.com/office/drawing/2014/main" id="{C4588845-E2F4-49B8-BE89-45B5A75E316A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2335267" y="2056454"/>
              <a:ext cx="559743" cy="610593"/>
            </a:xfrm>
            <a:prstGeom prst="rect">
              <a:avLst/>
            </a:prstGeom>
          </p:spPr>
        </p:pic>
        <p:sp>
          <p:nvSpPr>
            <p:cNvPr id="86" name="Rechteck 37">
              <a:extLst>
                <a:ext uri="{FF2B5EF4-FFF2-40B4-BE49-F238E27FC236}">
                  <a16:creationId xmlns:a16="http://schemas.microsoft.com/office/drawing/2014/main" id="{3EF9734F-FE61-47DB-AB9E-2E8FAB8AC826}"/>
                </a:ext>
              </a:extLst>
            </p:cNvPr>
            <p:cNvSpPr/>
            <p:nvPr/>
          </p:nvSpPr>
          <p:spPr>
            <a:xfrm>
              <a:off x="2269248" y="2182473"/>
              <a:ext cx="671979" cy="384155"/>
            </a:xfrm>
            <a:prstGeom prst="rect">
              <a:avLst/>
            </a:prstGeom>
            <a:noFill/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14000"/>
                </a:lnSpc>
              </a:pPr>
              <a:endParaRPr lang="de-DE"/>
            </a:p>
          </p:txBody>
        </p:sp>
      </p:grpSp>
      <p:sp>
        <p:nvSpPr>
          <p:cNvPr id="88" name="Textfeld 46">
            <a:extLst>
              <a:ext uri="{FF2B5EF4-FFF2-40B4-BE49-F238E27FC236}">
                <a16:creationId xmlns:a16="http://schemas.microsoft.com/office/drawing/2014/main" id="{81686290-0875-4D5F-9396-9407F1C5CA7B}"/>
              </a:ext>
            </a:extLst>
          </p:cNvPr>
          <p:cNvSpPr txBox="1"/>
          <p:nvPr/>
        </p:nvSpPr>
        <p:spPr>
          <a:xfrm>
            <a:off x="3325602" y="3501932"/>
            <a:ext cx="602886" cy="25725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114000"/>
              </a:lnSpc>
            </a:pPr>
            <a:r>
              <a:rPr lang="de-DE" sz="1600" b="1">
                <a:latin typeface="+mn-lt"/>
              </a:rPr>
              <a:t>9585</a:t>
            </a:r>
          </a:p>
        </p:txBody>
      </p:sp>
      <p:sp>
        <p:nvSpPr>
          <p:cNvPr id="91" name="Arrow: Pentagon 90">
            <a:extLst>
              <a:ext uri="{FF2B5EF4-FFF2-40B4-BE49-F238E27FC236}">
                <a16:creationId xmlns:a16="http://schemas.microsoft.com/office/drawing/2014/main" id="{46823540-3ED6-4F7B-9C0B-47E29C63AD50}"/>
              </a:ext>
            </a:extLst>
          </p:cNvPr>
          <p:cNvSpPr/>
          <p:nvPr/>
        </p:nvSpPr>
        <p:spPr>
          <a:xfrm>
            <a:off x="4530962" y="3004581"/>
            <a:ext cx="922055" cy="546581"/>
          </a:xfrm>
          <a:prstGeom prst="homePlat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114000"/>
              </a:lnSpc>
            </a:pPr>
            <a:r>
              <a:rPr lang="en-US" sz="900">
                <a:solidFill>
                  <a:schemeClr val="tx1"/>
                </a:solidFill>
              </a:rPr>
              <a:t>With bounding box</a:t>
            </a:r>
          </a:p>
        </p:txBody>
      </p:sp>
      <p:grpSp>
        <p:nvGrpSpPr>
          <p:cNvPr id="94" name="Group 93">
            <a:extLst>
              <a:ext uri="{FF2B5EF4-FFF2-40B4-BE49-F238E27FC236}">
                <a16:creationId xmlns:a16="http://schemas.microsoft.com/office/drawing/2014/main" id="{79E10DDE-F458-4312-957A-C49D96AE960C}"/>
              </a:ext>
            </a:extLst>
          </p:cNvPr>
          <p:cNvGrpSpPr/>
          <p:nvPr/>
        </p:nvGrpSpPr>
        <p:grpSpPr>
          <a:xfrm>
            <a:off x="5591079" y="2972575"/>
            <a:ext cx="671979" cy="610593"/>
            <a:chOff x="2269248" y="2056454"/>
            <a:chExt cx="671979" cy="610593"/>
          </a:xfrm>
        </p:grpSpPr>
        <p:pic>
          <p:nvPicPr>
            <p:cNvPr id="95" name="Grafik 36" descr="Cabriolet mit einfarbiger Füllung">
              <a:extLst>
                <a:ext uri="{FF2B5EF4-FFF2-40B4-BE49-F238E27FC236}">
                  <a16:creationId xmlns:a16="http://schemas.microsoft.com/office/drawing/2014/main" id="{AE3046D6-0686-4741-833D-D9779A5924B8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2335267" y="2056454"/>
              <a:ext cx="559743" cy="610593"/>
            </a:xfrm>
            <a:prstGeom prst="rect">
              <a:avLst/>
            </a:prstGeom>
          </p:spPr>
        </p:pic>
        <p:sp>
          <p:nvSpPr>
            <p:cNvPr id="98" name="Rechteck 37">
              <a:extLst>
                <a:ext uri="{FF2B5EF4-FFF2-40B4-BE49-F238E27FC236}">
                  <a16:creationId xmlns:a16="http://schemas.microsoft.com/office/drawing/2014/main" id="{F24F43EC-65BF-47F6-9038-E7CB3DEB7684}"/>
                </a:ext>
              </a:extLst>
            </p:cNvPr>
            <p:cNvSpPr/>
            <p:nvPr/>
          </p:nvSpPr>
          <p:spPr>
            <a:xfrm>
              <a:off x="2269248" y="2182473"/>
              <a:ext cx="671979" cy="384155"/>
            </a:xfrm>
            <a:prstGeom prst="rect">
              <a:avLst/>
            </a:prstGeom>
            <a:noFill/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14000"/>
                </a:lnSpc>
              </a:pPr>
              <a:endParaRPr lang="de-DE"/>
            </a:p>
          </p:txBody>
        </p:sp>
      </p:grpSp>
      <p:sp>
        <p:nvSpPr>
          <p:cNvPr id="99" name="Textfeld 46">
            <a:extLst>
              <a:ext uri="{FF2B5EF4-FFF2-40B4-BE49-F238E27FC236}">
                <a16:creationId xmlns:a16="http://schemas.microsoft.com/office/drawing/2014/main" id="{B580BBB4-1ADE-4712-B90C-9310A7EE25F2}"/>
              </a:ext>
            </a:extLst>
          </p:cNvPr>
          <p:cNvSpPr txBox="1"/>
          <p:nvPr/>
        </p:nvSpPr>
        <p:spPr>
          <a:xfrm>
            <a:off x="5625625" y="3501932"/>
            <a:ext cx="602886" cy="25725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114000"/>
              </a:lnSpc>
            </a:pPr>
            <a:r>
              <a:rPr lang="de-DE" sz="1600" b="1">
                <a:latin typeface="+mn-lt"/>
              </a:rPr>
              <a:t>897</a:t>
            </a:r>
          </a:p>
        </p:txBody>
      </p:sp>
      <p:pic>
        <p:nvPicPr>
          <p:cNvPr id="93" name="Grafik 52" descr="Kollision mit einfarbiger Füllung">
            <a:extLst>
              <a:ext uri="{FF2B5EF4-FFF2-40B4-BE49-F238E27FC236}">
                <a16:creationId xmlns:a16="http://schemas.microsoft.com/office/drawing/2014/main" id="{D97C1B8C-DAF7-4A02-ACF6-44E60EBC5B3E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5992551" y="3119721"/>
            <a:ext cx="221330" cy="221330"/>
          </a:xfrm>
          <a:prstGeom prst="rect">
            <a:avLst/>
          </a:prstGeom>
        </p:spPr>
      </p:pic>
      <p:sp>
        <p:nvSpPr>
          <p:cNvPr id="100" name="Arrow: Pentagon 99">
            <a:extLst>
              <a:ext uri="{FF2B5EF4-FFF2-40B4-BE49-F238E27FC236}">
                <a16:creationId xmlns:a16="http://schemas.microsoft.com/office/drawing/2014/main" id="{EB387BC9-6958-4D98-9814-A79EEE24D8D7}"/>
              </a:ext>
            </a:extLst>
          </p:cNvPr>
          <p:cNvSpPr/>
          <p:nvPr/>
        </p:nvSpPr>
        <p:spPr>
          <a:xfrm>
            <a:off x="6453444" y="2952114"/>
            <a:ext cx="660145" cy="339287"/>
          </a:xfrm>
          <a:prstGeom prst="homePlat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114000"/>
              </a:lnSpc>
            </a:pPr>
            <a:r>
              <a:rPr lang="en-US" sz="900">
                <a:solidFill>
                  <a:schemeClr val="tx1"/>
                </a:solidFill>
              </a:rPr>
              <a:t>scratch</a:t>
            </a: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2F592759-5A68-4C0D-96E7-3C15BC01DDFC}"/>
              </a:ext>
            </a:extLst>
          </p:cNvPr>
          <p:cNvGrpSpPr/>
          <p:nvPr/>
        </p:nvGrpSpPr>
        <p:grpSpPr>
          <a:xfrm>
            <a:off x="7190097" y="2488456"/>
            <a:ext cx="580803" cy="523822"/>
            <a:chOff x="6219367" y="1988913"/>
            <a:chExt cx="580803" cy="523822"/>
          </a:xfrm>
        </p:grpSpPr>
        <p:grpSp>
          <p:nvGrpSpPr>
            <p:cNvPr id="12" name="Group 11">
              <a:extLst>
                <a:ext uri="{FF2B5EF4-FFF2-40B4-BE49-F238E27FC236}">
                  <a16:creationId xmlns:a16="http://schemas.microsoft.com/office/drawing/2014/main" id="{B540B5B8-1A22-4062-82F8-7736DD8E0AC6}"/>
                </a:ext>
              </a:extLst>
            </p:cNvPr>
            <p:cNvGrpSpPr>
              <a:grpSpLocks/>
            </p:cNvGrpSpPr>
            <p:nvPr/>
          </p:nvGrpSpPr>
          <p:grpSpPr>
            <a:xfrm>
              <a:off x="6219367" y="1988913"/>
              <a:ext cx="580803" cy="523822"/>
              <a:chOff x="7135724" y="2287128"/>
              <a:chExt cx="803880" cy="725013"/>
            </a:xfrm>
          </p:grpSpPr>
          <p:grpSp>
            <p:nvGrpSpPr>
              <p:cNvPr id="71" name="Gruppieren 70">
                <a:extLst>
                  <a:ext uri="{FF2B5EF4-FFF2-40B4-BE49-F238E27FC236}">
                    <a16:creationId xmlns:a16="http://schemas.microsoft.com/office/drawing/2014/main" id="{C5172048-F4A4-D6E2-5C91-4F92A978B071}"/>
                  </a:ext>
                </a:extLst>
              </p:cNvPr>
              <p:cNvGrpSpPr/>
              <p:nvPr/>
            </p:nvGrpSpPr>
            <p:grpSpPr>
              <a:xfrm>
                <a:off x="7135724" y="2287128"/>
                <a:ext cx="803880" cy="725013"/>
                <a:chOff x="6536141" y="2349574"/>
                <a:chExt cx="803880" cy="725013"/>
              </a:xfrm>
            </p:grpSpPr>
            <p:pic>
              <p:nvPicPr>
                <p:cNvPr id="65" name="Grafik 64" descr="Cabriolet mit einfarbiger Füllung">
                  <a:extLst>
                    <a:ext uri="{FF2B5EF4-FFF2-40B4-BE49-F238E27FC236}">
                      <a16:creationId xmlns:a16="http://schemas.microsoft.com/office/drawing/2014/main" id="{EA1113BC-C704-05AB-DC9D-0CDBE2822FB0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9">
                  <a:extLst>
                    <a:ext uri="{96DAC541-7B7A-43D3-8B79-37D633B846F1}">
                      <asvg:svgBlip xmlns:asvg="http://schemas.microsoft.com/office/drawing/2016/SVG/main" r:embed="rId1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615119" y="2349574"/>
                  <a:ext cx="669613" cy="725013"/>
                </a:xfrm>
                <a:prstGeom prst="rect">
                  <a:avLst/>
                </a:prstGeom>
              </p:spPr>
            </p:pic>
            <p:sp>
              <p:nvSpPr>
                <p:cNvPr id="66" name="Rechteck 65">
                  <a:extLst>
                    <a:ext uri="{FF2B5EF4-FFF2-40B4-BE49-F238E27FC236}">
                      <a16:creationId xmlns:a16="http://schemas.microsoft.com/office/drawing/2014/main" id="{5EB79EA4-D63C-A42A-726D-9C2FB2D6B4B4}"/>
                    </a:ext>
                  </a:extLst>
                </p:cNvPr>
                <p:cNvSpPr/>
                <p:nvPr/>
              </p:nvSpPr>
              <p:spPr>
                <a:xfrm>
                  <a:off x="6536141" y="2499208"/>
                  <a:ext cx="803880" cy="456142"/>
                </a:xfrm>
                <a:prstGeom prst="rect">
                  <a:avLst/>
                </a:prstGeom>
                <a:noFill/>
                <a:ln w="18352">
                  <a:solidFill>
                    <a:schemeClr val="accent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66065" tIns="33033" rIns="66065" bIns="33033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lnSpc>
                      <a:spcPct val="114000"/>
                    </a:lnSpc>
                  </a:pPr>
                  <a:endParaRPr lang="de-DE"/>
                </a:p>
              </p:txBody>
            </p:sp>
          </p:grpSp>
          <p:sp>
            <p:nvSpPr>
              <p:cNvPr id="79" name="Textfeld 78">
                <a:extLst>
                  <a:ext uri="{FF2B5EF4-FFF2-40B4-BE49-F238E27FC236}">
                    <a16:creationId xmlns:a16="http://schemas.microsoft.com/office/drawing/2014/main" id="{858CC7A1-7F3C-F20C-C77B-14249ADE7042}"/>
                  </a:ext>
                </a:extLst>
              </p:cNvPr>
              <p:cNvSpPr txBox="1"/>
              <p:nvPr/>
            </p:nvSpPr>
            <p:spPr>
              <a:xfrm>
                <a:off x="7616364" y="2430336"/>
                <a:ext cx="304246" cy="109261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r">
                  <a:lnSpc>
                    <a:spcPct val="114000"/>
                  </a:lnSpc>
                </a:pPr>
                <a:r>
                  <a:rPr lang="en-GB" sz="578">
                    <a:latin typeface="+mn-lt"/>
                  </a:rPr>
                  <a:t>dent</a:t>
                </a:r>
              </a:p>
            </p:txBody>
          </p:sp>
        </p:grpSp>
        <p:sp>
          <p:nvSpPr>
            <p:cNvPr id="78" name="Ellipse 77">
              <a:extLst>
                <a:ext uri="{FF2B5EF4-FFF2-40B4-BE49-F238E27FC236}">
                  <a16:creationId xmlns:a16="http://schemas.microsoft.com/office/drawing/2014/main" id="{D3F6409B-E2C0-0DFD-BB22-768626C30B70}"/>
                </a:ext>
              </a:extLst>
            </p:cNvPr>
            <p:cNvSpPr/>
            <p:nvPr/>
          </p:nvSpPr>
          <p:spPr>
            <a:xfrm>
              <a:off x="6521824" y="2221778"/>
              <a:ext cx="36000" cy="36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14000"/>
                </a:lnSpc>
              </a:pPr>
              <a:endParaRPr lang="de-DE"/>
            </a:p>
          </p:txBody>
        </p:sp>
      </p:grpSp>
      <p:grpSp>
        <p:nvGrpSpPr>
          <p:cNvPr id="15" name="Group 14">
            <a:extLst>
              <a:ext uri="{FF2B5EF4-FFF2-40B4-BE49-F238E27FC236}">
                <a16:creationId xmlns:a16="http://schemas.microsoft.com/office/drawing/2014/main" id="{89A1E2CE-FCF8-4769-AFE5-916D6501C5B0}"/>
              </a:ext>
            </a:extLst>
          </p:cNvPr>
          <p:cNvGrpSpPr/>
          <p:nvPr/>
        </p:nvGrpSpPr>
        <p:grpSpPr>
          <a:xfrm>
            <a:off x="7190097" y="2859847"/>
            <a:ext cx="580803" cy="523822"/>
            <a:chOff x="6231211" y="2585922"/>
            <a:chExt cx="580803" cy="523822"/>
          </a:xfrm>
        </p:grpSpPr>
        <p:grpSp>
          <p:nvGrpSpPr>
            <p:cNvPr id="13" name="Group 12">
              <a:extLst>
                <a:ext uri="{FF2B5EF4-FFF2-40B4-BE49-F238E27FC236}">
                  <a16:creationId xmlns:a16="http://schemas.microsoft.com/office/drawing/2014/main" id="{C688BFB7-C45A-4798-A069-F7A3BFCFC4F7}"/>
                </a:ext>
              </a:extLst>
            </p:cNvPr>
            <p:cNvGrpSpPr>
              <a:grpSpLocks/>
            </p:cNvGrpSpPr>
            <p:nvPr/>
          </p:nvGrpSpPr>
          <p:grpSpPr>
            <a:xfrm>
              <a:off x="6231211" y="2585922"/>
              <a:ext cx="580803" cy="523822"/>
              <a:chOff x="7147568" y="2884137"/>
              <a:chExt cx="803880" cy="725013"/>
            </a:xfrm>
          </p:grpSpPr>
          <p:grpSp>
            <p:nvGrpSpPr>
              <p:cNvPr id="72" name="Gruppieren 71">
                <a:extLst>
                  <a:ext uri="{FF2B5EF4-FFF2-40B4-BE49-F238E27FC236}">
                    <a16:creationId xmlns:a16="http://schemas.microsoft.com/office/drawing/2014/main" id="{21231D85-323B-B115-7113-257E0379B6B5}"/>
                  </a:ext>
                </a:extLst>
              </p:cNvPr>
              <p:cNvGrpSpPr/>
              <p:nvPr/>
            </p:nvGrpSpPr>
            <p:grpSpPr>
              <a:xfrm>
                <a:off x="7147568" y="2884137"/>
                <a:ext cx="803880" cy="725013"/>
                <a:chOff x="6536141" y="2349574"/>
                <a:chExt cx="803880" cy="725013"/>
              </a:xfrm>
            </p:grpSpPr>
            <p:pic>
              <p:nvPicPr>
                <p:cNvPr id="73" name="Grafik 72" descr="Cabriolet mit einfarbiger Füllung">
                  <a:extLst>
                    <a:ext uri="{FF2B5EF4-FFF2-40B4-BE49-F238E27FC236}">
                      <a16:creationId xmlns:a16="http://schemas.microsoft.com/office/drawing/2014/main" id="{2631BADB-E5A7-2F2D-F6BF-0333031B8964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9">
                  <a:extLst>
                    <a:ext uri="{96DAC541-7B7A-43D3-8B79-37D633B846F1}">
                      <asvg:svgBlip xmlns:asvg="http://schemas.microsoft.com/office/drawing/2016/SVG/main" r:embed="rId1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615119" y="2349574"/>
                  <a:ext cx="669613" cy="725013"/>
                </a:xfrm>
                <a:prstGeom prst="rect">
                  <a:avLst/>
                </a:prstGeom>
              </p:spPr>
            </p:pic>
            <p:sp>
              <p:nvSpPr>
                <p:cNvPr id="74" name="Rechteck 73">
                  <a:extLst>
                    <a:ext uri="{FF2B5EF4-FFF2-40B4-BE49-F238E27FC236}">
                      <a16:creationId xmlns:a16="http://schemas.microsoft.com/office/drawing/2014/main" id="{C4D32758-CEBC-AA77-E7F8-0C96749FDB78}"/>
                    </a:ext>
                  </a:extLst>
                </p:cNvPr>
                <p:cNvSpPr/>
                <p:nvPr/>
              </p:nvSpPr>
              <p:spPr>
                <a:xfrm>
                  <a:off x="6536141" y="2499208"/>
                  <a:ext cx="803880" cy="456142"/>
                </a:xfrm>
                <a:prstGeom prst="rect">
                  <a:avLst/>
                </a:prstGeom>
                <a:noFill/>
                <a:ln w="18352">
                  <a:solidFill>
                    <a:schemeClr val="accent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66065" tIns="33033" rIns="66065" bIns="33033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lnSpc>
                      <a:spcPct val="114000"/>
                    </a:lnSpc>
                  </a:pPr>
                  <a:endParaRPr lang="de-DE"/>
                </a:p>
              </p:txBody>
            </p:sp>
          </p:grpSp>
          <p:sp>
            <p:nvSpPr>
              <p:cNvPr id="90" name="Textfeld 89">
                <a:extLst>
                  <a:ext uri="{FF2B5EF4-FFF2-40B4-BE49-F238E27FC236}">
                    <a16:creationId xmlns:a16="http://schemas.microsoft.com/office/drawing/2014/main" id="{C92D4662-68FE-6D53-61E2-2C45F3DF487E}"/>
                  </a:ext>
                </a:extLst>
              </p:cNvPr>
              <p:cNvSpPr txBox="1"/>
              <p:nvPr/>
            </p:nvSpPr>
            <p:spPr>
              <a:xfrm>
                <a:off x="7504015" y="3025930"/>
                <a:ext cx="427206" cy="109261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r">
                  <a:lnSpc>
                    <a:spcPct val="114000"/>
                  </a:lnSpc>
                </a:pPr>
                <a:r>
                  <a:rPr lang="en-GB" sz="578">
                    <a:latin typeface="+mn-lt"/>
                  </a:rPr>
                  <a:t>scratch</a:t>
                </a:r>
              </a:p>
            </p:txBody>
          </p:sp>
        </p:grpSp>
        <p:grpSp>
          <p:nvGrpSpPr>
            <p:cNvPr id="89" name="Gruppieren 88">
              <a:extLst>
                <a:ext uri="{FF2B5EF4-FFF2-40B4-BE49-F238E27FC236}">
                  <a16:creationId xmlns:a16="http://schemas.microsoft.com/office/drawing/2014/main" id="{B3DA48E6-70BB-1326-0216-32F471DAC9A8}"/>
                </a:ext>
              </a:extLst>
            </p:cNvPr>
            <p:cNvGrpSpPr/>
            <p:nvPr/>
          </p:nvGrpSpPr>
          <p:grpSpPr>
            <a:xfrm>
              <a:off x="6431344" y="2828315"/>
              <a:ext cx="173964" cy="45719"/>
              <a:chOff x="7578436" y="2199442"/>
              <a:chExt cx="306677" cy="44556"/>
            </a:xfrm>
          </p:grpSpPr>
          <p:cxnSp>
            <p:nvCxnSpPr>
              <p:cNvPr id="81" name="Gerader Verbinder 80">
                <a:extLst>
                  <a:ext uri="{FF2B5EF4-FFF2-40B4-BE49-F238E27FC236}">
                    <a16:creationId xmlns:a16="http://schemas.microsoft.com/office/drawing/2014/main" id="{B25F904D-DA47-BC4C-6C52-41E499E9A986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7578436" y="2199442"/>
                <a:ext cx="76200" cy="44556"/>
              </a:xfrm>
              <a:prstGeom prst="line">
                <a:avLst/>
              </a:prstGeom>
              <a:ln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5" name="Gerader Verbinder 84">
                <a:extLst>
                  <a:ext uri="{FF2B5EF4-FFF2-40B4-BE49-F238E27FC236}">
                    <a16:creationId xmlns:a16="http://schemas.microsoft.com/office/drawing/2014/main" id="{49AA50D0-D39C-CEA9-5737-44937529E174}"/>
                  </a:ext>
                </a:extLst>
              </p:cNvPr>
              <p:cNvCxnSpPr/>
              <p:nvPr/>
            </p:nvCxnSpPr>
            <p:spPr>
              <a:xfrm>
                <a:off x="7654636" y="2199442"/>
                <a:ext cx="117764" cy="44556"/>
              </a:xfrm>
              <a:prstGeom prst="line">
                <a:avLst/>
              </a:prstGeom>
              <a:ln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7" name="Gerader Verbinder 86">
                <a:extLst>
                  <a:ext uri="{FF2B5EF4-FFF2-40B4-BE49-F238E27FC236}">
                    <a16:creationId xmlns:a16="http://schemas.microsoft.com/office/drawing/2014/main" id="{387C6D2C-0395-280E-5A2D-FF0FCC5F02C4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7772400" y="2199442"/>
                <a:ext cx="112713" cy="44556"/>
              </a:xfrm>
              <a:prstGeom prst="line">
                <a:avLst/>
              </a:prstGeom>
              <a:ln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18" name="Group 17">
            <a:extLst>
              <a:ext uri="{FF2B5EF4-FFF2-40B4-BE49-F238E27FC236}">
                <a16:creationId xmlns:a16="http://schemas.microsoft.com/office/drawing/2014/main" id="{64DF0293-63CB-43BC-9A97-8B2B2283225B}"/>
              </a:ext>
            </a:extLst>
          </p:cNvPr>
          <p:cNvGrpSpPr/>
          <p:nvPr/>
        </p:nvGrpSpPr>
        <p:grpSpPr>
          <a:xfrm>
            <a:off x="7190097" y="3231366"/>
            <a:ext cx="580803" cy="523822"/>
            <a:chOff x="6231211" y="3179612"/>
            <a:chExt cx="580803" cy="523822"/>
          </a:xfrm>
        </p:grpSpPr>
        <p:grpSp>
          <p:nvGrpSpPr>
            <p:cNvPr id="14" name="Group 13">
              <a:extLst>
                <a:ext uri="{FF2B5EF4-FFF2-40B4-BE49-F238E27FC236}">
                  <a16:creationId xmlns:a16="http://schemas.microsoft.com/office/drawing/2014/main" id="{06A842EC-B918-4EC6-B7BC-ABB0773F8A47}"/>
                </a:ext>
              </a:extLst>
            </p:cNvPr>
            <p:cNvGrpSpPr>
              <a:grpSpLocks/>
            </p:cNvGrpSpPr>
            <p:nvPr/>
          </p:nvGrpSpPr>
          <p:grpSpPr>
            <a:xfrm>
              <a:off x="6231211" y="3179612"/>
              <a:ext cx="580803" cy="523822"/>
              <a:chOff x="7147568" y="3477827"/>
              <a:chExt cx="803880" cy="725013"/>
            </a:xfrm>
          </p:grpSpPr>
          <p:grpSp>
            <p:nvGrpSpPr>
              <p:cNvPr id="75" name="Gruppieren 74">
                <a:extLst>
                  <a:ext uri="{FF2B5EF4-FFF2-40B4-BE49-F238E27FC236}">
                    <a16:creationId xmlns:a16="http://schemas.microsoft.com/office/drawing/2014/main" id="{1501774C-1F34-D852-784F-5049E5FADF73}"/>
                  </a:ext>
                </a:extLst>
              </p:cNvPr>
              <p:cNvGrpSpPr/>
              <p:nvPr/>
            </p:nvGrpSpPr>
            <p:grpSpPr>
              <a:xfrm>
                <a:off x="7147568" y="3477827"/>
                <a:ext cx="803880" cy="725013"/>
                <a:chOff x="6536141" y="2349574"/>
                <a:chExt cx="803880" cy="725013"/>
              </a:xfrm>
            </p:grpSpPr>
            <p:pic>
              <p:nvPicPr>
                <p:cNvPr id="76" name="Grafik 75" descr="Cabriolet mit einfarbiger Füllung">
                  <a:extLst>
                    <a:ext uri="{FF2B5EF4-FFF2-40B4-BE49-F238E27FC236}">
                      <a16:creationId xmlns:a16="http://schemas.microsoft.com/office/drawing/2014/main" id="{37044C3D-7D50-9130-8190-FE95769D9E50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9">
                  <a:extLst>
                    <a:ext uri="{96DAC541-7B7A-43D3-8B79-37D633B846F1}">
                      <asvg:svgBlip xmlns:asvg="http://schemas.microsoft.com/office/drawing/2016/SVG/main" r:embed="rId1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615119" y="2349574"/>
                  <a:ext cx="669613" cy="725013"/>
                </a:xfrm>
                <a:prstGeom prst="rect">
                  <a:avLst/>
                </a:prstGeom>
              </p:spPr>
            </p:pic>
            <p:sp>
              <p:nvSpPr>
                <p:cNvPr id="77" name="Rechteck 76">
                  <a:extLst>
                    <a:ext uri="{FF2B5EF4-FFF2-40B4-BE49-F238E27FC236}">
                      <a16:creationId xmlns:a16="http://schemas.microsoft.com/office/drawing/2014/main" id="{D2899717-1ACF-FC6B-A212-9197B0CFD606}"/>
                    </a:ext>
                  </a:extLst>
                </p:cNvPr>
                <p:cNvSpPr/>
                <p:nvPr/>
              </p:nvSpPr>
              <p:spPr>
                <a:xfrm>
                  <a:off x="6536141" y="2499208"/>
                  <a:ext cx="803880" cy="456142"/>
                </a:xfrm>
                <a:prstGeom prst="rect">
                  <a:avLst/>
                </a:prstGeom>
                <a:noFill/>
                <a:ln w="18352">
                  <a:solidFill>
                    <a:schemeClr val="accent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66065" tIns="33033" rIns="66065" bIns="33033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lnSpc>
                      <a:spcPct val="114000"/>
                    </a:lnSpc>
                  </a:pPr>
                  <a:endParaRPr lang="de-DE"/>
                </a:p>
              </p:txBody>
            </p:sp>
          </p:grpSp>
          <p:sp>
            <p:nvSpPr>
              <p:cNvPr id="96" name="Textfeld 95">
                <a:extLst>
                  <a:ext uri="{FF2B5EF4-FFF2-40B4-BE49-F238E27FC236}">
                    <a16:creationId xmlns:a16="http://schemas.microsoft.com/office/drawing/2014/main" id="{EF74180E-BFB1-06F4-DDA6-68DA45D8B4E3}"/>
                  </a:ext>
                </a:extLst>
              </p:cNvPr>
              <p:cNvSpPr txBox="1"/>
              <p:nvPr/>
            </p:nvSpPr>
            <p:spPr>
              <a:xfrm>
                <a:off x="7504015" y="3615629"/>
                <a:ext cx="427206" cy="129128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r">
                  <a:lnSpc>
                    <a:spcPct val="114000"/>
                  </a:lnSpc>
                </a:pPr>
                <a:r>
                  <a:rPr lang="en-GB" sz="580"/>
                  <a:t>rim</a:t>
                </a:r>
              </a:p>
            </p:txBody>
          </p:sp>
        </p:grpSp>
        <p:cxnSp>
          <p:nvCxnSpPr>
            <p:cNvPr id="92" name="Gerader Verbinder 91">
              <a:extLst>
                <a:ext uri="{FF2B5EF4-FFF2-40B4-BE49-F238E27FC236}">
                  <a16:creationId xmlns:a16="http://schemas.microsoft.com/office/drawing/2014/main" id="{38C09DC8-6D42-8277-60F1-B237BCA878E3}"/>
                </a:ext>
              </a:extLst>
            </p:cNvPr>
            <p:cNvCxnSpPr>
              <a:cxnSpLocks/>
            </p:cNvCxnSpPr>
            <p:nvPr/>
          </p:nvCxnSpPr>
          <p:spPr>
            <a:xfrm>
              <a:off x="6655598" y="3471901"/>
              <a:ext cx="19111" cy="23251"/>
            </a:xfrm>
            <a:prstGeom prst="line">
              <a:avLst/>
            </a:prstGeom>
            <a:ln w="2857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03" name="Arrow: Pentagon 102">
            <a:extLst>
              <a:ext uri="{FF2B5EF4-FFF2-40B4-BE49-F238E27FC236}">
                <a16:creationId xmlns:a16="http://schemas.microsoft.com/office/drawing/2014/main" id="{F472D738-8633-4750-AF9B-DF42B109A44B}"/>
              </a:ext>
            </a:extLst>
          </p:cNvPr>
          <p:cNvSpPr/>
          <p:nvPr/>
        </p:nvSpPr>
        <p:spPr>
          <a:xfrm>
            <a:off x="6453444" y="3323634"/>
            <a:ext cx="660145" cy="339287"/>
          </a:xfrm>
          <a:prstGeom prst="homePlat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114000"/>
              </a:lnSpc>
            </a:pPr>
            <a:r>
              <a:rPr lang="en-US" sz="900">
                <a:solidFill>
                  <a:schemeClr val="tx1"/>
                </a:solidFill>
              </a:rPr>
              <a:t>rim</a:t>
            </a:r>
          </a:p>
        </p:txBody>
      </p:sp>
      <p:sp>
        <p:nvSpPr>
          <p:cNvPr id="110" name="Arrow: Pentagon 109">
            <a:extLst>
              <a:ext uri="{FF2B5EF4-FFF2-40B4-BE49-F238E27FC236}">
                <a16:creationId xmlns:a16="http://schemas.microsoft.com/office/drawing/2014/main" id="{C86349B6-BA73-4986-A749-2C572B9C219D}"/>
              </a:ext>
            </a:extLst>
          </p:cNvPr>
          <p:cNvSpPr/>
          <p:nvPr/>
        </p:nvSpPr>
        <p:spPr>
          <a:xfrm>
            <a:off x="6453444" y="2580724"/>
            <a:ext cx="660145" cy="339287"/>
          </a:xfrm>
          <a:prstGeom prst="homePlat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114000"/>
              </a:lnSpc>
            </a:pPr>
            <a:r>
              <a:rPr lang="en-US" sz="900">
                <a:solidFill>
                  <a:schemeClr val="tx1"/>
                </a:solidFill>
              </a:rPr>
              <a:t>dent</a:t>
            </a:r>
          </a:p>
        </p:txBody>
      </p:sp>
      <p:sp>
        <p:nvSpPr>
          <p:cNvPr id="114" name="Arrow: Pentagon 113">
            <a:extLst>
              <a:ext uri="{FF2B5EF4-FFF2-40B4-BE49-F238E27FC236}">
                <a16:creationId xmlns:a16="http://schemas.microsoft.com/office/drawing/2014/main" id="{6DABCEEC-CD41-4207-8EEB-5BA01B442B92}"/>
              </a:ext>
            </a:extLst>
          </p:cNvPr>
          <p:cNvSpPr/>
          <p:nvPr/>
        </p:nvSpPr>
        <p:spPr>
          <a:xfrm>
            <a:off x="6453444" y="3695154"/>
            <a:ext cx="660145" cy="339287"/>
          </a:xfrm>
          <a:prstGeom prst="homePlat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114000"/>
              </a:lnSpc>
            </a:pPr>
            <a:r>
              <a:rPr lang="en-US" sz="900">
                <a:solidFill>
                  <a:schemeClr val="tx1"/>
                </a:solidFill>
              </a:rPr>
              <a:t>other</a:t>
            </a:r>
          </a:p>
        </p:txBody>
      </p:sp>
      <p:grpSp>
        <p:nvGrpSpPr>
          <p:cNvPr id="123" name="Group 122">
            <a:extLst>
              <a:ext uri="{FF2B5EF4-FFF2-40B4-BE49-F238E27FC236}">
                <a16:creationId xmlns:a16="http://schemas.microsoft.com/office/drawing/2014/main" id="{32245342-7FBB-4091-9A22-D8F9B128CD84}"/>
              </a:ext>
            </a:extLst>
          </p:cNvPr>
          <p:cNvGrpSpPr>
            <a:grpSpLocks/>
          </p:cNvGrpSpPr>
          <p:nvPr/>
        </p:nvGrpSpPr>
        <p:grpSpPr>
          <a:xfrm>
            <a:off x="7190097" y="3611012"/>
            <a:ext cx="580803" cy="523822"/>
            <a:chOff x="7147568" y="3477827"/>
            <a:chExt cx="803880" cy="725013"/>
          </a:xfrm>
        </p:grpSpPr>
        <p:grpSp>
          <p:nvGrpSpPr>
            <p:cNvPr id="125" name="Gruppieren 74">
              <a:extLst>
                <a:ext uri="{FF2B5EF4-FFF2-40B4-BE49-F238E27FC236}">
                  <a16:creationId xmlns:a16="http://schemas.microsoft.com/office/drawing/2014/main" id="{44B5F71C-5918-42EF-8432-CE0AF38EB6EF}"/>
                </a:ext>
              </a:extLst>
            </p:cNvPr>
            <p:cNvGrpSpPr/>
            <p:nvPr/>
          </p:nvGrpSpPr>
          <p:grpSpPr>
            <a:xfrm>
              <a:off x="7147568" y="3477827"/>
              <a:ext cx="803880" cy="725013"/>
              <a:chOff x="6536141" y="2349574"/>
              <a:chExt cx="803880" cy="725013"/>
            </a:xfrm>
          </p:grpSpPr>
          <p:pic>
            <p:nvPicPr>
              <p:cNvPr id="127" name="Grafik 75" descr="Cabriolet mit einfarbiger Füllung">
                <a:extLst>
                  <a:ext uri="{FF2B5EF4-FFF2-40B4-BE49-F238E27FC236}">
                    <a16:creationId xmlns:a16="http://schemas.microsoft.com/office/drawing/2014/main" id="{85523C92-8FD4-48A0-8D29-459D6D85D47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">
                <a:extLst>
                  <a:ext uri="{96DAC541-7B7A-43D3-8B79-37D633B846F1}">
                    <asvg:svgBlip xmlns:asvg="http://schemas.microsoft.com/office/drawing/2016/SVG/main" r:embed="rId10"/>
                  </a:ext>
                </a:extLst>
              </a:blip>
              <a:stretch>
                <a:fillRect/>
              </a:stretch>
            </p:blipFill>
            <p:spPr>
              <a:xfrm>
                <a:off x="6615119" y="2349574"/>
                <a:ext cx="669613" cy="725013"/>
              </a:xfrm>
              <a:prstGeom prst="rect">
                <a:avLst/>
              </a:prstGeom>
            </p:spPr>
          </p:pic>
          <p:sp>
            <p:nvSpPr>
              <p:cNvPr id="128" name="Rechteck 76">
                <a:extLst>
                  <a:ext uri="{FF2B5EF4-FFF2-40B4-BE49-F238E27FC236}">
                    <a16:creationId xmlns:a16="http://schemas.microsoft.com/office/drawing/2014/main" id="{132B405D-B54D-4893-84A1-7CEBC2A88053}"/>
                  </a:ext>
                </a:extLst>
              </p:cNvPr>
              <p:cNvSpPr/>
              <p:nvPr/>
            </p:nvSpPr>
            <p:spPr>
              <a:xfrm>
                <a:off x="6536141" y="2499208"/>
                <a:ext cx="803880" cy="456142"/>
              </a:xfrm>
              <a:prstGeom prst="rect">
                <a:avLst/>
              </a:prstGeom>
              <a:noFill/>
              <a:ln w="18352"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66065" tIns="33033" rIns="66065" bIns="33033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lnSpc>
                    <a:spcPct val="114000"/>
                  </a:lnSpc>
                </a:pPr>
                <a:endParaRPr lang="de-DE"/>
              </a:p>
            </p:txBody>
          </p:sp>
        </p:grpSp>
        <p:sp>
          <p:nvSpPr>
            <p:cNvPr id="126" name="Textfeld 95">
              <a:extLst>
                <a:ext uri="{FF2B5EF4-FFF2-40B4-BE49-F238E27FC236}">
                  <a16:creationId xmlns:a16="http://schemas.microsoft.com/office/drawing/2014/main" id="{7C440FBE-4A73-4BB4-AD01-6F2BCD716E2B}"/>
                </a:ext>
              </a:extLst>
            </p:cNvPr>
            <p:cNvSpPr txBox="1"/>
            <p:nvPr/>
          </p:nvSpPr>
          <p:spPr>
            <a:xfrm>
              <a:off x="7504015" y="3615629"/>
              <a:ext cx="427206" cy="12912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r">
                <a:lnSpc>
                  <a:spcPct val="114000"/>
                </a:lnSpc>
              </a:pPr>
              <a:r>
                <a:rPr lang="en-GB" sz="580"/>
                <a:t>other</a:t>
              </a:r>
            </a:p>
          </p:txBody>
        </p:sp>
      </p:grpSp>
      <p:sp>
        <p:nvSpPr>
          <p:cNvPr id="129" name="Titel 2">
            <a:extLst>
              <a:ext uri="{FF2B5EF4-FFF2-40B4-BE49-F238E27FC236}">
                <a16:creationId xmlns:a16="http://schemas.microsoft.com/office/drawing/2014/main" id="{3E255BC9-C056-4532-B9E3-7AB6014F74F1}"/>
              </a:ext>
            </a:extLst>
          </p:cNvPr>
          <p:cNvSpPr txBox="1">
            <a:spLocks/>
          </p:cNvSpPr>
          <p:nvPr/>
        </p:nvSpPr>
        <p:spPr>
          <a:xfrm>
            <a:off x="1240722" y="945133"/>
            <a:ext cx="2598879" cy="3486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rtl="0" eaLnBrk="1" fontAlgn="base" hangingPunct="1">
              <a:lnSpc>
                <a:spcPts val="3200"/>
              </a:lnSpc>
              <a:spcBef>
                <a:spcPct val="0"/>
              </a:spcBef>
              <a:spcAft>
                <a:spcPct val="0"/>
              </a:spcAft>
              <a:defRPr lang="de-DE" sz="2500" b="0" kern="1200" noProof="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9pPr>
          </a:lstStyle>
          <a:p>
            <a:r>
              <a:rPr lang="en-US" sz="1400" b="1"/>
              <a:t>Task</a:t>
            </a:r>
            <a:r>
              <a:rPr lang="en-US" sz="1400"/>
              <a:t>: Categorize car damages</a:t>
            </a:r>
          </a:p>
        </p:txBody>
      </p:sp>
      <p:grpSp>
        <p:nvGrpSpPr>
          <p:cNvPr id="130" name="Group 129">
            <a:extLst>
              <a:ext uri="{FF2B5EF4-FFF2-40B4-BE49-F238E27FC236}">
                <a16:creationId xmlns:a16="http://schemas.microsoft.com/office/drawing/2014/main" id="{812F6D31-D142-470E-BD54-5C5969B3E019}"/>
              </a:ext>
            </a:extLst>
          </p:cNvPr>
          <p:cNvGrpSpPr>
            <a:grpSpLocks noChangeAspect="1"/>
          </p:cNvGrpSpPr>
          <p:nvPr/>
        </p:nvGrpSpPr>
        <p:grpSpPr>
          <a:xfrm>
            <a:off x="595141" y="749111"/>
            <a:ext cx="740667" cy="740667"/>
            <a:chOff x="5273675" y="2606675"/>
            <a:chExt cx="1644650" cy="1644650"/>
          </a:xfrm>
        </p:grpSpPr>
        <p:sp>
          <p:nvSpPr>
            <p:cNvPr id="131" name="AutoShape 3">
              <a:extLst>
                <a:ext uri="{FF2B5EF4-FFF2-40B4-BE49-F238E27FC236}">
                  <a16:creationId xmlns:a16="http://schemas.microsoft.com/office/drawing/2014/main" id="{18994677-F8A4-43FD-83F6-DD754FC7B0A9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5273675" y="2606675"/>
              <a:ext cx="1644650" cy="16446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132" name="Group 131">
              <a:extLst>
                <a:ext uri="{FF2B5EF4-FFF2-40B4-BE49-F238E27FC236}">
                  <a16:creationId xmlns:a16="http://schemas.microsoft.com/office/drawing/2014/main" id="{4E07D50B-D8EB-4157-8288-AE6963340437}"/>
                </a:ext>
              </a:extLst>
            </p:cNvPr>
            <p:cNvGrpSpPr/>
            <p:nvPr/>
          </p:nvGrpSpPr>
          <p:grpSpPr>
            <a:xfrm>
              <a:off x="5548313" y="2932113"/>
              <a:ext cx="1095375" cy="995362"/>
              <a:chOff x="5548313" y="2932113"/>
              <a:chExt cx="1095375" cy="995362"/>
            </a:xfrm>
          </p:grpSpPr>
          <p:sp>
            <p:nvSpPr>
              <p:cNvPr id="133" name="Freeform 5">
                <a:extLst>
                  <a:ext uri="{FF2B5EF4-FFF2-40B4-BE49-F238E27FC236}">
                    <a16:creationId xmlns:a16="http://schemas.microsoft.com/office/drawing/2014/main" id="{ECA947B4-8A03-40AF-A24A-1AC1ECC08FE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611813" y="3338513"/>
                <a:ext cx="968375" cy="536575"/>
              </a:xfrm>
              <a:custGeom>
                <a:avLst/>
                <a:gdLst>
                  <a:gd name="T0" fmla="*/ 1356 w 1358"/>
                  <a:gd name="T1" fmla="*/ 0 h 750"/>
                  <a:gd name="T2" fmla="*/ 2 w 1358"/>
                  <a:gd name="T3" fmla="*/ 0 h 750"/>
                  <a:gd name="T4" fmla="*/ 0 w 1358"/>
                  <a:gd name="T5" fmla="*/ 0 h 750"/>
                  <a:gd name="T6" fmla="*/ 0 w 1358"/>
                  <a:gd name="T7" fmla="*/ 750 h 750"/>
                  <a:gd name="T8" fmla="*/ 1358 w 1358"/>
                  <a:gd name="T9" fmla="*/ 750 h 750"/>
                  <a:gd name="T10" fmla="*/ 1358 w 1358"/>
                  <a:gd name="T11" fmla="*/ 0 h 750"/>
                  <a:gd name="T12" fmla="*/ 1356 w 1358"/>
                  <a:gd name="T13" fmla="*/ 0 h 750"/>
                  <a:gd name="T14" fmla="*/ 384 w 1358"/>
                  <a:gd name="T15" fmla="*/ 314 h 750"/>
                  <a:gd name="T16" fmla="*/ 429 w 1358"/>
                  <a:gd name="T17" fmla="*/ 300 h 750"/>
                  <a:gd name="T18" fmla="*/ 491 w 1358"/>
                  <a:gd name="T19" fmla="*/ 333 h 750"/>
                  <a:gd name="T20" fmla="*/ 558 w 1358"/>
                  <a:gd name="T21" fmla="*/ 429 h 750"/>
                  <a:gd name="T22" fmla="*/ 878 w 1358"/>
                  <a:gd name="T23" fmla="*/ 135 h 750"/>
                  <a:gd name="T24" fmla="*/ 929 w 1358"/>
                  <a:gd name="T25" fmla="*/ 115 h 750"/>
                  <a:gd name="T26" fmla="*/ 929 w 1358"/>
                  <a:gd name="T27" fmla="*/ 115 h 750"/>
                  <a:gd name="T28" fmla="*/ 986 w 1358"/>
                  <a:gd name="T29" fmla="*/ 140 h 750"/>
                  <a:gd name="T30" fmla="*/ 981 w 1358"/>
                  <a:gd name="T31" fmla="*/ 248 h 750"/>
                  <a:gd name="T32" fmla="*/ 597 w 1358"/>
                  <a:gd name="T33" fmla="*/ 601 h 750"/>
                  <a:gd name="T34" fmla="*/ 546 w 1358"/>
                  <a:gd name="T35" fmla="*/ 622 h 750"/>
                  <a:gd name="T36" fmla="*/ 537 w 1358"/>
                  <a:gd name="T37" fmla="*/ 621 h 750"/>
                  <a:gd name="T38" fmla="*/ 483 w 1358"/>
                  <a:gd name="T39" fmla="*/ 589 h 750"/>
                  <a:gd name="T40" fmla="*/ 366 w 1358"/>
                  <a:gd name="T41" fmla="*/ 421 h 750"/>
                  <a:gd name="T42" fmla="*/ 384 w 1358"/>
                  <a:gd name="T43" fmla="*/ 314 h 7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358" h="750">
                    <a:moveTo>
                      <a:pt x="1356" y="0"/>
                    </a:moveTo>
                    <a:cubicBezTo>
                      <a:pt x="2" y="0"/>
                      <a:pt x="2" y="0"/>
                      <a:pt x="2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750"/>
                      <a:pt x="0" y="750"/>
                      <a:pt x="0" y="750"/>
                    </a:cubicBezTo>
                    <a:cubicBezTo>
                      <a:pt x="1358" y="750"/>
                      <a:pt x="1358" y="750"/>
                      <a:pt x="1358" y="750"/>
                    </a:cubicBezTo>
                    <a:cubicBezTo>
                      <a:pt x="1358" y="0"/>
                      <a:pt x="1358" y="0"/>
                      <a:pt x="1358" y="0"/>
                    </a:cubicBezTo>
                    <a:lnTo>
                      <a:pt x="1356" y="0"/>
                    </a:lnTo>
                    <a:close/>
                    <a:moveTo>
                      <a:pt x="384" y="314"/>
                    </a:moveTo>
                    <a:cubicBezTo>
                      <a:pt x="397" y="305"/>
                      <a:pt x="413" y="300"/>
                      <a:pt x="429" y="300"/>
                    </a:cubicBezTo>
                    <a:cubicBezTo>
                      <a:pt x="454" y="300"/>
                      <a:pt x="477" y="312"/>
                      <a:pt x="491" y="333"/>
                    </a:cubicBezTo>
                    <a:cubicBezTo>
                      <a:pt x="558" y="429"/>
                      <a:pt x="558" y="429"/>
                      <a:pt x="558" y="429"/>
                    </a:cubicBezTo>
                    <a:cubicBezTo>
                      <a:pt x="878" y="135"/>
                      <a:pt x="878" y="135"/>
                      <a:pt x="878" y="135"/>
                    </a:cubicBezTo>
                    <a:cubicBezTo>
                      <a:pt x="892" y="122"/>
                      <a:pt x="910" y="115"/>
                      <a:pt x="929" y="115"/>
                    </a:cubicBezTo>
                    <a:cubicBezTo>
                      <a:pt x="929" y="115"/>
                      <a:pt x="929" y="115"/>
                      <a:pt x="929" y="115"/>
                    </a:cubicBezTo>
                    <a:cubicBezTo>
                      <a:pt x="951" y="115"/>
                      <a:pt x="971" y="124"/>
                      <a:pt x="986" y="140"/>
                    </a:cubicBezTo>
                    <a:cubicBezTo>
                      <a:pt x="1014" y="172"/>
                      <a:pt x="1012" y="220"/>
                      <a:pt x="981" y="248"/>
                    </a:cubicBezTo>
                    <a:cubicBezTo>
                      <a:pt x="597" y="601"/>
                      <a:pt x="597" y="601"/>
                      <a:pt x="597" y="601"/>
                    </a:cubicBezTo>
                    <a:cubicBezTo>
                      <a:pt x="583" y="614"/>
                      <a:pt x="565" y="622"/>
                      <a:pt x="546" y="622"/>
                    </a:cubicBezTo>
                    <a:cubicBezTo>
                      <a:pt x="543" y="622"/>
                      <a:pt x="540" y="621"/>
                      <a:pt x="537" y="621"/>
                    </a:cubicBezTo>
                    <a:cubicBezTo>
                      <a:pt x="516" y="619"/>
                      <a:pt x="496" y="607"/>
                      <a:pt x="483" y="589"/>
                    </a:cubicBezTo>
                    <a:cubicBezTo>
                      <a:pt x="366" y="421"/>
                      <a:pt x="366" y="421"/>
                      <a:pt x="366" y="421"/>
                    </a:cubicBezTo>
                    <a:cubicBezTo>
                      <a:pt x="342" y="387"/>
                      <a:pt x="350" y="339"/>
                      <a:pt x="384" y="314"/>
                    </a:cubicBez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4" name="Freeform 6">
                <a:extLst>
                  <a:ext uri="{FF2B5EF4-FFF2-40B4-BE49-F238E27FC236}">
                    <a16:creationId xmlns:a16="http://schemas.microsoft.com/office/drawing/2014/main" id="{522EB14B-35C3-445C-89E3-6C3465BBB92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548313" y="2932113"/>
                <a:ext cx="1095375" cy="995362"/>
              </a:xfrm>
              <a:custGeom>
                <a:avLst/>
                <a:gdLst>
                  <a:gd name="connsiteX0" fmla="*/ 726743 w 1095375"/>
                  <a:gd name="connsiteY0" fmla="*/ 520700 h 995362"/>
                  <a:gd name="connsiteX1" fmla="*/ 743898 w 1095375"/>
                  <a:gd name="connsiteY1" fmla="*/ 528535 h 995362"/>
                  <a:gd name="connsiteX2" fmla="*/ 742468 w 1095375"/>
                  <a:gd name="connsiteY2" fmla="*/ 561301 h 995362"/>
                  <a:gd name="connsiteX3" fmla="*/ 468703 w 1095375"/>
                  <a:gd name="connsiteY3" fmla="*/ 812740 h 995362"/>
                  <a:gd name="connsiteX4" fmla="*/ 452978 w 1095375"/>
                  <a:gd name="connsiteY4" fmla="*/ 819150 h 995362"/>
                  <a:gd name="connsiteX5" fmla="*/ 450119 w 1095375"/>
                  <a:gd name="connsiteY5" fmla="*/ 818438 h 995362"/>
                  <a:gd name="connsiteX6" fmla="*/ 433679 w 1095375"/>
                  <a:gd name="connsiteY6" fmla="*/ 809178 h 995362"/>
                  <a:gd name="connsiteX7" fmla="*/ 350048 w 1095375"/>
                  <a:gd name="connsiteY7" fmla="*/ 689513 h 995362"/>
                  <a:gd name="connsiteX8" fmla="*/ 355766 w 1095375"/>
                  <a:gd name="connsiteY8" fmla="*/ 656748 h 995362"/>
                  <a:gd name="connsiteX9" fmla="*/ 369348 w 1095375"/>
                  <a:gd name="connsiteY9" fmla="*/ 652474 h 995362"/>
                  <a:gd name="connsiteX10" fmla="*/ 387932 w 1095375"/>
                  <a:gd name="connsiteY10" fmla="*/ 662446 h 995362"/>
                  <a:gd name="connsiteX11" fmla="*/ 456552 w 1095375"/>
                  <a:gd name="connsiteY11" fmla="*/ 760742 h 995362"/>
                  <a:gd name="connsiteX12" fmla="*/ 711017 w 1095375"/>
                  <a:gd name="connsiteY12" fmla="*/ 527111 h 995362"/>
                  <a:gd name="connsiteX13" fmla="*/ 726743 w 1095375"/>
                  <a:gd name="connsiteY13" fmla="*/ 520700 h 995362"/>
                  <a:gd name="connsiteX14" fmla="*/ 65087 w 1095375"/>
                  <a:gd name="connsiteY14" fmla="*/ 130175 h 995362"/>
                  <a:gd name="connsiteX15" fmla="*/ 119976 w 1095375"/>
                  <a:gd name="connsiteY15" fmla="*/ 130175 h 995362"/>
                  <a:gd name="connsiteX16" fmla="*/ 119976 w 1095375"/>
                  <a:gd name="connsiteY16" fmla="*/ 178957 h 995362"/>
                  <a:gd name="connsiteX17" fmla="*/ 167024 w 1095375"/>
                  <a:gd name="connsiteY17" fmla="*/ 226305 h 995362"/>
                  <a:gd name="connsiteX18" fmla="*/ 249002 w 1095375"/>
                  <a:gd name="connsiteY18" fmla="*/ 226305 h 995362"/>
                  <a:gd name="connsiteX19" fmla="*/ 296051 w 1095375"/>
                  <a:gd name="connsiteY19" fmla="*/ 178957 h 995362"/>
                  <a:gd name="connsiteX20" fmla="*/ 296051 w 1095375"/>
                  <a:gd name="connsiteY20" fmla="*/ 130175 h 995362"/>
                  <a:gd name="connsiteX21" fmla="*/ 804314 w 1095375"/>
                  <a:gd name="connsiteY21" fmla="*/ 130175 h 995362"/>
                  <a:gd name="connsiteX22" fmla="*/ 804314 w 1095375"/>
                  <a:gd name="connsiteY22" fmla="*/ 178957 h 995362"/>
                  <a:gd name="connsiteX23" fmla="*/ 851362 w 1095375"/>
                  <a:gd name="connsiteY23" fmla="*/ 226305 h 995362"/>
                  <a:gd name="connsiteX24" fmla="*/ 933340 w 1095375"/>
                  <a:gd name="connsiteY24" fmla="*/ 226305 h 995362"/>
                  <a:gd name="connsiteX25" fmla="*/ 980388 w 1095375"/>
                  <a:gd name="connsiteY25" fmla="*/ 178957 h 995362"/>
                  <a:gd name="connsiteX26" fmla="*/ 980388 w 1095375"/>
                  <a:gd name="connsiteY26" fmla="*/ 130175 h 995362"/>
                  <a:gd name="connsiteX27" fmla="*/ 1030287 w 1095375"/>
                  <a:gd name="connsiteY27" fmla="*/ 130175 h 995362"/>
                  <a:gd name="connsiteX28" fmla="*/ 1030287 w 1095375"/>
                  <a:gd name="connsiteY28" fmla="*/ 376238 h 995362"/>
                  <a:gd name="connsiteX29" fmla="*/ 65087 w 1095375"/>
                  <a:gd name="connsiteY29" fmla="*/ 376238 h 995362"/>
                  <a:gd name="connsiteX30" fmla="*/ 65087 w 1095375"/>
                  <a:gd name="connsiteY30" fmla="*/ 130175 h 995362"/>
                  <a:gd name="connsiteX31" fmla="*/ 295275 w 1095375"/>
                  <a:gd name="connsiteY31" fmla="*/ 71437 h 995362"/>
                  <a:gd name="connsiteX32" fmla="*/ 804863 w 1095375"/>
                  <a:gd name="connsiteY32" fmla="*/ 71437 h 995362"/>
                  <a:gd name="connsiteX33" fmla="*/ 804863 w 1095375"/>
                  <a:gd name="connsiteY33" fmla="*/ 98425 h 995362"/>
                  <a:gd name="connsiteX34" fmla="*/ 295275 w 1095375"/>
                  <a:gd name="connsiteY34" fmla="*/ 98425 h 995362"/>
                  <a:gd name="connsiteX35" fmla="*/ 15709 w 1095375"/>
                  <a:gd name="connsiteY35" fmla="*/ 71437 h 995362"/>
                  <a:gd name="connsiteX36" fmla="*/ 119249 w 1095375"/>
                  <a:gd name="connsiteY36" fmla="*/ 71437 h 995362"/>
                  <a:gd name="connsiteX37" fmla="*/ 119249 w 1095375"/>
                  <a:gd name="connsiteY37" fmla="*/ 97835 h 995362"/>
                  <a:gd name="connsiteX38" fmla="*/ 31419 w 1095375"/>
                  <a:gd name="connsiteY38" fmla="*/ 97835 h 995362"/>
                  <a:gd name="connsiteX39" fmla="*/ 31419 w 1095375"/>
                  <a:gd name="connsiteY39" fmla="*/ 968251 h 995362"/>
                  <a:gd name="connsiteX40" fmla="*/ 1063956 w 1095375"/>
                  <a:gd name="connsiteY40" fmla="*/ 968251 h 995362"/>
                  <a:gd name="connsiteX41" fmla="*/ 1063956 w 1095375"/>
                  <a:gd name="connsiteY41" fmla="*/ 97835 h 995362"/>
                  <a:gd name="connsiteX42" fmla="*/ 981125 w 1095375"/>
                  <a:gd name="connsiteY42" fmla="*/ 97835 h 995362"/>
                  <a:gd name="connsiteX43" fmla="*/ 981125 w 1095375"/>
                  <a:gd name="connsiteY43" fmla="*/ 71437 h 995362"/>
                  <a:gd name="connsiteX44" fmla="*/ 1079666 w 1095375"/>
                  <a:gd name="connsiteY44" fmla="*/ 71437 h 995362"/>
                  <a:gd name="connsiteX45" fmla="*/ 1095375 w 1095375"/>
                  <a:gd name="connsiteY45" fmla="*/ 87133 h 995362"/>
                  <a:gd name="connsiteX46" fmla="*/ 1095375 w 1095375"/>
                  <a:gd name="connsiteY46" fmla="*/ 979666 h 995362"/>
                  <a:gd name="connsiteX47" fmla="*/ 1079666 w 1095375"/>
                  <a:gd name="connsiteY47" fmla="*/ 995362 h 995362"/>
                  <a:gd name="connsiteX48" fmla="*/ 15709 w 1095375"/>
                  <a:gd name="connsiteY48" fmla="*/ 995362 h 995362"/>
                  <a:gd name="connsiteX49" fmla="*/ 0 w 1095375"/>
                  <a:gd name="connsiteY49" fmla="*/ 979666 h 995362"/>
                  <a:gd name="connsiteX50" fmla="*/ 0 w 1095375"/>
                  <a:gd name="connsiteY50" fmla="*/ 87133 h 995362"/>
                  <a:gd name="connsiteX51" fmla="*/ 15709 w 1095375"/>
                  <a:gd name="connsiteY51" fmla="*/ 71437 h 995362"/>
                  <a:gd name="connsiteX52" fmla="*/ 852208 w 1095375"/>
                  <a:gd name="connsiteY52" fmla="*/ 0 h 995362"/>
                  <a:gd name="connsiteX53" fmla="*/ 933730 w 1095375"/>
                  <a:gd name="connsiteY53" fmla="*/ 0 h 995362"/>
                  <a:gd name="connsiteX54" fmla="*/ 949325 w 1095375"/>
                  <a:gd name="connsiteY54" fmla="*/ 15678 h 995362"/>
                  <a:gd name="connsiteX55" fmla="*/ 949325 w 1095375"/>
                  <a:gd name="connsiteY55" fmla="*/ 71977 h 995362"/>
                  <a:gd name="connsiteX56" fmla="*/ 949325 w 1095375"/>
                  <a:gd name="connsiteY56" fmla="*/ 98344 h 995362"/>
                  <a:gd name="connsiteX57" fmla="*/ 949325 w 1095375"/>
                  <a:gd name="connsiteY57" fmla="*/ 99770 h 995362"/>
                  <a:gd name="connsiteX58" fmla="*/ 949325 w 1095375"/>
                  <a:gd name="connsiteY58" fmla="*/ 103333 h 995362"/>
                  <a:gd name="connsiteX59" fmla="*/ 949325 w 1095375"/>
                  <a:gd name="connsiteY59" fmla="*/ 115448 h 995362"/>
                  <a:gd name="connsiteX60" fmla="*/ 949325 w 1095375"/>
                  <a:gd name="connsiteY60" fmla="*/ 131126 h 995362"/>
                  <a:gd name="connsiteX61" fmla="*/ 949325 w 1095375"/>
                  <a:gd name="connsiteY61" fmla="*/ 179585 h 995362"/>
                  <a:gd name="connsiteX62" fmla="*/ 933730 w 1095375"/>
                  <a:gd name="connsiteY62" fmla="*/ 195263 h 995362"/>
                  <a:gd name="connsiteX63" fmla="*/ 852208 w 1095375"/>
                  <a:gd name="connsiteY63" fmla="*/ 195263 h 995362"/>
                  <a:gd name="connsiteX64" fmla="*/ 836612 w 1095375"/>
                  <a:gd name="connsiteY64" fmla="*/ 179585 h 995362"/>
                  <a:gd name="connsiteX65" fmla="*/ 836612 w 1095375"/>
                  <a:gd name="connsiteY65" fmla="*/ 131126 h 995362"/>
                  <a:gd name="connsiteX66" fmla="*/ 836612 w 1095375"/>
                  <a:gd name="connsiteY66" fmla="*/ 115448 h 995362"/>
                  <a:gd name="connsiteX67" fmla="*/ 836612 w 1095375"/>
                  <a:gd name="connsiteY67" fmla="*/ 103333 h 995362"/>
                  <a:gd name="connsiteX68" fmla="*/ 836612 w 1095375"/>
                  <a:gd name="connsiteY68" fmla="*/ 99770 h 995362"/>
                  <a:gd name="connsiteX69" fmla="*/ 836612 w 1095375"/>
                  <a:gd name="connsiteY69" fmla="*/ 98344 h 995362"/>
                  <a:gd name="connsiteX70" fmla="*/ 836612 w 1095375"/>
                  <a:gd name="connsiteY70" fmla="*/ 71977 h 995362"/>
                  <a:gd name="connsiteX71" fmla="*/ 836612 w 1095375"/>
                  <a:gd name="connsiteY71" fmla="*/ 15678 h 995362"/>
                  <a:gd name="connsiteX72" fmla="*/ 852208 w 1095375"/>
                  <a:gd name="connsiteY72" fmla="*/ 0 h 995362"/>
                  <a:gd name="connsiteX73" fmla="*/ 166407 w 1095375"/>
                  <a:gd name="connsiteY73" fmla="*/ 0 h 995362"/>
                  <a:gd name="connsiteX74" fmla="*/ 247929 w 1095375"/>
                  <a:gd name="connsiteY74" fmla="*/ 0 h 995362"/>
                  <a:gd name="connsiteX75" fmla="*/ 263525 w 1095375"/>
                  <a:gd name="connsiteY75" fmla="*/ 15678 h 995362"/>
                  <a:gd name="connsiteX76" fmla="*/ 263525 w 1095375"/>
                  <a:gd name="connsiteY76" fmla="*/ 71977 h 995362"/>
                  <a:gd name="connsiteX77" fmla="*/ 263525 w 1095375"/>
                  <a:gd name="connsiteY77" fmla="*/ 98344 h 995362"/>
                  <a:gd name="connsiteX78" fmla="*/ 263525 w 1095375"/>
                  <a:gd name="connsiteY78" fmla="*/ 99770 h 995362"/>
                  <a:gd name="connsiteX79" fmla="*/ 263525 w 1095375"/>
                  <a:gd name="connsiteY79" fmla="*/ 103333 h 995362"/>
                  <a:gd name="connsiteX80" fmla="*/ 263525 w 1095375"/>
                  <a:gd name="connsiteY80" fmla="*/ 115448 h 995362"/>
                  <a:gd name="connsiteX81" fmla="*/ 263525 w 1095375"/>
                  <a:gd name="connsiteY81" fmla="*/ 131126 h 995362"/>
                  <a:gd name="connsiteX82" fmla="*/ 263525 w 1095375"/>
                  <a:gd name="connsiteY82" fmla="*/ 179585 h 995362"/>
                  <a:gd name="connsiteX83" fmla="*/ 247929 w 1095375"/>
                  <a:gd name="connsiteY83" fmla="*/ 195263 h 995362"/>
                  <a:gd name="connsiteX84" fmla="*/ 166407 w 1095375"/>
                  <a:gd name="connsiteY84" fmla="*/ 195263 h 995362"/>
                  <a:gd name="connsiteX85" fmla="*/ 150812 w 1095375"/>
                  <a:gd name="connsiteY85" fmla="*/ 179585 h 995362"/>
                  <a:gd name="connsiteX86" fmla="*/ 150812 w 1095375"/>
                  <a:gd name="connsiteY86" fmla="*/ 131126 h 995362"/>
                  <a:gd name="connsiteX87" fmla="*/ 150812 w 1095375"/>
                  <a:gd name="connsiteY87" fmla="*/ 115448 h 995362"/>
                  <a:gd name="connsiteX88" fmla="*/ 150812 w 1095375"/>
                  <a:gd name="connsiteY88" fmla="*/ 103333 h 995362"/>
                  <a:gd name="connsiteX89" fmla="*/ 150812 w 1095375"/>
                  <a:gd name="connsiteY89" fmla="*/ 99770 h 995362"/>
                  <a:gd name="connsiteX90" fmla="*/ 150812 w 1095375"/>
                  <a:gd name="connsiteY90" fmla="*/ 98344 h 995362"/>
                  <a:gd name="connsiteX91" fmla="*/ 150812 w 1095375"/>
                  <a:gd name="connsiteY91" fmla="*/ 71977 h 995362"/>
                  <a:gd name="connsiteX92" fmla="*/ 150812 w 1095375"/>
                  <a:gd name="connsiteY92" fmla="*/ 15678 h 995362"/>
                  <a:gd name="connsiteX93" fmla="*/ 166407 w 1095375"/>
                  <a:gd name="connsiteY93" fmla="*/ 0 h 9953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</a:cxnLst>
                <a:rect l="l" t="t" r="r" b="b"/>
                <a:pathLst>
                  <a:path w="1095375" h="995362">
                    <a:moveTo>
                      <a:pt x="726743" y="520700"/>
                    </a:moveTo>
                    <a:cubicBezTo>
                      <a:pt x="733176" y="520700"/>
                      <a:pt x="739609" y="523549"/>
                      <a:pt x="743898" y="528535"/>
                    </a:cubicBezTo>
                    <a:cubicBezTo>
                      <a:pt x="752475" y="537795"/>
                      <a:pt x="751760" y="552753"/>
                      <a:pt x="742468" y="561301"/>
                    </a:cubicBezTo>
                    <a:cubicBezTo>
                      <a:pt x="742468" y="561301"/>
                      <a:pt x="742468" y="561301"/>
                      <a:pt x="468703" y="812740"/>
                    </a:cubicBezTo>
                    <a:cubicBezTo>
                      <a:pt x="464415" y="816301"/>
                      <a:pt x="458696" y="819150"/>
                      <a:pt x="452978" y="819150"/>
                    </a:cubicBezTo>
                    <a:cubicBezTo>
                      <a:pt x="452263" y="819150"/>
                      <a:pt x="450834" y="818438"/>
                      <a:pt x="450119" y="818438"/>
                    </a:cubicBezTo>
                    <a:cubicBezTo>
                      <a:pt x="443686" y="817726"/>
                      <a:pt x="437967" y="814164"/>
                      <a:pt x="433679" y="809178"/>
                    </a:cubicBezTo>
                    <a:cubicBezTo>
                      <a:pt x="433679" y="809178"/>
                      <a:pt x="433679" y="809178"/>
                      <a:pt x="350048" y="689513"/>
                    </a:cubicBezTo>
                    <a:cubicBezTo>
                      <a:pt x="342900" y="678829"/>
                      <a:pt x="345045" y="664583"/>
                      <a:pt x="355766" y="656748"/>
                    </a:cubicBezTo>
                    <a:cubicBezTo>
                      <a:pt x="360055" y="653899"/>
                      <a:pt x="364344" y="652474"/>
                      <a:pt x="369348" y="652474"/>
                    </a:cubicBezTo>
                    <a:cubicBezTo>
                      <a:pt x="376495" y="652474"/>
                      <a:pt x="383643" y="656035"/>
                      <a:pt x="387932" y="662446"/>
                    </a:cubicBezTo>
                    <a:cubicBezTo>
                      <a:pt x="387932" y="662446"/>
                      <a:pt x="387932" y="662446"/>
                      <a:pt x="456552" y="760742"/>
                    </a:cubicBezTo>
                    <a:cubicBezTo>
                      <a:pt x="456552" y="760742"/>
                      <a:pt x="456552" y="760742"/>
                      <a:pt x="711017" y="527111"/>
                    </a:cubicBezTo>
                    <a:cubicBezTo>
                      <a:pt x="716021" y="522837"/>
                      <a:pt x="721024" y="520700"/>
                      <a:pt x="726743" y="520700"/>
                    </a:cubicBezTo>
                    <a:close/>
                    <a:moveTo>
                      <a:pt x="65087" y="130175"/>
                    </a:moveTo>
                    <a:cubicBezTo>
                      <a:pt x="65087" y="130175"/>
                      <a:pt x="65087" y="130175"/>
                      <a:pt x="119976" y="130175"/>
                    </a:cubicBezTo>
                    <a:lnTo>
                      <a:pt x="119976" y="178957"/>
                    </a:lnTo>
                    <a:cubicBezTo>
                      <a:pt x="119976" y="204783"/>
                      <a:pt x="141362" y="226305"/>
                      <a:pt x="167024" y="226305"/>
                    </a:cubicBezTo>
                    <a:cubicBezTo>
                      <a:pt x="167024" y="226305"/>
                      <a:pt x="167024" y="226305"/>
                      <a:pt x="249002" y="226305"/>
                    </a:cubicBezTo>
                    <a:cubicBezTo>
                      <a:pt x="274665" y="226305"/>
                      <a:pt x="296051" y="204783"/>
                      <a:pt x="296051" y="178957"/>
                    </a:cubicBezTo>
                    <a:cubicBezTo>
                      <a:pt x="296051" y="178957"/>
                      <a:pt x="296051" y="178957"/>
                      <a:pt x="296051" y="130175"/>
                    </a:cubicBezTo>
                    <a:cubicBezTo>
                      <a:pt x="296051" y="130175"/>
                      <a:pt x="296051" y="130175"/>
                      <a:pt x="804314" y="130175"/>
                    </a:cubicBezTo>
                    <a:cubicBezTo>
                      <a:pt x="804314" y="130175"/>
                      <a:pt x="804314" y="130175"/>
                      <a:pt x="804314" y="178957"/>
                    </a:cubicBezTo>
                    <a:cubicBezTo>
                      <a:pt x="804314" y="204783"/>
                      <a:pt x="825699" y="226305"/>
                      <a:pt x="851362" y="226305"/>
                    </a:cubicBezTo>
                    <a:cubicBezTo>
                      <a:pt x="851362" y="226305"/>
                      <a:pt x="851362" y="226305"/>
                      <a:pt x="933340" y="226305"/>
                    </a:cubicBezTo>
                    <a:cubicBezTo>
                      <a:pt x="959715" y="226305"/>
                      <a:pt x="980388" y="204783"/>
                      <a:pt x="980388" y="178957"/>
                    </a:cubicBezTo>
                    <a:cubicBezTo>
                      <a:pt x="980388" y="178957"/>
                      <a:pt x="980388" y="178957"/>
                      <a:pt x="980388" y="130175"/>
                    </a:cubicBezTo>
                    <a:cubicBezTo>
                      <a:pt x="980388" y="130175"/>
                      <a:pt x="980388" y="130175"/>
                      <a:pt x="1030287" y="130175"/>
                    </a:cubicBezTo>
                    <a:cubicBezTo>
                      <a:pt x="1030287" y="130175"/>
                      <a:pt x="1030287" y="130175"/>
                      <a:pt x="1030287" y="376238"/>
                    </a:cubicBezTo>
                    <a:cubicBezTo>
                      <a:pt x="1030287" y="376238"/>
                      <a:pt x="1030287" y="376238"/>
                      <a:pt x="65087" y="376238"/>
                    </a:cubicBezTo>
                    <a:cubicBezTo>
                      <a:pt x="65087" y="376238"/>
                      <a:pt x="65087" y="376238"/>
                      <a:pt x="65087" y="130175"/>
                    </a:cubicBezTo>
                    <a:close/>
                    <a:moveTo>
                      <a:pt x="295275" y="71437"/>
                    </a:moveTo>
                    <a:lnTo>
                      <a:pt x="804863" y="71437"/>
                    </a:lnTo>
                    <a:lnTo>
                      <a:pt x="804863" y="98425"/>
                    </a:lnTo>
                    <a:lnTo>
                      <a:pt x="295275" y="98425"/>
                    </a:lnTo>
                    <a:close/>
                    <a:moveTo>
                      <a:pt x="15709" y="71437"/>
                    </a:moveTo>
                    <a:cubicBezTo>
                      <a:pt x="15709" y="71437"/>
                      <a:pt x="15709" y="71437"/>
                      <a:pt x="119249" y="71437"/>
                    </a:cubicBezTo>
                    <a:cubicBezTo>
                      <a:pt x="119249" y="71437"/>
                      <a:pt x="119249" y="71437"/>
                      <a:pt x="119249" y="97835"/>
                    </a:cubicBezTo>
                    <a:cubicBezTo>
                      <a:pt x="119249" y="97835"/>
                      <a:pt x="119249" y="97835"/>
                      <a:pt x="31419" y="97835"/>
                    </a:cubicBezTo>
                    <a:cubicBezTo>
                      <a:pt x="31419" y="97835"/>
                      <a:pt x="31419" y="97835"/>
                      <a:pt x="31419" y="968251"/>
                    </a:cubicBezTo>
                    <a:cubicBezTo>
                      <a:pt x="31419" y="968251"/>
                      <a:pt x="31419" y="968251"/>
                      <a:pt x="1063956" y="968251"/>
                    </a:cubicBezTo>
                    <a:cubicBezTo>
                      <a:pt x="1063956" y="968251"/>
                      <a:pt x="1063956" y="968251"/>
                      <a:pt x="1063956" y="97835"/>
                    </a:cubicBezTo>
                    <a:cubicBezTo>
                      <a:pt x="1063956" y="97835"/>
                      <a:pt x="1063956" y="97835"/>
                      <a:pt x="981125" y="97835"/>
                    </a:cubicBezTo>
                    <a:cubicBezTo>
                      <a:pt x="981125" y="97835"/>
                      <a:pt x="981125" y="97835"/>
                      <a:pt x="981125" y="71437"/>
                    </a:cubicBezTo>
                    <a:cubicBezTo>
                      <a:pt x="981125" y="71437"/>
                      <a:pt x="981125" y="71437"/>
                      <a:pt x="1079666" y="71437"/>
                    </a:cubicBezTo>
                    <a:cubicBezTo>
                      <a:pt x="1088235" y="71437"/>
                      <a:pt x="1095375" y="78572"/>
                      <a:pt x="1095375" y="87133"/>
                    </a:cubicBezTo>
                    <a:cubicBezTo>
                      <a:pt x="1095375" y="87133"/>
                      <a:pt x="1095375" y="87133"/>
                      <a:pt x="1095375" y="979666"/>
                    </a:cubicBezTo>
                    <a:cubicBezTo>
                      <a:pt x="1095375" y="988228"/>
                      <a:pt x="1088235" y="995362"/>
                      <a:pt x="1079666" y="995362"/>
                    </a:cubicBezTo>
                    <a:cubicBezTo>
                      <a:pt x="1079666" y="995362"/>
                      <a:pt x="1079666" y="995362"/>
                      <a:pt x="15709" y="995362"/>
                    </a:cubicBezTo>
                    <a:cubicBezTo>
                      <a:pt x="7140" y="995362"/>
                      <a:pt x="0" y="988228"/>
                      <a:pt x="0" y="979666"/>
                    </a:cubicBezTo>
                    <a:cubicBezTo>
                      <a:pt x="0" y="979666"/>
                      <a:pt x="0" y="979666"/>
                      <a:pt x="0" y="87133"/>
                    </a:cubicBezTo>
                    <a:cubicBezTo>
                      <a:pt x="0" y="78572"/>
                      <a:pt x="7140" y="71437"/>
                      <a:pt x="15709" y="71437"/>
                    </a:cubicBezTo>
                    <a:close/>
                    <a:moveTo>
                      <a:pt x="852208" y="0"/>
                    </a:moveTo>
                    <a:cubicBezTo>
                      <a:pt x="852208" y="0"/>
                      <a:pt x="852208" y="0"/>
                      <a:pt x="933730" y="0"/>
                    </a:cubicBezTo>
                    <a:cubicBezTo>
                      <a:pt x="942945" y="0"/>
                      <a:pt x="949325" y="7126"/>
                      <a:pt x="949325" y="15678"/>
                    </a:cubicBezTo>
                    <a:cubicBezTo>
                      <a:pt x="949325" y="15678"/>
                      <a:pt x="949325" y="15678"/>
                      <a:pt x="949325" y="71977"/>
                    </a:cubicBezTo>
                    <a:cubicBezTo>
                      <a:pt x="949325" y="71977"/>
                      <a:pt x="949325" y="71977"/>
                      <a:pt x="949325" y="98344"/>
                    </a:cubicBezTo>
                    <a:cubicBezTo>
                      <a:pt x="949325" y="98344"/>
                      <a:pt x="949325" y="98344"/>
                      <a:pt x="949325" y="99770"/>
                    </a:cubicBezTo>
                    <a:cubicBezTo>
                      <a:pt x="949325" y="99770"/>
                      <a:pt x="949325" y="99770"/>
                      <a:pt x="949325" y="103333"/>
                    </a:cubicBezTo>
                    <a:cubicBezTo>
                      <a:pt x="949325" y="103333"/>
                      <a:pt x="949325" y="103333"/>
                      <a:pt x="949325" y="115448"/>
                    </a:cubicBezTo>
                    <a:cubicBezTo>
                      <a:pt x="949325" y="115448"/>
                      <a:pt x="949325" y="115448"/>
                      <a:pt x="949325" y="131126"/>
                    </a:cubicBezTo>
                    <a:cubicBezTo>
                      <a:pt x="949325" y="131126"/>
                      <a:pt x="949325" y="131126"/>
                      <a:pt x="949325" y="179585"/>
                    </a:cubicBezTo>
                    <a:cubicBezTo>
                      <a:pt x="949325" y="188137"/>
                      <a:pt x="942945" y="195263"/>
                      <a:pt x="933730" y="195263"/>
                    </a:cubicBezTo>
                    <a:cubicBezTo>
                      <a:pt x="933730" y="195263"/>
                      <a:pt x="933730" y="195263"/>
                      <a:pt x="852208" y="195263"/>
                    </a:cubicBezTo>
                    <a:cubicBezTo>
                      <a:pt x="843701" y="195263"/>
                      <a:pt x="836612" y="188137"/>
                      <a:pt x="836612" y="179585"/>
                    </a:cubicBezTo>
                    <a:cubicBezTo>
                      <a:pt x="836612" y="179585"/>
                      <a:pt x="836612" y="179585"/>
                      <a:pt x="836612" y="131126"/>
                    </a:cubicBezTo>
                    <a:cubicBezTo>
                      <a:pt x="836612" y="131126"/>
                      <a:pt x="836612" y="131126"/>
                      <a:pt x="836612" y="115448"/>
                    </a:cubicBezTo>
                    <a:cubicBezTo>
                      <a:pt x="836612" y="115448"/>
                      <a:pt x="836612" y="115448"/>
                      <a:pt x="836612" y="103333"/>
                    </a:cubicBezTo>
                    <a:cubicBezTo>
                      <a:pt x="836612" y="103333"/>
                      <a:pt x="836612" y="103333"/>
                      <a:pt x="836612" y="99770"/>
                    </a:cubicBezTo>
                    <a:cubicBezTo>
                      <a:pt x="836612" y="99770"/>
                      <a:pt x="836612" y="99770"/>
                      <a:pt x="836612" y="98344"/>
                    </a:cubicBezTo>
                    <a:cubicBezTo>
                      <a:pt x="836612" y="98344"/>
                      <a:pt x="836612" y="98344"/>
                      <a:pt x="836612" y="71977"/>
                    </a:cubicBezTo>
                    <a:cubicBezTo>
                      <a:pt x="836612" y="71977"/>
                      <a:pt x="836612" y="71977"/>
                      <a:pt x="836612" y="15678"/>
                    </a:cubicBezTo>
                    <a:cubicBezTo>
                      <a:pt x="836612" y="7126"/>
                      <a:pt x="843701" y="0"/>
                      <a:pt x="852208" y="0"/>
                    </a:cubicBezTo>
                    <a:close/>
                    <a:moveTo>
                      <a:pt x="166407" y="0"/>
                    </a:moveTo>
                    <a:cubicBezTo>
                      <a:pt x="166407" y="0"/>
                      <a:pt x="166407" y="0"/>
                      <a:pt x="247929" y="0"/>
                    </a:cubicBezTo>
                    <a:cubicBezTo>
                      <a:pt x="256436" y="0"/>
                      <a:pt x="263525" y="7126"/>
                      <a:pt x="263525" y="15678"/>
                    </a:cubicBezTo>
                    <a:cubicBezTo>
                      <a:pt x="263525" y="15678"/>
                      <a:pt x="263525" y="15678"/>
                      <a:pt x="263525" y="71977"/>
                    </a:cubicBezTo>
                    <a:cubicBezTo>
                      <a:pt x="263525" y="71977"/>
                      <a:pt x="263525" y="71977"/>
                      <a:pt x="263525" y="98344"/>
                    </a:cubicBezTo>
                    <a:cubicBezTo>
                      <a:pt x="263525" y="98344"/>
                      <a:pt x="263525" y="98344"/>
                      <a:pt x="263525" y="99770"/>
                    </a:cubicBezTo>
                    <a:cubicBezTo>
                      <a:pt x="263525" y="99770"/>
                      <a:pt x="263525" y="99770"/>
                      <a:pt x="263525" y="103333"/>
                    </a:cubicBezTo>
                    <a:cubicBezTo>
                      <a:pt x="263525" y="103333"/>
                      <a:pt x="263525" y="103333"/>
                      <a:pt x="263525" y="115448"/>
                    </a:cubicBezTo>
                    <a:cubicBezTo>
                      <a:pt x="263525" y="115448"/>
                      <a:pt x="263525" y="115448"/>
                      <a:pt x="263525" y="131126"/>
                    </a:cubicBezTo>
                    <a:cubicBezTo>
                      <a:pt x="263525" y="131126"/>
                      <a:pt x="263525" y="131126"/>
                      <a:pt x="263525" y="179585"/>
                    </a:cubicBezTo>
                    <a:cubicBezTo>
                      <a:pt x="263525" y="188137"/>
                      <a:pt x="256436" y="195263"/>
                      <a:pt x="247929" y="195263"/>
                    </a:cubicBezTo>
                    <a:cubicBezTo>
                      <a:pt x="247929" y="195263"/>
                      <a:pt x="247929" y="195263"/>
                      <a:pt x="166407" y="195263"/>
                    </a:cubicBezTo>
                    <a:cubicBezTo>
                      <a:pt x="157901" y="195263"/>
                      <a:pt x="150812" y="188137"/>
                      <a:pt x="150812" y="179585"/>
                    </a:cubicBezTo>
                    <a:cubicBezTo>
                      <a:pt x="150812" y="179585"/>
                      <a:pt x="150812" y="179585"/>
                      <a:pt x="150812" y="131126"/>
                    </a:cubicBezTo>
                    <a:cubicBezTo>
                      <a:pt x="150812" y="131126"/>
                      <a:pt x="150812" y="131126"/>
                      <a:pt x="150812" y="115448"/>
                    </a:cubicBezTo>
                    <a:cubicBezTo>
                      <a:pt x="150812" y="115448"/>
                      <a:pt x="150812" y="115448"/>
                      <a:pt x="150812" y="103333"/>
                    </a:cubicBezTo>
                    <a:cubicBezTo>
                      <a:pt x="150812" y="103333"/>
                      <a:pt x="150812" y="103333"/>
                      <a:pt x="150812" y="99770"/>
                    </a:cubicBezTo>
                    <a:cubicBezTo>
                      <a:pt x="150812" y="99770"/>
                      <a:pt x="150812" y="99770"/>
                      <a:pt x="150812" y="98344"/>
                    </a:cubicBezTo>
                    <a:cubicBezTo>
                      <a:pt x="150812" y="98344"/>
                      <a:pt x="150812" y="98344"/>
                      <a:pt x="150812" y="71977"/>
                    </a:cubicBezTo>
                    <a:cubicBezTo>
                      <a:pt x="150812" y="71977"/>
                      <a:pt x="150812" y="71977"/>
                      <a:pt x="150812" y="15678"/>
                    </a:cubicBezTo>
                    <a:cubicBezTo>
                      <a:pt x="150812" y="7126"/>
                      <a:pt x="157901" y="0"/>
                      <a:pt x="166407" y="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/>
              </a:p>
            </p:txBody>
          </p:sp>
        </p:grpSp>
      </p:grpSp>
      <p:sp>
        <p:nvSpPr>
          <p:cNvPr id="20" name="Speech Bubble: Rectangle 19">
            <a:extLst>
              <a:ext uri="{FF2B5EF4-FFF2-40B4-BE49-F238E27FC236}">
                <a16:creationId xmlns:a16="http://schemas.microsoft.com/office/drawing/2014/main" id="{350AA76B-1948-4637-AC8C-0BBB1CFC81C3}"/>
              </a:ext>
            </a:extLst>
          </p:cNvPr>
          <p:cNvSpPr/>
          <p:nvPr/>
        </p:nvSpPr>
        <p:spPr>
          <a:xfrm>
            <a:off x="4716138" y="1790251"/>
            <a:ext cx="1288526" cy="403617"/>
          </a:xfrm>
          <a:prstGeom prst="wedgeRectCallout">
            <a:avLst>
              <a:gd name="adj1" fmla="val -62950"/>
              <a:gd name="adj2" fmla="val 95654"/>
            </a:avLst>
          </a:prstGeom>
          <a:ln w="6350"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4000"/>
              </a:lnSpc>
            </a:pPr>
            <a:r>
              <a:rPr lang="en-US" sz="900"/>
              <a:t>JSON entries random or carefully selected?</a:t>
            </a:r>
          </a:p>
        </p:txBody>
      </p:sp>
      <p:sp>
        <p:nvSpPr>
          <p:cNvPr id="82" name="Fußzeilenplatzhalter 4">
            <a:extLst>
              <a:ext uri="{FF2B5EF4-FFF2-40B4-BE49-F238E27FC236}">
                <a16:creationId xmlns:a16="http://schemas.microsoft.com/office/drawing/2014/main" id="{E32804EF-5B8B-7AA6-85E1-01AF9D494BB3}"/>
              </a:ext>
            </a:extLst>
          </p:cNvPr>
          <p:cNvSpPr txBox="1">
            <a:spLocks/>
          </p:cNvSpPr>
          <p:nvPr/>
        </p:nvSpPr>
        <p:spPr>
          <a:xfrm>
            <a:off x="311162" y="4854985"/>
            <a:ext cx="7829538" cy="28851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1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r>
              <a:rPr lang="en-US" dirty="0">
                <a:latin typeface="Arial"/>
                <a:cs typeface="Arial"/>
              </a:rPr>
              <a:t>◻︎ Outline | ◻︎ Organizational</a:t>
            </a:r>
            <a:r>
              <a:rPr lang="en-US" b="1" dirty="0">
                <a:latin typeface="Arial"/>
                <a:cs typeface="Arial"/>
              </a:rPr>
              <a:t> </a:t>
            </a:r>
            <a:r>
              <a:rPr lang="en-US" dirty="0">
                <a:latin typeface="Arial"/>
                <a:cs typeface="Arial"/>
              </a:rPr>
              <a:t>structure</a:t>
            </a:r>
            <a:r>
              <a:rPr lang="en-US" b="1" dirty="0">
                <a:latin typeface="Arial"/>
                <a:cs typeface="Arial"/>
              </a:rPr>
              <a:t> </a:t>
            </a:r>
            <a:r>
              <a:rPr lang="en-US" dirty="0">
                <a:latin typeface="Arial"/>
                <a:cs typeface="Arial"/>
              </a:rPr>
              <a:t>| ◼︎ </a:t>
            </a:r>
            <a:r>
              <a:rPr lang="en-US" b="1" dirty="0">
                <a:latin typeface="Arial"/>
                <a:cs typeface="Arial"/>
              </a:rPr>
              <a:t>Research</a:t>
            </a:r>
            <a:r>
              <a:rPr lang="en-US" dirty="0">
                <a:latin typeface="Arial"/>
                <a:cs typeface="Arial"/>
              </a:rPr>
              <a:t> </a:t>
            </a:r>
            <a:r>
              <a:rPr lang="en-US" b="1" dirty="0">
                <a:latin typeface="Arial"/>
                <a:cs typeface="Arial"/>
              </a:rPr>
              <a:t>Topics</a:t>
            </a:r>
            <a:r>
              <a:rPr lang="en-US" dirty="0">
                <a:latin typeface="Arial"/>
                <a:cs typeface="Arial"/>
              </a:rPr>
              <a:t> | ◻︎ ML Pipeline  | ◻︎ Next steps</a:t>
            </a:r>
          </a:p>
        </p:txBody>
      </p:sp>
    </p:spTree>
    <p:extLst>
      <p:ext uri="{BB962C8B-B14F-4D97-AF65-F5344CB8AC3E}">
        <p14:creationId xmlns:p14="http://schemas.microsoft.com/office/powerpoint/2010/main" val="22863402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 advTm="20000"/>
    </mc:Choice>
    <mc:Fallback xmlns="">
      <p:transition spd="slow" advClick="0" advTm="20000"/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6BDC872E-2D5E-4910-8936-F6E0D86CBDC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6BDC872E-2D5E-4910-8936-F6E0D86CBD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el 2">
            <a:extLst>
              <a:ext uri="{FF2B5EF4-FFF2-40B4-BE49-F238E27FC236}">
                <a16:creationId xmlns:a16="http://schemas.microsoft.com/office/drawing/2014/main" id="{37327073-11DD-47A1-A0A3-AEC7A599651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7501" y="282065"/>
            <a:ext cx="7891317" cy="380810"/>
          </a:xfrm>
        </p:spPr>
        <p:txBody>
          <a:bodyPr vert="horz"/>
          <a:lstStyle/>
          <a:p>
            <a:r>
              <a:rPr lang="en-GB"/>
              <a:t>Problem setting: Obvious class imbalances</a:t>
            </a:r>
            <a:endParaRPr lang="en-GB">
              <a:cs typeface="Arial"/>
            </a:endParaRP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F623D925-8B03-4C79-B8CE-4001D099571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7</a:t>
            </a:fld>
            <a:endParaRPr lang="de-DE"/>
          </a:p>
        </p:txBody>
      </p:sp>
      <p:pic>
        <p:nvPicPr>
          <p:cNvPr id="8" name="Grafik 2" descr="countdown.gif">
            <a:extLst>
              <a:ext uri="{FF2B5EF4-FFF2-40B4-BE49-F238E27FC236}">
                <a16:creationId xmlns:a16="http://schemas.microsoft.com/office/drawing/2014/main" id="{9F18EF32-707B-47E4-B94B-5CA81854BA99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85113" y="4575685"/>
            <a:ext cx="1258887" cy="571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9" descr="A picture containing indoor&#10;&#10;Description automatically generated">
            <a:extLst>
              <a:ext uri="{FF2B5EF4-FFF2-40B4-BE49-F238E27FC236}">
                <a16:creationId xmlns:a16="http://schemas.microsoft.com/office/drawing/2014/main" id="{04F4E53A-F3D4-CF0E-6220-208D2797A887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r="11987" b="-376"/>
          <a:stretch/>
        </p:blipFill>
        <p:spPr>
          <a:xfrm>
            <a:off x="6042630" y="691500"/>
            <a:ext cx="2759256" cy="1961630"/>
          </a:xfrm>
          <a:prstGeom prst="rect">
            <a:avLst/>
          </a:prstGeom>
        </p:spPr>
      </p:pic>
      <p:cxnSp>
        <p:nvCxnSpPr>
          <p:cNvPr id="10" name="Straight Arrow Connector 9">
            <a:extLst>
              <a:ext uri="{FF2B5EF4-FFF2-40B4-BE49-F238E27FC236}">
                <a16:creationId xmlns:a16="http://schemas.microsoft.com/office/drawing/2014/main" id="{4313013D-2DDD-48A2-FCDE-8EE2323CF0DA}"/>
              </a:ext>
            </a:extLst>
          </p:cNvPr>
          <p:cNvCxnSpPr>
            <a:cxnSpLocks/>
            <a:stCxn id="14" idx="2"/>
            <a:endCxn id="16" idx="0"/>
          </p:cNvCxnSpPr>
          <p:nvPr/>
        </p:nvCxnSpPr>
        <p:spPr>
          <a:xfrm flipH="1">
            <a:off x="7422257" y="1674030"/>
            <a:ext cx="118642" cy="1037272"/>
          </a:xfrm>
          <a:prstGeom prst="straightConnector1">
            <a:avLst/>
          </a:prstGeom>
          <a:ln w="38100">
            <a:solidFill>
              <a:schemeClr val="tx2"/>
            </a:solidFill>
            <a:tailEnd type="triangle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</p:cxnSp>
      <p:sp>
        <p:nvSpPr>
          <p:cNvPr id="14" name="Rechteck 13">
            <a:extLst>
              <a:ext uri="{FF2B5EF4-FFF2-40B4-BE49-F238E27FC236}">
                <a16:creationId xmlns:a16="http://schemas.microsoft.com/office/drawing/2014/main" id="{B8F97FA9-1B39-F7AA-FE06-F58A9CBDFE23}"/>
              </a:ext>
            </a:extLst>
          </p:cNvPr>
          <p:cNvSpPr/>
          <p:nvPr/>
        </p:nvSpPr>
        <p:spPr>
          <a:xfrm>
            <a:off x="7360778" y="1386073"/>
            <a:ext cx="360242" cy="287957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4000"/>
              </a:lnSpc>
            </a:pPr>
            <a:endParaRPr lang="de-DE"/>
          </a:p>
        </p:txBody>
      </p:sp>
      <p:grpSp>
        <p:nvGrpSpPr>
          <p:cNvPr id="17" name="Gruppieren 16">
            <a:extLst>
              <a:ext uri="{FF2B5EF4-FFF2-40B4-BE49-F238E27FC236}">
                <a16:creationId xmlns:a16="http://schemas.microsoft.com/office/drawing/2014/main" id="{9651FDD5-9C38-62F6-7464-499D3FE98184}"/>
              </a:ext>
            </a:extLst>
          </p:cNvPr>
          <p:cNvGrpSpPr/>
          <p:nvPr/>
        </p:nvGrpSpPr>
        <p:grpSpPr>
          <a:xfrm>
            <a:off x="6042629" y="2711302"/>
            <a:ext cx="2759255" cy="1807202"/>
            <a:chOff x="4263159" y="1777136"/>
            <a:chExt cx="2889455" cy="2289389"/>
          </a:xfrm>
          <a:noFill/>
        </p:grpSpPr>
        <p:pic>
          <p:nvPicPr>
            <p:cNvPr id="6" name="Picture 8">
              <a:extLst>
                <a:ext uri="{FF2B5EF4-FFF2-40B4-BE49-F238E27FC236}">
                  <a16:creationId xmlns:a16="http://schemas.microsoft.com/office/drawing/2014/main" id="{211A9581-2BD6-4BDE-F153-5F98C1BA4198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4263159" y="1780821"/>
              <a:ext cx="2889455" cy="2285704"/>
            </a:xfrm>
            <a:prstGeom prst="rect">
              <a:avLst/>
            </a:prstGeom>
            <a:grpFill/>
            <a:ln>
              <a:solidFill>
                <a:schemeClr val="tx2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</p:pic>
        <p:sp>
          <p:nvSpPr>
            <p:cNvPr id="16" name="Rechteck 15">
              <a:extLst>
                <a:ext uri="{FF2B5EF4-FFF2-40B4-BE49-F238E27FC236}">
                  <a16:creationId xmlns:a16="http://schemas.microsoft.com/office/drawing/2014/main" id="{96AFF2E4-3B1E-1A37-1FEF-AD9FF936AF7E}"/>
                </a:ext>
              </a:extLst>
            </p:cNvPr>
            <p:cNvSpPr/>
            <p:nvPr/>
          </p:nvSpPr>
          <p:spPr>
            <a:xfrm>
              <a:off x="4263159" y="1777136"/>
              <a:ext cx="2889455" cy="2285704"/>
            </a:xfrm>
            <a:prstGeom prst="rect">
              <a:avLst/>
            </a:prstGeom>
            <a:grpFill/>
            <a:ln>
              <a:solidFill>
                <a:schemeClr val="tx2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14000"/>
                </a:lnSpc>
              </a:pPr>
              <a:endParaRPr lang="de-DE"/>
            </a:p>
          </p:txBody>
        </p:sp>
      </p:grpSp>
      <p:grpSp>
        <p:nvGrpSpPr>
          <p:cNvPr id="30" name="Group 29">
            <a:extLst>
              <a:ext uri="{FF2B5EF4-FFF2-40B4-BE49-F238E27FC236}">
                <a16:creationId xmlns:a16="http://schemas.microsoft.com/office/drawing/2014/main" id="{A727995C-D591-4F73-843F-C6601A594235}"/>
              </a:ext>
            </a:extLst>
          </p:cNvPr>
          <p:cNvGrpSpPr/>
          <p:nvPr/>
        </p:nvGrpSpPr>
        <p:grpSpPr>
          <a:xfrm>
            <a:off x="957567" y="3903952"/>
            <a:ext cx="4470644" cy="605230"/>
            <a:chOff x="957567" y="3970455"/>
            <a:chExt cx="4470644" cy="605230"/>
          </a:xfrm>
        </p:grpSpPr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E9A6CD16-95DC-0E41-5715-7C1B0342FA22}"/>
                </a:ext>
              </a:extLst>
            </p:cNvPr>
            <p:cNvSpPr txBox="1"/>
            <p:nvPr/>
          </p:nvSpPr>
          <p:spPr>
            <a:xfrm>
              <a:off x="1890671" y="3970455"/>
              <a:ext cx="3537540" cy="605230"/>
            </a:xfrm>
            <a:prstGeom prst="rect">
              <a:avLst/>
            </a:prstGeom>
            <a:noFill/>
          </p:spPr>
          <p:txBody>
            <a:bodyPr rot="0" spcFirstLastPara="0" vertOverflow="overflow" horzOverflow="overflow" vert="horz" wrap="square" lIns="0" tIns="0" rIns="0" bIns="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/>
            <a:p>
              <a:pPr>
                <a:lnSpc>
                  <a:spcPct val="113999"/>
                </a:lnSpc>
              </a:pPr>
              <a:r>
                <a:rPr lang="en-US" b="1">
                  <a:latin typeface="Arial"/>
                  <a:cs typeface="Arial"/>
                </a:rPr>
                <a:t>Data augmentation to increase size of training data</a:t>
              </a:r>
              <a:endParaRPr lang="en-US"/>
            </a:p>
          </p:txBody>
        </p:sp>
        <p:grpSp>
          <p:nvGrpSpPr>
            <p:cNvPr id="21" name="Group 20">
              <a:extLst>
                <a:ext uri="{FF2B5EF4-FFF2-40B4-BE49-F238E27FC236}">
                  <a16:creationId xmlns:a16="http://schemas.microsoft.com/office/drawing/2014/main" id="{1B5EAD50-ED3F-499C-8ADF-E1D308DD0989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957567" y="3995452"/>
              <a:ext cx="555237" cy="555237"/>
              <a:chOff x="982662" y="1847850"/>
              <a:chExt cx="269875" cy="269875"/>
            </a:xfrm>
          </p:grpSpPr>
          <p:sp>
            <p:nvSpPr>
              <p:cNvPr id="22" name="Oval 50">
                <a:extLst>
                  <a:ext uri="{FF2B5EF4-FFF2-40B4-BE49-F238E27FC236}">
                    <a16:creationId xmlns:a16="http://schemas.microsoft.com/office/drawing/2014/main" id="{F3F5838D-FA25-4CA5-8FCA-FDEF6E097F5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82662" y="1847850"/>
                <a:ext cx="269875" cy="269875"/>
              </a:xfrm>
              <a:prstGeom prst="ellipse">
                <a:avLst/>
              </a:prstGeom>
              <a:solidFill>
                <a:schemeClr val="tx2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chemeClr val="bg1"/>
                  </a:solidFill>
                </a:endParaRPr>
              </a:p>
            </p:txBody>
          </p:sp>
          <p:sp>
            <p:nvSpPr>
              <p:cNvPr id="23" name="Freeform 51">
                <a:extLst>
                  <a:ext uri="{FF2B5EF4-FFF2-40B4-BE49-F238E27FC236}">
                    <a16:creationId xmlns:a16="http://schemas.microsoft.com/office/drawing/2014/main" id="{A542E44C-0D5A-42B2-BD43-718A9433A6C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82675" y="1895475"/>
                <a:ext cx="96837" cy="174625"/>
              </a:xfrm>
              <a:custGeom>
                <a:avLst/>
                <a:gdLst>
                  <a:gd name="T0" fmla="*/ 6 w 61"/>
                  <a:gd name="T1" fmla="*/ 0 h 110"/>
                  <a:gd name="T2" fmla="*/ 0 w 61"/>
                  <a:gd name="T3" fmla="*/ 7 h 110"/>
                  <a:gd name="T4" fmla="*/ 48 w 61"/>
                  <a:gd name="T5" fmla="*/ 55 h 110"/>
                  <a:gd name="T6" fmla="*/ 0 w 61"/>
                  <a:gd name="T7" fmla="*/ 104 h 110"/>
                  <a:gd name="T8" fmla="*/ 6 w 61"/>
                  <a:gd name="T9" fmla="*/ 110 h 110"/>
                  <a:gd name="T10" fmla="*/ 54 w 61"/>
                  <a:gd name="T11" fmla="*/ 62 h 110"/>
                  <a:gd name="T12" fmla="*/ 61 w 61"/>
                  <a:gd name="T13" fmla="*/ 55 h 110"/>
                  <a:gd name="T14" fmla="*/ 54 w 61"/>
                  <a:gd name="T15" fmla="*/ 49 h 110"/>
                  <a:gd name="T16" fmla="*/ 6 w 61"/>
                  <a:gd name="T17" fmla="*/ 0 h 1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1" h="110">
                    <a:moveTo>
                      <a:pt x="6" y="0"/>
                    </a:moveTo>
                    <a:lnTo>
                      <a:pt x="0" y="7"/>
                    </a:lnTo>
                    <a:lnTo>
                      <a:pt x="48" y="55"/>
                    </a:lnTo>
                    <a:lnTo>
                      <a:pt x="0" y="104"/>
                    </a:lnTo>
                    <a:lnTo>
                      <a:pt x="6" y="110"/>
                    </a:lnTo>
                    <a:lnTo>
                      <a:pt x="54" y="62"/>
                    </a:lnTo>
                    <a:lnTo>
                      <a:pt x="61" y="55"/>
                    </a:lnTo>
                    <a:lnTo>
                      <a:pt x="54" y="49"/>
                    </a:lnTo>
                    <a:lnTo>
                      <a:pt x="6" y="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chemeClr val="bg1"/>
                  </a:solidFill>
                </a:endParaRPr>
              </a:p>
            </p:txBody>
          </p:sp>
        </p:grpSp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id="{A8E84DFB-2585-44E5-9E1C-DCA4DF33B497}"/>
              </a:ext>
            </a:extLst>
          </p:cNvPr>
          <p:cNvGrpSpPr/>
          <p:nvPr/>
        </p:nvGrpSpPr>
        <p:grpSpPr>
          <a:xfrm>
            <a:off x="243375" y="952948"/>
            <a:ext cx="5043521" cy="730800"/>
            <a:chOff x="243375" y="2787277"/>
            <a:chExt cx="5043521" cy="730800"/>
          </a:xfrm>
        </p:grpSpPr>
        <p:sp>
          <p:nvSpPr>
            <p:cNvPr id="20" name="Textfeld 12">
              <a:extLst>
                <a:ext uri="{FF2B5EF4-FFF2-40B4-BE49-F238E27FC236}">
                  <a16:creationId xmlns:a16="http://schemas.microsoft.com/office/drawing/2014/main" id="{B2E1E6EB-B70D-4BAA-94D3-7D6CEE0B3A63}"/>
                </a:ext>
              </a:extLst>
            </p:cNvPr>
            <p:cNvSpPr txBox="1"/>
            <p:nvPr/>
          </p:nvSpPr>
          <p:spPr>
            <a:xfrm>
              <a:off x="1092817" y="2883693"/>
              <a:ext cx="4194079" cy="53796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ct val="114000"/>
                </a:lnSpc>
              </a:pPr>
              <a:r>
                <a:rPr lang="en-GB" sz="1600">
                  <a:latin typeface="+mn-lt"/>
                </a:rPr>
                <a:t>Most damages take up very </a:t>
              </a:r>
              <a:r>
                <a:rPr lang="en-GB" sz="1600" b="1">
                  <a:latin typeface="+mn-lt"/>
                </a:rPr>
                <a:t>small</a:t>
              </a:r>
              <a:r>
                <a:rPr lang="en-GB" sz="1600">
                  <a:latin typeface="+mn-lt"/>
                </a:rPr>
                <a:t> areas of the whole frame</a:t>
              </a:r>
            </a:p>
          </p:txBody>
        </p:sp>
        <p:grpSp>
          <p:nvGrpSpPr>
            <p:cNvPr id="36" name="Group 35">
              <a:extLst>
                <a:ext uri="{FF2B5EF4-FFF2-40B4-BE49-F238E27FC236}">
                  <a16:creationId xmlns:a16="http://schemas.microsoft.com/office/drawing/2014/main" id="{483FEAF8-38E2-476F-9175-6C8B9FA7BDC8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243375" y="2787277"/>
              <a:ext cx="730800" cy="730800"/>
              <a:chOff x="1983582" y="2081213"/>
              <a:chExt cx="1646238" cy="1646237"/>
            </a:xfrm>
          </p:grpSpPr>
          <p:sp>
            <p:nvSpPr>
              <p:cNvPr id="37" name="AutoShape 90">
                <a:extLst>
                  <a:ext uri="{FF2B5EF4-FFF2-40B4-BE49-F238E27FC236}">
                    <a16:creationId xmlns:a16="http://schemas.microsoft.com/office/drawing/2014/main" id="{0A6B9A53-9FAD-44FA-94FF-C7CF7E645CB1}"/>
                  </a:ext>
                </a:extLst>
              </p:cNvPr>
              <p:cNvSpPr>
                <a:spLocks noChangeAspect="1" noChangeArrowheads="1" noTextEdit="1"/>
              </p:cNvSpPr>
              <p:nvPr/>
            </p:nvSpPr>
            <p:spPr bwMode="auto">
              <a:xfrm>
                <a:off x="1983582" y="2081213"/>
                <a:ext cx="1646238" cy="164623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575757"/>
                  </a:solidFill>
                </a:endParaRPr>
              </a:p>
            </p:txBody>
          </p:sp>
          <p:grpSp>
            <p:nvGrpSpPr>
              <p:cNvPr id="38" name="Group 37">
                <a:extLst>
                  <a:ext uri="{FF2B5EF4-FFF2-40B4-BE49-F238E27FC236}">
                    <a16:creationId xmlns:a16="http://schemas.microsoft.com/office/drawing/2014/main" id="{4BBEB8BA-8EDF-4D70-A6C7-63A6D39FFA67}"/>
                  </a:ext>
                </a:extLst>
              </p:cNvPr>
              <p:cNvGrpSpPr/>
              <p:nvPr/>
            </p:nvGrpSpPr>
            <p:grpSpPr>
              <a:xfrm>
                <a:off x="2137570" y="2235200"/>
                <a:ext cx="1336675" cy="1336675"/>
                <a:chOff x="2137570" y="2235200"/>
                <a:chExt cx="1336675" cy="1336675"/>
              </a:xfrm>
            </p:grpSpPr>
            <p:sp>
              <p:nvSpPr>
                <p:cNvPr id="39" name="Freeform 92">
                  <a:extLst>
                    <a:ext uri="{FF2B5EF4-FFF2-40B4-BE49-F238E27FC236}">
                      <a16:creationId xmlns:a16="http://schemas.microsoft.com/office/drawing/2014/main" id="{FAA6A8C5-DBB5-494B-BAB4-9D6DCF2D399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155032" y="2913063"/>
                  <a:ext cx="665163" cy="631825"/>
                </a:xfrm>
                <a:custGeom>
                  <a:avLst/>
                  <a:gdLst>
                    <a:gd name="T0" fmla="*/ 906 w 932"/>
                    <a:gd name="T1" fmla="*/ 0 h 884"/>
                    <a:gd name="T2" fmla="*/ 27 w 932"/>
                    <a:gd name="T3" fmla="*/ 0 h 884"/>
                    <a:gd name="T4" fmla="*/ 20 w 932"/>
                    <a:gd name="T5" fmla="*/ 1 h 884"/>
                    <a:gd name="T6" fmla="*/ 15 w 932"/>
                    <a:gd name="T7" fmla="*/ 3 h 884"/>
                    <a:gd name="T8" fmla="*/ 0 w 932"/>
                    <a:gd name="T9" fmla="*/ 26 h 884"/>
                    <a:gd name="T10" fmla="*/ 0 w 932"/>
                    <a:gd name="T11" fmla="*/ 859 h 884"/>
                    <a:gd name="T12" fmla="*/ 27 w 932"/>
                    <a:gd name="T13" fmla="*/ 884 h 884"/>
                    <a:gd name="T14" fmla="*/ 906 w 932"/>
                    <a:gd name="T15" fmla="*/ 884 h 884"/>
                    <a:gd name="T16" fmla="*/ 919 w 932"/>
                    <a:gd name="T17" fmla="*/ 880 h 884"/>
                    <a:gd name="T18" fmla="*/ 921 w 932"/>
                    <a:gd name="T19" fmla="*/ 879 h 884"/>
                    <a:gd name="T20" fmla="*/ 932 w 932"/>
                    <a:gd name="T21" fmla="*/ 859 h 884"/>
                    <a:gd name="T22" fmla="*/ 932 w 932"/>
                    <a:gd name="T23" fmla="*/ 26 h 884"/>
                    <a:gd name="T24" fmla="*/ 906 w 932"/>
                    <a:gd name="T25" fmla="*/ 0 h 88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932" h="884">
                      <a:moveTo>
                        <a:pt x="906" y="0"/>
                      </a:moveTo>
                      <a:cubicBezTo>
                        <a:pt x="27" y="0"/>
                        <a:pt x="27" y="0"/>
                        <a:pt x="27" y="0"/>
                      </a:cubicBezTo>
                      <a:cubicBezTo>
                        <a:pt x="25" y="0"/>
                        <a:pt x="22" y="1"/>
                        <a:pt x="20" y="1"/>
                      </a:cubicBezTo>
                      <a:cubicBezTo>
                        <a:pt x="18" y="2"/>
                        <a:pt x="17" y="3"/>
                        <a:pt x="15" y="3"/>
                      </a:cubicBezTo>
                      <a:cubicBezTo>
                        <a:pt x="7" y="7"/>
                        <a:pt x="0" y="16"/>
                        <a:pt x="0" y="26"/>
                      </a:cubicBezTo>
                      <a:cubicBezTo>
                        <a:pt x="0" y="859"/>
                        <a:pt x="0" y="859"/>
                        <a:pt x="0" y="859"/>
                      </a:cubicBezTo>
                      <a:cubicBezTo>
                        <a:pt x="0" y="873"/>
                        <a:pt x="12" y="884"/>
                        <a:pt x="27" y="884"/>
                      </a:cubicBezTo>
                      <a:cubicBezTo>
                        <a:pt x="906" y="884"/>
                        <a:pt x="906" y="884"/>
                        <a:pt x="906" y="884"/>
                      </a:cubicBezTo>
                      <a:cubicBezTo>
                        <a:pt x="911" y="884"/>
                        <a:pt x="915" y="883"/>
                        <a:pt x="919" y="880"/>
                      </a:cubicBezTo>
                      <a:cubicBezTo>
                        <a:pt x="920" y="880"/>
                        <a:pt x="921" y="880"/>
                        <a:pt x="921" y="879"/>
                      </a:cubicBezTo>
                      <a:cubicBezTo>
                        <a:pt x="928" y="875"/>
                        <a:pt x="932" y="867"/>
                        <a:pt x="932" y="859"/>
                      </a:cubicBezTo>
                      <a:cubicBezTo>
                        <a:pt x="932" y="26"/>
                        <a:pt x="932" y="26"/>
                        <a:pt x="932" y="26"/>
                      </a:cubicBezTo>
                      <a:cubicBezTo>
                        <a:pt x="932" y="12"/>
                        <a:pt x="920" y="0"/>
                        <a:pt x="906" y="0"/>
                      </a:cubicBezTo>
                      <a:close/>
                    </a:path>
                  </a:pathLst>
                </a:custGeom>
                <a:solidFill>
                  <a:schemeClr val="tx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solidFill>
                      <a:srgbClr val="575757"/>
                    </a:solidFill>
                  </a:endParaRPr>
                </a:p>
              </p:txBody>
            </p:sp>
            <p:sp>
              <p:nvSpPr>
                <p:cNvPr id="40" name="Freeform 93">
                  <a:extLst>
                    <a:ext uri="{FF2B5EF4-FFF2-40B4-BE49-F238E27FC236}">
                      <a16:creationId xmlns:a16="http://schemas.microsoft.com/office/drawing/2014/main" id="{F157F947-2C0D-4328-BE5A-A69308CE4450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2137570" y="2235200"/>
                  <a:ext cx="1336675" cy="1336675"/>
                </a:xfrm>
                <a:custGeom>
                  <a:avLst/>
                  <a:gdLst>
                    <a:gd name="T0" fmla="*/ 1872 w 1872"/>
                    <a:gd name="T1" fmla="*/ 44 h 1872"/>
                    <a:gd name="T2" fmla="*/ 1872 w 1872"/>
                    <a:gd name="T3" fmla="*/ 1828 h 1872"/>
                    <a:gd name="T4" fmla="*/ 1828 w 1872"/>
                    <a:gd name="T5" fmla="*/ 1872 h 1872"/>
                    <a:gd name="T6" fmla="*/ 957 w 1872"/>
                    <a:gd name="T7" fmla="*/ 1872 h 1872"/>
                    <a:gd name="T8" fmla="*/ 966 w 1872"/>
                    <a:gd name="T9" fmla="*/ 1867 h 1872"/>
                    <a:gd name="T10" fmla="*/ 997 w 1872"/>
                    <a:gd name="T11" fmla="*/ 1828 h 1872"/>
                    <a:gd name="T12" fmla="*/ 1828 w 1872"/>
                    <a:gd name="T13" fmla="*/ 1828 h 1872"/>
                    <a:gd name="T14" fmla="*/ 1828 w 1872"/>
                    <a:gd name="T15" fmla="*/ 44 h 1872"/>
                    <a:gd name="T16" fmla="*/ 44 w 1872"/>
                    <a:gd name="T17" fmla="*/ 44 h 1872"/>
                    <a:gd name="T18" fmla="*/ 44 w 1872"/>
                    <a:gd name="T19" fmla="*/ 906 h 1872"/>
                    <a:gd name="T20" fmla="*/ 19 w 1872"/>
                    <a:gd name="T21" fmla="*/ 913 h 1872"/>
                    <a:gd name="T22" fmla="*/ 0 w 1872"/>
                    <a:gd name="T23" fmla="*/ 927 h 1872"/>
                    <a:gd name="T24" fmla="*/ 0 w 1872"/>
                    <a:gd name="T25" fmla="*/ 44 h 1872"/>
                    <a:gd name="T26" fmla="*/ 44 w 1872"/>
                    <a:gd name="T27" fmla="*/ 0 h 1872"/>
                    <a:gd name="T28" fmla="*/ 1828 w 1872"/>
                    <a:gd name="T29" fmla="*/ 0 h 1872"/>
                    <a:gd name="T30" fmla="*/ 1872 w 1872"/>
                    <a:gd name="T31" fmla="*/ 44 h 1872"/>
                    <a:gd name="T32" fmla="*/ 1273 w 1872"/>
                    <a:gd name="T33" fmla="*/ 241 h 1872"/>
                    <a:gd name="T34" fmla="*/ 1272 w 1872"/>
                    <a:gd name="T35" fmla="*/ 241 h 1872"/>
                    <a:gd name="T36" fmla="*/ 1271 w 1872"/>
                    <a:gd name="T37" fmla="*/ 241 h 1872"/>
                    <a:gd name="T38" fmla="*/ 1249 w 1872"/>
                    <a:gd name="T39" fmla="*/ 263 h 1872"/>
                    <a:gd name="T40" fmla="*/ 1249 w 1872"/>
                    <a:gd name="T41" fmla="*/ 593 h 1872"/>
                    <a:gd name="T42" fmla="*/ 1249 w 1872"/>
                    <a:gd name="T43" fmla="*/ 593 h 1872"/>
                    <a:gd name="T44" fmla="*/ 1249 w 1872"/>
                    <a:gd name="T45" fmla="*/ 593 h 1872"/>
                    <a:gd name="T46" fmla="*/ 1249 w 1872"/>
                    <a:gd name="T47" fmla="*/ 593 h 1872"/>
                    <a:gd name="T48" fmla="*/ 1250 w 1872"/>
                    <a:gd name="T49" fmla="*/ 597 h 1872"/>
                    <a:gd name="T50" fmla="*/ 1250 w 1872"/>
                    <a:gd name="T51" fmla="*/ 598 h 1872"/>
                    <a:gd name="T52" fmla="*/ 1251 w 1872"/>
                    <a:gd name="T53" fmla="*/ 601 h 1872"/>
                    <a:gd name="T54" fmla="*/ 1251 w 1872"/>
                    <a:gd name="T55" fmla="*/ 602 h 1872"/>
                    <a:gd name="T56" fmla="*/ 1253 w 1872"/>
                    <a:gd name="T57" fmla="*/ 605 h 1872"/>
                    <a:gd name="T58" fmla="*/ 1253 w 1872"/>
                    <a:gd name="T59" fmla="*/ 606 h 1872"/>
                    <a:gd name="T60" fmla="*/ 1256 w 1872"/>
                    <a:gd name="T61" fmla="*/ 609 h 1872"/>
                    <a:gd name="T62" fmla="*/ 1256 w 1872"/>
                    <a:gd name="T63" fmla="*/ 609 h 1872"/>
                    <a:gd name="T64" fmla="*/ 1256 w 1872"/>
                    <a:gd name="T65" fmla="*/ 609 h 1872"/>
                    <a:gd name="T66" fmla="*/ 1259 w 1872"/>
                    <a:gd name="T67" fmla="*/ 612 h 1872"/>
                    <a:gd name="T68" fmla="*/ 1260 w 1872"/>
                    <a:gd name="T69" fmla="*/ 612 h 1872"/>
                    <a:gd name="T70" fmla="*/ 1263 w 1872"/>
                    <a:gd name="T71" fmla="*/ 614 h 1872"/>
                    <a:gd name="T72" fmla="*/ 1263 w 1872"/>
                    <a:gd name="T73" fmla="*/ 614 h 1872"/>
                    <a:gd name="T74" fmla="*/ 1267 w 1872"/>
                    <a:gd name="T75" fmla="*/ 615 h 1872"/>
                    <a:gd name="T76" fmla="*/ 1267 w 1872"/>
                    <a:gd name="T77" fmla="*/ 615 h 1872"/>
                    <a:gd name="T78" fmla="*/ 1271 w 1872"/>
                    <a:gd name="T79" fmla="*/ 615 h 1872"/>
                    <a:gd name="T80" fmla="*/ 1273 w 1872"/>
                    <a:gd name="T81" fmla="*/ 615 h 1872"/>
                    <a:gd name="T82" fmla="*/ 1600 w 1872"/>
                    <a:gd name="T83" fmla="*/ 615 h 1872"/>
                    <a:gd name="T84" fmla="*/ 1601 w 1872"/>
                    <a:gd name="T85" fmla="*/ 615 h 1872"/>
                    <a:gd name="T86" fmla="*/ 1623 w 1872"/>
                    <a:gd name="T87" fmla="*/ 593 h 1872"/>
                    <a:gd name="T88" fmla="*/ 1601 w 1872"/>
                    <a:gd name="T89" fmla="*/ 571 h 1872"/>
                    <a:gd name="T90" fmla="*/ 1600 w 1872"/>
                    <a:gd name="T91" fmla="*/ 571 h 1872"/>
                    <a:gd name="T92" fmla="*/ 1327 w 1872"/>
                    <a:gd name="T93" fmla="*/ 571 h 1872"/>
                    <a:gd name="T94" fmla="*/ 1720 w 1872"/>
                    <a:gd name="T95" fmla="*/ 183 h 1872"/>
                    <a:gd name="T96" fmla="*/ 1720 w 1872"/>
                    <a:gd name="T97" fmla="*/ 152 h 1872"/>
                    <a:gd name="T98" fmla="*/ 1704 w 1872"/>
                    <a:gd name="T99" fmla="*/ 146 h 1872"/>
                    <a:gd name="T100" fmla="*/ 1688 w 1872"/>
                    <a:gd name="T101" fmla="*/ 152 h 1872"/>
                    <a:gd name="T102" fmla="*/ 1295 w 1872"/>
                    <a:gd name="T103" fmla="*/ 539 h 1872"/>
                    <a:gd name="T104" fmla="*/ 1295 w 1872"/>
                    <a:gd name="T105" fmla="*/ 263 h 1872"/>
                    <a:gd name="T106" fmla="*/ 1273 w 1872"/>
                    <a:gd name="T107" fmla="*/ 241 h 187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</a:cxnLst>
                  <a:rect l="0" t="0" r="r" b="b"/>
                  <a:pathLst>
                    <a:path w="1872" h="1872">
                      <a:moveTo>
                        <a:pt x="1872" y="44"/>
                      </a:moveTo>
                      <a:cubicBezTo>
                        <a:pt x="1872" y="1828"/>
                        <a:pt x="1872" y="1828"/>
                        <a:pt x="1872" y="1828"/>
                      </a:cubicBezTo>
                      <a:cubicBezTo>
                        <a:pt x="1872" y="1852"/>
                        <a:pt x="1852" y="1872"/>
                        <a:pt x="1828" y="1872"/>
                      </a:cubicBezTo>
                      <a:cubicBezTo>
                        <a:pt x="957" y="1872"/>
                        <a:pt x="957" y="1872"/>
                        <a:pt x="957" y="1872"/>
                      </a:cubicBezTo>
                      <a:cubicBezTo>
                        <a:pt x="960" y="1871"/>
                        <a:pt x="963" y="1869"/>
                        <a:pt x="966" y="1867"/>
                      </a:cubicBezTo>
                      <a:cubicBezTo>
                        <a:pt x="981" y="1858"/>
                        <a:pt x="992" y="1844"/>
                        <a:pt x="997" y="1828"/>
                      </a:cubicBezTo>
                      <a:cubicBezTo>
                        <a:pt x="1828" y="1828"/>
                        <a:pt x="1828" y="1828"/>
                        <a:pt x="1828" y="1828"/>
                      </a:cubicBezTo>
                      <a:cubicBezTo>
                        <a:pt x="1828" y="44"/>
                        <a:pt x="1828" y="44"/>
                        <a:pt x="1828" y="44"/>
                      </a:cubicBezTo>
                      <a:cubicBezTo>
                        <a:pt x="44" y="44"/>
                        <a:pt x="44" y="44"/>
                        <a:pt x="44" y="44"/>
                      </a:cubicBezTo>
                      <a:cubicBezTo>
                        <a:pt x="44" y="906"/>
                        <a:pt x="44" y="906"/>
                        <a:pt x="44" y="906"/>
                      </a:cubicBezTo>
                      <a:cubicBezTo>
                        <a:pt x="36" y="907"/>
                        <a:pt x="27" y="909"/>
                        <a:pt x="19" y="913"/>
                      </a:cubicBezTo>
                      <a:cubicBezTo>
                        <a:pt x="12" y="917"/>
                        <a:pt x="6" y="921"/>
                        <a:pt x="0" y="927"/>
                      </a:cubicBezTo>
                      <a:cubicBezTo>
                        <a:pt x="0" y="44"/>
                        <a:pt x="0" y="44"/>
                        <a:pt x="0" y="44"/>
                      </a:cubicBezTo>
                      <a:cubicBezTo>
                        <a:pt x="0" y="20"/>
                        <a:pt x="20" y="0"/>
                        <a:pt x="44" y="0"/>
                      </a:cubicBezTo>
                      <a:cubicBezTo>
                        <a:pt x="1828" y="0"/>
                        <a:pt x="1828" y="0"/>
                        <a:pt x="1828" y="0"/>
                      </a:cubicBezTo>
                      <a:cubicBezTo>
                        <a:pt x="1852" y="0"/>
                        <a:pt x="1872" y="20"/>
                        <a:pt x="1872" y="44"/>
                      </a:cubicBezTo>
                      <a:close/>
                      <a:moveTo>
                        <a:pt x="1273" y="241"/>
                      </a:moveTo>
                      <a:cubicBezTo>
                        <a:pt x="1272" y="241"/>
                        <a:pt x="1272" y="241"/>
                        <a:pt x="1272" y="241"/>
                      </a:cubicBezTo>
                      <a:cubicBezTo>
                        <a:pt x="1272" y="241"/>
                        <a:pt x="1272" y="241"/>
                        <a:pt x="1271" y="241"/>
                      </a:cubicBezTo>
                      <a:cubicBezTo>
                        <a:pt x="1259" y="241"/>
                        <a:pt x="1249" y="250"/>
                        <a:pt x="1249" y="263"/>
                      </a:cubicBezTo>
                      <a:cubicBezTo>
                        <a:pt x="1249" y="593"/>
                        <a:pt x="1249" y="593"/>
                        <a:pt x="1249" y="593"/>
                      </a:cubicBezTo>
                      <a:cubicBezTo>
                        <a:pt x="1249" y="593"/>
                        <a:pt x="1249" y="593"/>
                        <a:pt x="1249" y="593"/>
                      </a:cubicBezTo>
                      <a:cubicBezTo>
                        <a:pt x="1249" y="593"/>
                        <a:pt x="1249" y="593"/>
                        <a:pt x="1249" y="593"/>
                      </a:cubicBezTo>
                      <a:cubicBezTo>
                        <a:pt x="1249" y="593"/>
                        <a:pt x="1249" y="593"/>
                        <a:pt x="1249" y="593"/>
                      </a:cubicBezTo>
                      <a:cubicBezTo>
                        <a:pt x="1249" y="595"/>
                        <a:pt x="1250" y="596"/>
                        <a:pt x="1250" y="597"/>
                      </a:cubicBezTo>
                      <a:cubicBezTo>
                        <a:pt x="1250" y="598"/>
                        <a:pt x="1250" y="598"/>
                        <a:pt x="1250" y="598"/>
                      </a:cubicBezTo>
                      <a:cubicBezTo>
                        <a:pt x="1250" y="599"/>
                        <a:pt x="1251" y="600"/>
                        <a:pt x="1251" y="601"/>
                      </a:cubicBezTo>
                      <a:cubicBezTo>
                        <a:pt x="1251" y="602"/>
                        <a:pt x="1251" y="602"/>
                        <a:pt x="1251" y="602"/>
                      </a:cubicBezTo>
                      <a:cubicBezTo>
                        <a:pt x="1252" y="603"/>
                        <a:pt x="1252" y="604"/>
                        <a:pt x="1253" y="605"/>
                      </a:cubicBezTo>
                      <a:cubicBezTo>
                        <a:pt x="1253" y="605"/>
                        <a:pt x="1253" y="605"/>
                        <a:pt x="1253" y="606"/>
                      </a:cubicBezTo>
                      <a:cubicBezTo>
                        <a:pt x="1254" y="607"/>
                        <a:pt x="1255" y="608"/>
                        <a:pt x="1256" y="609"/>
                      </a:cubicBezTo>
                      <a:cubicBezTo>
                        <a:pt x="1256" y="609"/>
                        <a:pt x="1256" y="609"/>
                        <a:pt x="1256" y="609"/>
                      </a:cubicBezTo>
                      <a:cubicBezTo>
                        <a:pt x="1256" y="609"/>
                        <a:pt x="1256" y="609"/>
                        <a:pt x="1256" y="609"/>
                      </a:cubicBezTo>
                      <a:cubicBezTo>
                        <a:pt x="1257" y="610"/>
                        <a:pt x="1258" y="611"/>
                        <a:pt x="1259" y="612"/>
                      </a:cubicBezTo>
                      <a:cubicBezTo>
                        <a:pt x="1259" y="612"/>
                        <a:pt x="1259" y="612"/>
                        <a:pt x="1260" y="612"/>
                      </a:cubicBezTo>
                      <a:cubicBezTo>
                        <a:pt x="1261" y="613"/>
                        <a:pt x="1262" y="613"/>
                        <a:pt x="1263" y="614"/>
                      </a:cubicBezTo>
                      <a:cubicBezTo>
                        <a:pt x="1263" y="614"/>
                        <a:pt x="1263" y="614"/>
                        <a:pt x="1263" y="614"/>
                      </a:cubicBezTo>
                      <a:cubicBezTo>
                        <a:pt x="1265" y="614"/>
                        <a:pt x="1266" y="615"/>
                        <a:pt x="1267" y="615"/>
                      </a:cubicBezTo>
                      <a:cubicBezTo>
                        <a:pt x="1267" y="615"/>
                        <a:pt x="1267" y="615"/>
                        <a:pt x="1267" y="615"/>
                      </a:cubicBezTo>
                      <a:cubicBezTo>
                        <a:pt x="1269" y="615"/>
                        <a:pt x="1270" y="615"/>
                        <a:pt x="1271" y="615"/>
                      </a:cubicBezTo>
                      <a:cubicBezTo>
                        <a:pt x="1273" y="615"/>
                        <a:pt x="1273" y="615"/>
                        <a:pt x="1273" y="615"/>
                      </a:cubicBezTo>
                      <a:cubicBezTo>
                        <a:pt x="1600" y="615"/>
                        <a:pt x="1600" y="615"/>
                        <a:pt x="1600" y="615"/>
                      </a:cubicBezTo>
                      <a:cubicBezTo>
                        <a:pt x="1601" y="615"/>
                        <a:pt x="1601" y="615"/>
                        <a:pt x="1601" y="615"/>
                      </a:cubicBezTo>
                      <a:cubicBezTo>
                        <a:pt x="1613" y="615"/>
                        <a:pt x="1623" y="606"/>
                        <a:pt x="1623" y="593"/>
                      </a:cubicBezTo>
                      <a:cubicBezTo>
                        <a:pt x="1623" y="581"/>
                        <a:pt x="1613" y="571"/>
                        <a:pt x="1601" y="571"/>
                      </a:cubicBezTo>
                      <a:cubicBezTo>
                        <a:pt x="1600" y="571"/>
                        <a:pt x="1600" y="571"/>
                        <a:pt x="1600" y="571"/>
                      </a:cubicBezTo>
                      <a:cubicBezTo>
                        <a:pt x="1327" y="571"/>
                        <a:pt x="1327" y="571"/>
                        <a:pt x="1327" y="571"/>
                      </a:cubicBezTo>
                      <a:cubicBezTo>
                        <a:pt x="1720" y="183"/>
                        <a:pt x="1720" y="183"/>
                        <a:pt x="1720" y="183"/>
                      </a:cubicBezTo>
                      <a:cubicBezTo>
                        <a:pt x="1728" y="175"/>
                        <a:pt x="1728" y="161"/>
                        <a:pt x="1720" y="152"/>
                      </a:cubicBezTo>
                      <a:cubicBezTo>
                        <a:pt x="1715" y="148"/>
                        <a:pt x="1710" y="146"/>
                        <a:pt x="1704" y="146"/>
                      </a:cubicBezTo>
                      <a:cubicBezTo>
                        <a:pt x="1698" y="146"/>
                        <a:pt x="1692" y="148"/>
                        <a:pt x="1688" y="152"/>
                      </a:cubicBezTo>
                      <a:cubicBezTo>
                        <a:pt x="1295" y="539"/>
                        <a:pt x="1295" y="539"/>
                        <a:pt x="1295" y="539"/>
                      </a:cubicBezTo>
                      <a:cubicBezTo>
                        <a:pt x="1295" y="263"/>
                        <a:pt x="1295" y="263"/>
                        <a:pt x="1295" y="263"/>
                      </a:cubicBezTo>
                      <a:cubicBezTo>
                        <a:pt x="1295" y="250"/>
                        <a:pt x="1285" y="241"/>
                        <a:pt x="1273" y="241"/>
                      </a:cubicBezTo>
                      <a:close/>
                    </a:path>
                  </a:pathLst>
                </a:custGeom>
                <a:solidFill>
                  <a:schemeClr val="accent1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solidFill>
                      <a:srgbClr val="575757"/>
                    </a:solidFill>
                  </a:endParaRPr>
                </a:p>
              </p:txBody>
            </p:sp>
          </p:grpSp>
        </p:grpSp>
      </p:grpSp>
      <p:grpSp>
        <p:nvGrpSpPr>
          <p:cNvPr id="42" name="Group 41">
            <a:extLst>
              <a:ext uri="{FF2B5EF4-FFF2-40B4-BE49-F238E27FC236}">
                <a16:creationId xmlns:a16="http://schemas.microsoft.com/office/drawing/2014/main" id="{803B56AA-4CA9-48AB-B595-D4C161A7EF2C}"/>
              </a:ext>
            </a:extLst>
          </p:cNvPr>
          <p:cNvGrpSpPr/>
          <p:nvPr/>
        </p:nvGrpSpPr>
        <p:grpSpPr>
          <a:xfrm>
            <a:off x="243375" y="1870113"/>
            <a:ext cx="5043521" cy="730800"/>
            <a:chOff x="243375" y="1804262"/>
            <a:chExt cx="5043521" cy="730800"/>
          </a:xfrm>
        </p:grpSpPr>
        <p:sp>
          <p:nvSpPr>
            <p:cNvPr id="19" name="Textfeld 12">
              <a:extLst>
                <a:ext uri="{FF2B5EF4-FFF2-40B4-BE49-F238E27FC236}">
                  <a16:creationId xmlns:a16="http://schemas.microsoft.com/office/drawing/2014/main" id="{E87D39CC-0562-4239-8E6C-114AAB0461BB}"/>
                </a:ext>
              </a:extLst>
            </p:cNvPr>
            <p:cNvSpPr txBox="1"/>
            <p:nvPr/>
          </p:nvSpPr>
          <p:spPr>
            <a:xfrm>
              <a:off x="1092817" y="2041037"/>
              <a:ext cx="4194079" cy="25725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ct val="114000"/>
                </a:lnSpc>
              </a:pPr>
              <a:r>
                <a:rPr lang="en-GB" sz="1600">
                  <a:latin typeface="+mn-lt"/>
                </a:rPr>
                <a:t>Data with actual damages very </a:t>
              </a:r>
              <a:r>
                <a:rPr lang="en-GB" sz="1600" b="1">
                  <a:latin typeface="+mn-lt"/>
                </a:rPr>
                <a:t>limited</a:t>
              </a:r>
            </a:p>
          </p:txBody>
        </p:sp>
        <p:grpSp>
          <p:nvGrpSpPr>
            <p:cNvPr id="31" name="Group 30">
              <a:extLst>
                <a:ext uri="{FF2B5EF4-FFF2-40B4-BE49-F238E27FC236}">
                  <a16:creationId xmlns:a16="http://schemas.microsoft.com/office/drawing/2014/main" id="{233F8DD4-EA93-4C23-B82D-72A2B34FB313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243375" y="1804262"/>
              <a:ext cx="730800" cy="730800"/>
              <a:chOff x="5273675" y="2606675"/>
              <a:chExt cx="1644650" cy="1644650"/>
            </a:xfrm>
          </p:grpSpPr>
          <p:sp>
            <p:nvSpPr>
              <p:cNvPr id="32" name="AutoShape 55">
                <a:extLst>
                  <a:ext uri="{FF2B5EF4-FFF2-40B4-BE49-F238E27FC236}">
                    <a16:creationId xmlns:a16="http://schemas.microsoft.com/office/drawing/2014/main" id="{18C37649-6992-4350-B82D-314996FF5F07}"/>
                  </a:ext>
                </a:extLst>
              </p:cNvPr>
              <p:cNvSpPr>
                <a:spLocks noChangeAspect="1" noChangeArrowheads="1" noTextEdit="1"/>
              </p:cNvSpPr>
              <p:nvPr/>
            </p:nvSpPr>
            <p:spPr bwMode="auto">
              <a:xfrm>
                <a:off x="5273675" y="2606675"/>
                <a:ext cx="1644650" cy="1644650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grpSp>
            <p:nvGrpSpPr>
              <p:cNvPr id="33" name="Group 32">
                <a:extLst>
                  <a:ext uri="{FF2B5EF4-FFF2-40B4-BE49-F238E27FC236}">
                    <a16:creationId xmlns:a16="http://schemas.microsoft.com/office/drawing/2014/main" id="{2CD52A52-4408-4057-A195-C71B7B916614}"/>
                  </a:ext>
                </a:extLst>
              </p:cNvPr>
              <p:cNvGrpSpPr/>
              <p:nvPr/>
            </p:nvGrpSpPr>
            <p:grpSpPr>
              <a:xfrm>
                <a:off x="5554300" y="2890007"/>
                <a:ext cx="1142051" cy="1191379"/>
                <a:chOff x="1394368" y="2109336"/>
                <a:chExt cx="1142051" cy="1191379"/>
              </a:xfrm>
            </p:grpSpPr>
            <p:sp>
              <p:nvSpPr>
                <p:cNvPr id="34" name="Freeform 57">
                  <a:extLst>
                    <a:ext uri="{FF2B5EF4-FFF2-40B4-BE49-F238E27FC236}">
                      <a16:creationId xmlns:a16="http://schemas.microsoft.com/office/drawing/2014/main" id="{53643479-9B2A-4439-9400-E2421816B942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643412" y="2300029"/>
                  <a:ext cx="576891" cy="813602"/>
                </a:xfrm>
                <a:custGeom>
                  <a:avLst/>
                  <a:gdLst>
                    <a:gd name="T0" fmla="*/ 24 w 808"/>
                    <a:gd name="T1" fmla="*/ 0 h 1140"/>
                    <a:gd name="T2" fmla="*/ 808 w 808"/>
                    <a:gd name="T3" fmla="*/ 24 h 1140"/>
                    <a:gd name="T4" fmla="*/ 24 w 808"/>
                    <a:gd name="T5" fmla="*/ 48 h 1140"/>
                    <a:gd name="T6" fmla="*/ 784 w 808"/>
                    <a:gd name="T7" fmla="*/ 182 h 1140"/>
                    <a:gd name="T8" fmla="*/ 675 w 808"/>
                    <a:gd name="T9" fmla="*/ 201 h 1140"/>
                    <a:gd name="T10" fmla="*/ 784 w 808"/>
                    <a:gd name="T11" fmla="*/ 230 h 1140"/>
                    <a:gd name="T12" fmla="*/ 784 w 808"/>
                    <a:gd name="T13" fmla="*/ 182 h 1140"/>
                    <a:gd name="T14" fmla="*/ 85 w 808"/>
                    <a:gd name="T15" fmla="*/ 230 h 1140"/>
                    <a:gd name="T16" fmla="*/ 24 w 808"/>
                    <a:gd name="T17" fmla="*/ 182 h 1140"/>
                    <a:gd name="T18" fmla="*/ 24 w 808"/>
                    <a:gd name="T19" fmla="*/ 230 h 1140"/>
                    <a:gd name="T20" fmla="*/ 1 w 808"/>
                    <a:gd name="T21" fmla="*/ 755 h 1140"/>
                    <a:gd name="T22" fmla="*/ 726 w 808"/>
                    <a:gd name="T23" fmla="*/ 958 h 1140"/>
                    <a:gd name="T24" fmla="*/ 664 w 808"/>
                    <a:gd name="T25" fmla="*/ 910 h 1140"/>
                    <a:gd name="T26" fmla="*/ 726 w 808"/>
                    <a:gd name="T27" fmla="*/ 958 h 1140"/>
                    <a:gd name="T28" fmla="*/ 213 w 808"/>
                    <a:gd name="T29" fmla="*/ 958 h 1140"/>
                    <a:gd name="T30" fmla="*/ 24 w 808"/>
                    <a:gd name="T31" fmla="*/ 910 h 1140"/>
                    <a:gd name="T32" fmla="*/ 24 w 808"/>
                    <a:gd name="T33" fmla="*/ 958 h 1140"/>
                    <a:gd name="T34" fmla="*/ 24 w 808"/>
                    <a:gd name="T35" fmla="*/ 1092 h 1140"/>
                    <a:gd name="T36" fmla="*/ 24 w 808"/>
                    <a:gd name="T37" fmla="*/ 1140 h 1140"/>
                    <a:gd name="T38" fmla="*/ 808 w 808"/>
                    <a:gd name="T39" fmla="*/ 1116 h 1140"/>
                    <a:gd name="T40" fmla="*/ 536 w 808"/>
                    <a:gd name="T41" fmla="*/ 507 h 1140"/>
                    <a:gd name="T42" fmla="*/ 557 w 808"/>
                    <a:gd name="T43" fmla="*/ 494 h 1140"/>
                    <a:gd name="T44" fmla="*/ 386 w 808"/>
                    <a:gd name="T45" fmla="*/ 477 h 1140"/>
                    <a:gd name="T46" fmla="*/ 213 w 808"/>
                    <a:gd name="T47" fmla="*/ 495 h 1140"/>
                    <a:gd name="T48" fmla="*/ 447 w 808"/>
                    <a:gd name="T49" fmla="*/ 541 h 1140"/>
                    <a:gd name="T50" fmla="*/ 386 w 808"/>
                    <a:gd name="T51" fmla="*/ 635 h 1140"/>
                    <a:gd name="T52" fmla="*/ 411 w 808"/>
                    <a:gd name="T53" fmla="*/ 594 h 1140"/>
                    <a:gd name="T54" fmla="*/ 386 w 808"/>
                    <a:gd name="T55" fmla="*/ 566 h 1140"/>
                    <a:gd name="T56" fmla="*/ 213 w 808"/>
                    <a:gd name="T57" fmla="*/ 515 h 1140"/>
                    <a:gd name="T58" fmla="*/ 213 w 808"/>
                    <a:gd name="T59" fmla="*/ 584 h 1140"/>
                    <a:gd name="T60" fmla="*/ 386 w 808"/>
                    <a:gd name="T61" fmla="*/ 635 h 1140"/>
                    <a:gd name="T62" fmla="*/ 550 w 808"/>
                    <a:gd name="T63" fmla="*/ 412 h 1140"/>
                    <a:gd name="T64" fmla="*/ 544 w 808"/>
                    <a:gd name="T65" fmla="*/ 364 h 1140"/>
                    <a:gd name="T66" fmla="*/ 230 w 808"/>
                    <a:gd name="T67" fmla="*/ 364 h 1140"/>
                    <a:gd name="T68" fmla="*/ 214 w 808"/>
                    <a:gd name="T69" fmla="*/ 393 h 1140"/>
                    <a:gd name="T70" fmla="*/ 387 w 808"/>
                    <a:gd name="T71" fmla="*/ 455 h 1140"/>
                    <a:gd name="T72" fmla="*/ 260 w 808"/>
                    <a:gd name="T73" fmla="*/ 703 h 1140"/>
                    <a:gd name="T74" fmla="*/ 386 w 808"/>
                    <a:gd name="T75" fmla="*/ 722 h 1140"/>
                    <a:gd name="T76" fmla="*/ 402 w 808"/>
                    <a:gd name="T77" fmla="*/ 654 h 1140"/>
                    <a:gd name="T78" fmla="*/ 213 w 808"/>
                    <a:gd name="T79" fmla="*/ 604 h 1140"/>
                    <a:gd name="T80" fmla="*/ 213 w 808"/>
                    <a:gd name="T81" fmla="*/ 663 h 1140"/>
                    <a:gd name="T82" fmla="*/ 626 w 808"/>
                    <a:gd name="T83" fmla="*/ 594 h 1140"/>
                    <a:gd name="T84" fmla="*/ 607 w 808"/>
                    <a:gd name="T85" fmla="*/ 715 h 1140"/>
                    <a:gd name="T86" fmla="*/ 598 w 808"/>
                    <a:gd name="T87" fmla="*/ 722 h 1140"/>
                    <a:gd name="T88" fmla="*/ 536 w 808"/>
                    <a:gd name="T89" fmla="*/ 743 h 1140"/>
                    <a:gd name="T90" fmla="*/ 464 w 808"/>
                    <a:gd name="T91" fmla="*/ 712 h 1140"/>
                    <a:gd name="T92" fmla="*/ 466 w 808"/>
                    <a:gd name="T93" fmla="*/ 569 h 1140"/>
                    <a:gd name="T94" fmla="*/ 536 w 808"/>
                    <a:gd name="T95" fmla="*/ 541 h 1140"/>
                    <a:gd name="T96" fmla="*/ 610 w 808"/>
                    <a:gd name="T97" fmla="*/ 571 h 1140"/>
                    <a:gd name="T98" fmla="*/ 605 w 808"/>
                    <a:gd name="T99" fmla="*/ 603 h 1140"/>
                    <a:gd name="T100" fmla="*/ 514 w 808"/>
                    <a:gd name="T101" fmla="*/ 678 h 1140"/>
                    <a:gd name="T102" fmla="*/ 467 w 808"/>
                    <a:gd name="T103" fmla="*/ 642 h 1140"/>
                    <a:gd name="T104" fmla="*/ 508 w 808"/>
                    <a:gd name="T105" fmla="*/ 696 h 1140"/>
                    <a:gd name="T106" fmla="*/ 520 w 808"/>
                    <a:gd name="T107" fmla="*/ 696 h 1140"/>
                    <a:gd name="T108" fmla="*/ 605 w 808"/>
                    <a:gd name="T109" fmla="*/ 603 h 114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</a:cxnLst>
                  <a:rect l="0" t="0" r="r" b="b"/>
                  <a:pathLst>
                    <a:path w="808" h="1140">
                      <a:moveTo>
                        <a:pt x="0" y="24"/>
                      </a:moveTo>
                      <a:cubicBezTo>
                        <a:pt x="0" y="10"/>
                        <a:pt x="11" y="0"/>
                        <a:pt x="24" y="0"/>
                      </a:cubicBezTo>
                      <a:cubicBezTo>
                        <a:pt x="784" y="0"/>
                        <a:pt x="784" y="0"/>
                        <a:pt x="784" y="0"/>
                      </a:cubicBezTo>
                      <a:cubicBezTo>
                        <a:pt x="797" y="0"/>
                        <a:pt x="808" y="10"/>
                        <a:pt x="808" y="24"/>
                      </a:cubicBezTo>
                      <a:cubicBezTo>
                        <a:pt x="808" y="37"/>
                        <a:pt x="797" y="48"/>
                        <a:pt x="784" y="48"/>
                      </a:cubicBezTo>
                      <a:cubicBezTo>
                        <a:pt x="24" y="48"/>
                        <a:pt x="24" y="48"/>
                        <a:pt x="24" y="48"/>
                      </a:cubicBezTo>
                      <a:cubicBezTo>
                        <a:pt x="11" y="48"/>
                        <a:pt x="0" y="37"/>
                        <a:pt x="0" y="24"/>
                      </a:cubicBezTo>
                      <a:close/>
                      <a:moveTo>
                        <a:pt x="784" y="182"/>
                      </a:moveTo>
                      <a:cubicBezTo>
                        <a:pt x="649" y="182"/>
                        <a:pt x="649" y="182"/>
                        <a:pt x="649" y="182"/>
                      </a:cubicBezTo>
                      <a:cubicBezTo>
                        <a:pt x="658" y="188"/>
                        <a:pt x="667" y="194"/>
                        <a:pt x="675" y="201"/>
                      </a:cubicBezTo>
                      <a:cubicBezTo>
                        <a:pt x="687" y="210"/>
                        <a:pt x="697" y="219"/>
                        <a:pt x="708" y="230"/>
                      </a:cubicBezTo>
                      <a:cubicBezTo>
                        <a:pt x="784" y="230"/>
                        <a:pt x="784" y="230"/>
                        <a:pt x="784" y="230"/>
                      </a:cubicBezTo>
                      <a:cubicBezTo>
                        <a:pt x="797" y="230"/>
                        <a:pt x="808" y="219"/>
                        <a:pt x="808" y="206"/>
                      </a:cubicBezTo>
                      <a:cubicBezTo>
                        <a:pt x="808" y="192"/>
                        <a:pt x="797" y="182"/>
                        <a:pt x="784" y="182"/>
                      </a:cubicBezTo>
                      <a:close/>
                      <a:moveTo>
                        <a:pt x="24" y="230"/>
                      </a:moveTo>
                      <a:cubicBezTo>
                        <a:pt x="85" y="230"/>
                        <a:pt x="85" y="230"/>
                        <a:pt x="85" y="230"/>
                      </a:cubicBezTo>
                      <a:cubicBezTo>
                        <a:pt x="104" y="212"/>
                        <a:pt x="123" y="196"/>
                        <a:pt x="144" y="182"/>
                      </a:cubicBezTo>
                      <a:cubicBezTo>
                        <a:pt x="24" y="182"/>
                        <a:pt x="24" y="182"/>
                        <a:pt x="24" y="182"/>
                      </a:cubicBezTo>
                      <a:cubicBezTo>
                        <a:pt x="11" y="182"/>
                        <a:pt x="0" y="192"/>
                        <a:pt x="0" y="206"/>
                      </a:cubicBezTo>
                      <a:cubicBezTo>
                        <a:pt x="0" y="219"/>
                        <a:pt x="11" y="230"/>
                        <a:pt x="24" y="230"/>
                      </a:cubicBezTo>
                      <a:close/>
                      <a:moveTo>
                        <a:pt x="8" y="769"/>
                      </a:moveTo>
                      <a:cubicBezTo>
                        <a:pt x="5" y="765"/>
                        <a:pt x="3" y="760"/>
                        <a:pt x="1" y="755"/>
                      </a:cubicBezTo>
                      <a:cubicBezTo>
                        <a:pt x="1" y="761"/>
                        <a:pt x="4" y="766"/>
                        <a:pt x="8" y="769"/>
                      </a:cubicBezTo>
                      <a:close/>
                      <a:moveTo>
                        <a:pt x="726" y="958"/>
                      </a:moveTo>
                      <a:cubicBezTo>
                        <a:pt x="666" y="910"/>
                        <a:pt x="666" y="910"/>
                        <a:pt x="666" y="910"/>
                      </a:cubicBezTo>
                      <a:cubicBezTo>
                        <a:pt x="664" y="910"/>
                        <a:pt x="664" y="910"/>
                        <a:pt x="664" y="910"/>
                      </a:cubicBezTo>
                      <a:cubicBezTo>
                        <a:pt x="638" y="929"/>
                        <a:pt x="611" y="945"/>
                        <a:pt x="582" y="958"/>
                      </a:cubicBezTo>
                      <a:lnTo>
                        <a:pt x="726" y="958"/>
                      </a:lnTo>
                      <a:close/>
                      <a:moveTo>
                        <a:pt x="24" y="958"/>
                      </a:moveTo>
                      <a:cubicBezTo>
                        <a:pt x="213" y="958"/>
                        <a:pt x="213" y="958"/>
                        <a:pt x="213" y="958"/>
                      </a:cubicBezTo>
                      <a:cubicBezTo>
                        <a:pt x="184" y="945"/>
                        <a:pt x="157" y="929"/>
                        <a:pt x="131" y="910"/>
                      </a:cubicBezTo>
                      <a:cubicBezTo>
                        <a:pt x="24" y="910"/>
                        <a:pt x="24" y="910"/>
                        <a:pt x="24" y="910"/>
                      </a:cubicBezTo>
                      <a:cubicBezTo>
                        <a:pt x="11" y="910"/>
                        <a:pt x="0" y="920"/>
                        <a:pt x="0" y="934"/>
                      </a:cubicBezTo>
                      <a:cubicBezTo>
                        <a:pt x="0" y="947"/>
                        <a:pt x="11" y="958"/>
                        <a:pt x="24" y="958"/>
                      </a:cubicBezTo>
                      <a:close/>
                      <a:moveTo>
                        <a:pt x="784" y="1092"/>
                      </a:moveTo>
                      <a:cubicBezTo>
                        <a:pt x="24" y="1092"/>
                        <a:pt x="24" y="1092"/>
                        <a:pt x="24" y="1092"/>
                      </a:cubicBezTo>
                      <a:cubicBezTo>
                        <a:pt x="11" y="1092"/>
                        <a:pt x="0" y="1102"/>
                        <a:pt x="0" y="1116"/>
                      </a:cubicBezTo>
                      <a:cubicBezTo>
                        <a:pt x="0" y="1129"/>
                        <a:pt x="11" y="1140"/>
                        <a:pt x="24" y="1140"/>
                      </a:cubicBezTo>
                      <a:cubicBezTo>
                        <a:pt x="784" y="1140"/>
                        <a:pt x="784" y="1140"/>
                        <a:pt x="784" y="1140"/>
                      </a:cubicBezTo>
                      <a:cubicBezTo>
                        <a:pt x="797" y="1140"/>
                        <a:pt x="808" y="1129"/>
                        <a:pt x="808" y="1116"/>
                      </a:cubicBezTo>
                      <a:cubicBezTo>
                        <a:pt x="808" y="1102"/>
                        <a:pt x="797" y="1092"/>
                        <a:pt x="784" y="1092"/>
                      </a:cubicBezTo>
                      <a:close/>
                      <a:moveTo>
                        <a:pt x="536" y="507"/>
                      </a:moveTo>
                      <a:cubicBezTo>
                        <a:pt x="540" y="507"/>
                        <a:pt x="544" y="507"/>
                        <a:pt x="547" y="508"/>
                      </a:cubicBezTo>
                      <a:cubicBezTo>
                        <a:pt x="552" y="503"/>
                        <a:pt x="555" y="499"/>
                        <a:pt x="557" y="494"/>
                      </a:cubicBezTo>
                      <a:cubicBezTo>
                        <a:pt x="557" y="427"/>
                        <a:pt x="557" y="427"/>
                        <a:pt x="557" y="427"/>
                      </a:cubicBezTo>
                      <a:cubicBezTo>
                        <a:pt x="545" y="457"/>
                        <a:pt x="472" y="477"/>
                        <a:pt x="386" y="477"/>
                      </a:cubicBezTo>
                      <a:cubicBezTo>
                        <a:pt x="298" y="477"/>
                        <a:pt x="226" y="457"/>
                        <a:pt x="213" y="428"/>
                      </a:cubicBezTo>
                      <a:cubicBezTo>
                        <a:pt x="213" y="495"/>
                        <a:pt x="213" y="495"/>
                        <a:pt x="213" y="495"/>
                      </a:cubicBezTo>
                      <a:cubicBezTo>
                        <a:pt x="226" y="524"/>
                        <a:pt x="298" y="544"/>
                        <a:pt x="386" y="544"/>
                      </a:cubicBezTo>
                      <a:cubicBezTo>
                        <a:pt x="407" y="544"/>
                        <a:pt x="428" y="543"/>
                        <a:pt x="447" y="541"/>
                      </a:cubicBezTo>
                      <a:cubicBezTo>
                        <a:pt x="472" y="519"/>
                        <a:pt x="503" y="507"/>
                        <a:pt x="536" y="507"/>
                      </a:cubicBezTo>
                      <a:close/>
                      <a:moveTo>
                        <a:pt x="386" y="635"/>
                      </a:moveTo>
                      <a:cubicBezTo>
                        <a:pt x="391" y="635"/>
                        <a:pt x="397" y="635"/>
                        <a:pt x="402" y="635"/>
                      </a:cubicBezTo>
                      <a:cubicBezTo>
                        <a:pt x="403" y="621"/>
                        <a:pt x="406" y="607"/>
                        <a:pt x="411" y="594"/>
                      </a:cubicBezTo>
                      <a:cubicBezTo>
                        <a:pt x="415" y="583"/>
                        <a:pt x="420" y="573"/>
                        <a:pt x="427" y="564"/>
                      </a:cubicBezTo>
                      <a:cubicBezTo>
                        <a:pt x="413" y="565"/>
                        <a:pt x="400" y="566"/>
                        <a:pt x="386" y="566"/>
                      </a:cubicBezTo>
                      <a:cubicBezTo>
                        <a:pt x="333" y="566"/>
                        <a:pt x="286" y="558"/>
                        <a:pt x="254" y="546"/>
                      </a:cubicBezTo>
                      <a:cubicBezTo>
                        <a:pt x="233" y="537"/>
                        <a:pt x="218" y="527"/>
                        <a:pt x="213" y="515"/>
                      </a:cubicBezTo>
                      <a:cubicBezTo>
                        <a:pt x="213" y="527"/>
                        <a:pt x="213" y="537"/>
                        <a:pt x="213" y="546"/>
                      </a:cubicBezTo>
                      <a:cubicBezTo>
                        <a:pt x="213" y="584"/>
                        <a:pt x="213" y="584"/>
                        <a:pt x="213" y="584"/>
                      </a:cubicBezTo>
                      <a:cubicBezTo>
                        <a:pt x="214" y="587"/>
                        <a:pt x="216" y="590"/>
                        <a:pt x="219" y="594"/>
                      </a:cubicBezTo>
                      <a:cubicBezTo>
                        <a:pt x="242" y="619"/>
                        <a:pt x="308" y="635"/>
                        <a:pt x="386" y="635"/>
                      </a:cubicBezTo>
                      <a:close/>
                      <a:moveTo>
                        <a:pt x="387" y="455"/>
                      </a:moveTo>
                      <a:cubicBezTo>
                        <a:pt x="463" y="455"/>
                        <a:pt x="527" y="437"/>
                        <a:pt x="550" y="412"/>
                      </a:cubicBezTo>
                      <a:cubicBezTo>
                        <a:pt x="557" y="405"/>
                        <a:pt x="560" y="398"/>
                        <a:pt x="560" y="391"/>
                      </a:cubicBezTo>
                      <a:cubicBezTo>
                        <a:pt x="560" y="381"/>
                        <a:pt x="554" y="372"/>
                        <a:pt x="544" y="364"/>
                      </a:cubicBezTo>
                      <a:cubicBezTo>
                        <a:pt x="516" y="342"/>
                        <a:pt x="456" y="327"/>
                        <a:pt x="387" y="327"/>
                      </a:cubicBezTo>
                      <a:cubicBezTo>
                        <a:pt x="318" y="327"/>
                        <a:pt x="258" y="342"/>
                        <a:pt x="230" y="364"/>
                      </a:cubicBezTo>
                      <a:cubicBezTo>
                        <a:pt x="220" y="371"/>
                        <a:pt x="214" y="380"/>
                        <a:pt x="214" y="389"/>
                      </a:cubicBezTo>
                      <a:cubicBezTo>
                        <a:pt x="214" y="393"/>
                        <a:pt x="214" y="393"/>
                        <a:pt x="214" y="393"/>
                      </a:cubicBezTo>
                      <a:cubicBezTo>
                        <a:pt x="214" y="399"/>
                        <a:pt x="218" y="406"/>
                        <a:pt x="223" y="412"/>
                      </a:cubicBezTo>
                      <a:cubicBezTo>
                        <a:pt x="247" y="436"/>
                        <a:pt x="311" y="455"/>
                        <a:pt x="387" y="455"/>
                      </a:cubicBezTo>
                      <a:close/>
                      <a:moveTo>
                        <a:pt x="213" y="664"/>
                      </a:moveTo>
                      <a:cubicBezTo>
                        <a:pt x="213" y="677"/>
                        <a:pt x="231" y="692"/>
                        <a:pt x="260" y="703"/>
                      </a:cubicBezTo>
                      <a:cubicBezTo>
                        <a:pt x="265" y="706"/>
                        <a:pt x="270" y="707"/>
                        <a:pt x="276" y="709"/>
                      </a:cubicBezTo>
                      <a:cubicBezTo>
                        <a:pt x="305" y="717"/>
                        <a:pt x="344" y="722"/>
                        <a:pt x="386" y="722"/>
                      </a:cubicBezTo>
                      <a:cubicBezTo>
                        <a:pt x="400" y="722"/>
                        <a:pt x="414" y="721"/>
                        <a:pt x="427" y="720"/>
                      </a:cubicBezTo>
                      <a:cubicBezTo>
                        <a:pt x="413" y="700"/>
                        <a:pt x="404" y="677"/>
                        <a:pt x="402" y="654"/>
                      </a:cubicBezTo>
                      <a:cubicBezTo>
                        <a:pt x="397" y="654"/>
                        <a:pt x="391" y="654"/>
                        <a:pt x="386" y="654"/>
                      </a:cubicBezTo>
                      <a:cubicBezTo>
                        <a:pt x="298" y="654"/>
                        <a:pt x="226" y="634"/>
                        <a:pt x="213" y="604"/>
                      </a:cubicBezTo>
                      <a:cubicBezTo>
                        <a:pt x="213" y="662"/>
                        <a:pt x="213" y="662"/>
                        <a:pt x="213" y="662"/>
                      </a:cubicBezTo>
                      <a:cubicBezTo>
                        <a:pt x="213" y="663"/>
                        <a:pt x="213" y="663"/>
                        <a:pt x="213" y="663"/>
                      </a:cubicBezTo>
                      <a:cubicBezTo>
                        <a:pt x="213" y="663"/>
                        <a:pt x="213" y="663"/>
                        <a:pt x="213" y="664"/>
                      </a:cubicBezTo>
                      <a:close/>
                      <a:moveTo>
                        <a:pt x="626" y="594"/>
                      </a:moveTo>
                      <a:cubicBezTo>
                        <a:pt x="645" y="629"/>
                        <a:pt x="642" y="673"/>
                        <a:pt x="615" y="706"/>
                      </a:cubicBezTo>
                      <a:cubicBezTo>
                        <a:pt x="613" y="709"/>
                        <a:pt x="610" y="712"/>
                        <a:pt x="607" y="715"/>
                      </a:cubicBezTo>
                      <a:cubicBezTo>
                        <a:pt x="604" y="718"/>
                        <a:pt x="601" y="720"/>
                        <a:pt x="599" y="722"/>
                      </a:cubicBezTo>
                      <a:cubicBezTo>
                        <a:pt x="598" y="722"/>
                        <a:pt x="598" y="722"/>
                        <a:pt x="598" y="722"/>
                      </a:cubicBezTo>
                      <a:cubicBezTo>
                        <a:pt x="596" y="724"/>
                        <a:pt x="593" y="726"/>
                        <a:pt x="591" y="728"/>
                      </a:cubicBezTo>
                      <a:cubicBezTo>
                        <a:pt x="575" y="738"/>
                        <a:pt x="556" y="743"/>
                        <a:pt x="536" y="743"/>
                      </a:cubicBezTo>
                      <a:cubicBezTo>
                        <a:pt x="517" y="743"/>
                        <a:pt x="498" y="738"/>
                        <a:pt x="482" y="728"/>
                      </a:cubicBezTo>
                      <a:cubicBezTo>
                        <a:pt x="476" y="723"/>
                        <a:pt x="469" y="718"/>
                        <a:pt x="464" y="712"/>
                      </a:cubicBezTo>
                      <a:cubicBezTo>
                        <a:pt x="432" y="680"/>
                        <a:pt x="427" y="631"/>
                        <a:pt x="448" y="594"/>
                      </a:cubicBezTo>
                      <a:cubicBezTo>
                        <a:pt x="452" y="585"/>
                        <a:pt x="459" y="576"/>
                        <a:pt x="466" y="569"/>
                      </a:cubicBezTo>
                      <a:cubicBezTo>
                        <a:pt x="477" y="558"/>
                        <a:pt x="491" y="550"/>
                        <a:pt x="505" y="546"/>
                      </a:cubicBezTo>
                      <a:cubicBezTo>
                        <a:pt x="515" y="542"/>
                        <a:pt x="526" y="541"/>
                        <a:pt x="536" y="541"/>
                      </a:cubicBezTo>
                      <a:cubicBezTo>
                        <a:pt x="547" y="541"/>
                        <a:pt x="558" y="542"/>
                        <a:pt x="568" y="546"/>
                      </a:cubicBezTo>
                      <a:cubicBezTo>
                        <a:pt x="583" y="551"/>
                        <a:pt x="598" y="559"/>
                        <a:pt x="610" y="571"/>
                      </a:cubicBezTo>
                      <a:cubicBezTo>
                        <a:pt x="616" y="578"/>
                        <a:pt x="621" y="586"/>
                        <a:pt x="626" y="594"/>
                      </a:cubicBezTo>
                      <a:close/>
                      <a:moveTo>
                        <a:pt x="605" y="603"/>
                      </a:moveTo>
                      <a:cubicBezTo>
                        <a:pt x="602" y="600"/>
                        <a:pt x="597" y="599"/>
                        <a:pt x="593" y="603"/>
                      </a:cubicBezTo>
                      <a:cubicBezTo>
                        <a:pt x="514" y="678"/>
                        <a:pt x="514" y="678"/>
                        <a:pt x="514" y="678"/>
                      </a:cubicBezTo>
                      <a:cubicBezTo>
                        <a:pt x="478" y="642"/>
                        <a:pt x="478" y="642"/>
                        <a:pt x="478" y="642"/>
                      </a:cubicBezTo>
                      <a:cubicBezTo>
                        <a:pt x="475" y="639"/>
                        <a:pt x="470" y="639"/>
                        <a:pt x="467" y="642"/>
                      </a:cubicBezTo>
                      <a:cubicBezTo>
                        <a:pt x="463" y="646"/>
                        <a:pt x="463" y="651"/>
                        <a:pt x="467" y="654"/>
                      </a:cubicBezTo>
                      <a:cubicBezTo>
                        <a:pt x="508" y="696"/>
                        <a:pt x="508" y="696"/>
                        <a:pt x="508" y="696"/>
                      </a:cubicBezTo>
                      <a:cubicBezTo>
                        <a:pt x="510" y="698"/>
                        <a:pt x="512" y="698"/>
                        <a:pt x="514" y="698"/>
                      </a:cubicBezTo>
                      <a:cubicBezTo>
                        <a:pt x="516" y="698"/>
                        <a:pt x="518" y="698"/>
                        <a:pt x="520" y="696"/>
                      </a:cubicBezTo>
                      <a:cubicBezTo>
                        <a:pt x="605" y="614"/>
                        <a:pt x="605" y="614"/>
                        <a:pt x="605" y="614"/>
                      </a:cubicBezTo>
                      <a:cubicBezTo>
                        <a:pt x="608" y="611"/>
                        <a:pt x="609" y="606"/>
                        <a:pt x="605" y="603"/>
                      </a:cubicBezTo>
                      <a:close/>
                    </a:path>
                  </a:pathLst>
                </a:custGeom>
                <a:solidFill>
                  <a:schemeClr val="tx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5" name="Freeform 58">
                  <a:extLst>
                    <a:ext uri="{FF2B5EF4-FFF2-40B4-BE49-F238E27FC236}">
                      <a16:creationId xmlns:a16="http://schemas.microsoft.com/office/drawing/2014/main" id="{41DC10DE-6281-475B-B214-9453ED5BFD61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394368" y="2109336"/>
                  <a:ext cx="1142051" cy="1191379"/>
                </a:xfrm>
                <a:custGeom>
                  <a:avLst/>
                  <a:gdLst>
                    <a:gd name="T0" fmla="*/ 172 w 1600"/>
                    <a:gd name="T1" fmla="*/ 711 h 1669"/>
                    <a:gd name="T2" fmla="*/ 128 w 1600"/>
                    <a:gd name="T3" fmla="*/ 1245 h 1669"/>
                    <a:gd name="T4" fmla="*/ 128 w 1600"/>
                    <a:gd name="T5" fmla="*/ 963 h 1669"/>
                    <a:gd name="T6" fmla="*/ 104 w 1600"/>
                    <a:gd name="T7" fmla="*/ 384 h 1669"/>
                    <a:gd name="T8" fmla="*/ 172 w 1600"/>
                    <a:gd name="T9" fmla="*/ 384 h 1669"/>
                    <a:gd name="T10" fmla="*/ 292 w 1600"/>
                    <a:gd name="T11" fmla="*/ 373 h 1669"/>
                    <a:gd name="T12" fmla="*/ 225 w 1600"/>
                    <a:gd name="T13" fmla="*/ 220 h 1669"/>
                    <a:gd name="T14" fmla="*/ 128 w 1600"/>
                    <a:gd name="T15" fmla="*/ 220 h 1669"/>
                    <a:gd name="T16" fmla="*/ 0 w 1600"/>
                    <a:gd name="T17" fmla="*/ 231 h 1669"/>
                    <a:gd name="T18" fmla="*/ 11 w 1600"/>
                    <a:gd name="T19" fmla="*/ 919 h 1669"/>
                    <a:gd name="T20" fmla="*/ 152 w 1600"/>
                    <a:gd name="T21" fmla="*/ 919 h 1669"/>
                    <a:gd name="T22" fmla="*/ 282 w 1600"/>
                    <a:gd name="T23" fmla="*/ 919 h 1669"/>
                    <a:gd name="T24" fmla="*/ 282 w 1600"/>
                    <a:gd name="T25" fmla="*/ 755 h 1669"/>
                    <a:gd name="T26" fmla="*/ 152 w 1600"/>
                    <a:gd name="T27" fmla="*/ 755 h 1669"/>
                    <a:gd name="T28" fmla="*/ 11 w 1600"/>
                    <a:gd name="T29" fmla="*/ 755 h 1669"/>
                    <a:gd name="T30" fmla="*/ 11 w 1600"/>
                    <a:gd name="T31" fmla="*/ 919 h 1669"/>
                    <a:gd name="T32" fmla="*/ 225 w 1600"/>
                    <a:gd name="T33" fmla="*/ 1453 h 1669"/>
                    <a:gd name="T34" fmla="*/ 292 w 1600"/>
                    <a:gd name="T35" fmla="*/ 1300 h 1669"/>
                    <a:gd name="T36" fmla="*/ 172 w 1600"/>
                    <a:gd name="T37" fmla="*/ 1289 h 1669"/>
                    <a:gd name="T38" fmla="*/ 104 w 1600"/>
                    <a:gd name="T39" fmla="*/ 1289 h 1669"/>
                    <a:gd name="T40" fmla="*/ 0 w 1600"/>
                    <a:gd name="T41" fmla="*/ 1442 h 1669"/>
                    <a:gd name="T42" fmla="*/ 128 w 1600"/>
                    <a:gd name="T43" fmla="*/ 1453 h 1669"/>
                    <a:gd name="T44" fmla="*/ 1091 w 1600"/>
                    <a:gd name="T45" fmla="*/ 1000 h 1669"/>
                    <a:gd name="T46" fmla="*/ 1115 w 1600"/>
                    <a:gd name="T47" fmla="*/ 1177 h 1669"/>
                    <a:gd name="T48" fmla="*/ 1007 w 1600"/>
                    <a:gd name="T49" fmla="*/ 1108 h 1669"/>
                    <a:gd name="T50" fmla="*/ 505 w 1600"/>
                    <a:gd name="T51" fmla="*/ 1123 h 1669"/>
                    <a:gd name="T52" fmla="*/ 361 w 1600"/>
                    <a:gd name="T53" fmla="*/ 857 h 1669"/>
                    <a:gd name="T54" fmla="*/ 406 w 1600"/>
                    <a:gd name="T55" fmla="*/ 631 h 1669"/>
                    <a:gd name="T56" fmla="*/ 623 w 1600"/>
                    <a:gd name="T57" fmla="*/ 449 h 1669"/>
                    <a:gd name="T58" fmla="*/ 989 w 1600"/>
                    <a:gd name="T59" fmla="*/ 513 h 1669"/>
                    <a:gd name="T60" fmla="*/ 1136 w 1600"/>
                    <a:gd name="T61" fmla="*/ 813 h 1669"/>
                    <a:gd name="T62" fmla="*/ 1038 w 1600"/>
                    <a:gd name="T63" fmla="*/ 995 h 1669"/>
                    <a:gd name="T64" fmla="*/ 1058 w 1600"/>
                    <a:gd name="T65" fmla="*/ 679 h 1669"/>
                    <a:gd name="T66" fmla="*/ 863 w 1600"/>
                    <a:gd name="T67" fmla="*/ 497 h 1669"/>
                    <a:gd name="T68" fmla="*/ 463 w 1600"/>
                    <a:gd name="T69" fmla="*/ 631 h 1669"/>
                    <a:gd name="T70" fmla="*/ 410 w 1600"/>
                    <a:gd name="T71" fmla="*/ 861 h 1669"/>
                    <a:gd name="T72" fmla="*/ 535 w 1600"/>
                    <a:gd name="T73" fmla="*/ 1084 h 1669"/>
                    <a:gd name="T74" fmla="*/ 1014 w 1600"/>
                    <a:gd name="T75" fmla="*/ 1030 h 1669"/>
                    <a:gd name="T76" fmla="*/ 1560 w 1600"/>
                    <a:gd name="T77" fmla="*/ 1452 h 1669"/>
                    <a:gd name="T78" fmla="*/ 1458 w 1600"/>
                    <a:gd name="T79" fmla="*/ 1490 h 1669"/>
                    <a:gd name="T80" fmla="*/ 1365 w 1600"/>
                    <a:gd name="T81" fmla="*/ 1669 h 1669"/>
                    <a:gd name="T82" fmla="*/ 128 w 1600"/>
                    <a:gd name="T83" fmla="*/ 1497 h 1669"/>
                    <a:gd name="T84" fmla="*/ 1343 w 1600"/>
                    <a:gd name="T85" fmla="*/ 1625 h 1669"/>
                    <a:gd name="T86" fmla="*/ 1141 w 1600"/>
                    <a:gd name="T87" fmla="*/ 1236 h 1669"/>
                    <a:gd name="T88" fmla="*/ 1155 w 1600"/>
                    <a:gd name="T89" fmla="*/ 1192 h 1669"/>
                    <a:gd name="T90" fmla="*/ 1257 w 1600"/>
                    <a:gd name="T91" fmla="*/ 1088 h 1669"/>
                    <a:gd name="T92" fmla="*/ 1343 w 1600"/>
                    <a:gd name="T93" fmla="*/ 44 h 1669"/>
                    <a:gd name="T94" fmla="*/ 128 w 1600"/>
                    <a:gd name="T95" fmla="*/ 176 h 1669"/>
                    <a:gd name="T96" fmla="*/ 1365 w 1600"/>
                    <a:gd name="T97" fmla="*/ 0 h 1669"/>
                    <a:gd name="T98" fmla="*/ 1575 w 1600"/>
                    <a:gd name="T99" fmla="*/ 1344 h 1669"/>
                    <a:gd name="T100" fmla="*/ 1419 w 1600"/>
                    <a:gd name="T101" fmla="*/ 1275 h 1669"/>
                    <a:gd name="T102" fmla="*/ 1313 w 1600"/>
                    <a:gd name="T103" fmla="*/ 1190 h 1669"/>
                    <a:gd name="T104" fmla="*/ 1309 w 1600"/>
                    <a:gd name="T105" fmla="*/ 1314 h 1669"/>
                    <a:gd name="T106" fmla="*/ 1415 w 1600"/>
                    <a:gd name="T107" fmla="*/ 1399 h 1669"/>
                    <a:gd name="T108" fmla="*/ 1488 w 1600"/>
                    <a:gd name="T109" fmla="*/ 1454 h 1669"/>
                    <a:gd name="T110" fmla="*/ 1526 w 1600"/>
                    <a:gd name="T111" fmla="*/ 1425 h 166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</a:cxnLst>
                  <a:rect l="0" t="0" r="r" b="b"/>
                  <a:pathLst>
                    <a:path w="1600" h="1669">
                      <a:moveTo>
                        <a:pt x="128" y="428"/>
                      </a:moveTo>
                      <a:cubicBezTo>
                        <a:pt x="172" y="428"/>
                        <a:pt x="172" y="428"/>
                        <a:pt x="172" y="428"/>
                      </a:cubicBezTo>
                      <a:cubicBezTo>
                        <a:pt x="172" y="711"/>
                        <a:pt x="172" y="711"/>
                        <a:pt x="172" y="711"/>
                      </a:cubicBezTo>
                      <a:cubicBezTo>
                        <a:pt x="128" y="711"/>
                        <a:pt x="128" y="711"/>
                        <a:pt x="128" y="711"/>
                      </a:cubicBezTo>
                      <a:lnTo>
                        <a:pt x="128" y="428"/>
                      </a:lnTo>
                      <a:close/>
                      <a:moveTo>
                        <a:pt x="128" y="1245"/>
                      </a:moveTo>
                      <a:cubicBezTo>
                        <a:pt x="172" y="1245"/>
                        <a:pt x="172" y="1245"/>
                        <a:pt x="172" y="1245"/>
                      </a:cubicBezTo>
                      <a:cubicBezTo>
                        <a:pt x="172" y="963"/>
                        <a:pt x="172" y="963"/>
                        <a:pt x="172" y="963"/>
                      </a:cubicBezTo>
                      <a:cubicBezTo>
                        <a:pt x="128" y="963"/>
                        <a:pt x="128" y="963"/>
                        <a:pt x="128" y="963"/>
                      </a:cubicBezTo>
                      <a:lnTo>
                        <a:pt x="128" y="1245"/>
                      </a:lnTo>
                      <a:close/>
                      <a:moveTo>
                        <a:pt x="11" y="384"/>
                      </a:moveTo>
                      <a:cubicBezTo>
                        <a:pt x="104" y="384"/>
                        <a:pt x="104" y="384"/>
                        <a:pt x="104" y="384"/>
                      </a:cubicBezTo>
                      <a:cubicBezTo>
                        <a:pt x="114" y="384"/>
                        <a:pt x="122" y="384"/>
                        <a:pt x="128" y="384"/>
                      </a:cubicBezTo>
                      <a:cubicBezTo>
                        <a:pt x="152" y="384"/>
                        <a:pt x="152" y="384"/>
                        <a:pt x="152" y="384"/>
                      </a:cubicBezTo>
                      <a:cubicBezTo>
                        <a:pt x="160" y="384"/>
                        <a:pt x="166" y="384"/>
                        <a:pt x="172" y="384"/>
                      </a:cubicBezTo>
                      <a:cubicBezTo>
                        <a:pt x="225" y="384"/>
                        <a:pt x="225" y="384"/>
                        <a:pt x="225" y="384"/>
                      </a:cubicBezTo>
                      <a:cubicBezTo>
                        <a:pt x="282" y="384"/>
                        <a:pt x="282" y="384"/>
                        <a:pt x="282" y="384"/>
                      </a:cubicBezTo>
                      <a:cubicBezTo>
                        <a:pt x="288" y="384"/>
                        <a:pt x="292" y="379"/>
                        <a:pt x="292" y="373"/>
                      </a:cubicBezTo>
                      <a:cubicBezTo>
                        <a:pt x="292" y="231"/>
                        <a:pt x="292" y="231"/>
                        <a:pt x="292" y="231"/>
                      </a:cubicBezTo>
                      <a:cubicBezTo>
                        <a:pt x="292" y="226"/>
                        <a:pt x="288" y="220"/>
                        <a:pt x="282" y="220"/>
                      </a:cubicBezTo>
                      <a:cubicBezTo>
                        <a:pt x="225" y="220"/>
                        <a:pt x="225" y="220"/>
                        <a:pt x="225" y="220"/>
                      </a:cubicBezTo>
                      <a:cubicBezTo>
                        <a:pt x="199" y="220"/>
                        <a:pt x="183" y="220"/>
                        <a:pt x="172" y="220"/>
                      </a:cubicBezTo>
                      <a:cubicBezTo>
                        <a:pt x="152" y="220"/>
                        <a:pt x="152" y="220"/>
                        <a:pt x="152" y="220"/>
                      </a:cubicBezTo>
                      <a:cubicBezTo>
                        <a:pt x="142" y="220"/>
                        <a:pt x="134" y="220"/>
                        <a:pt x="128" y="220"/>
                      </a:cubicBezTo>
                      <a:cubicBezTo>
                        <a:pt x="104" y="220"/>
                        <a:pt x="104" y="220"/>
                        <a:pt x="104" y="220"/>
                      </a:cubicBezTo>
                      <a:cubicBezTo>
                        <a:pt x="11" y="220"/>
                        <a:pt x="11" y="220"/>
                        <a:pt x="11" y="220"/>
                      </a:cubicBezTo>
                      <a:cubicBezTo>
                        <a:pt x="5" y="220"/>
                        <a:pt x="0" y="226"/>
                        <a:pt x="0" y="231"/>
                      </a:cubicBezTo>
                      <a:cubicBezTo>
                        <a:pt x="0" y="373"/>
                        <a:pt x="0" y="373"/>
                        <a:pt x="0" y="373"/>
                      </a:cubicBezTo>
                      <a:cubicBezTo>
                        <a:pt x="0" y="379"/>
                        <a:pt x="5" y="384"/>
                        <a:pt x="11" y="384"/>
                      </a:cubicBezTo>
                      <a:close/>
                      <a:moveTo>
                        <a:pt x="11" y="919"/>
                      </a:moveTo>
                      <a:cubicBezTo>
                        <a:pt x="104" y="919"/>
                        <a:pt x="104" y="919"/>
                        <a:pt x="104" y="919"/>
                      </a:cubicBezTo>
                      <a:cubicBezTo>
                        <a:pt x="114" y="919"/>
                        <a:pt x="122" y="919"/>
                        <a:pt x="128" y="919"/>
                      </a:cubicBezTo>
                      <a:cubicBezTo>
                        <a:pt x="152" y="919"/>
                        <a:pt x="152" y="919"/>
                        <a:pt x="152" y="919"/>
                      </a:cubicBezTo>
                      <a:cubicBezTo>
                        <a:pt x="160" y="919"/>
                        <a:pt x="166" y="919"/>
                        <a:pt x="172" y="919"/>
                      </a:cubicBezTo>
                      <a:cubicBezTo>
                        <a:pt x="225" y="919"/>
                        <a:pt x="225" y="919"/>
                        <a:pt x="225" y="919"/>
                      </a:cubicBezTo>
                      <a:cubicBezTo>
                        <a:pt x="282" y="919"/>
                        <a:pt x="282" y="919"/>
                        <a:pt x="282" y="919"/>
                      </a:cubicBezTo>
                      <a:cubicBezTo>
                        <a:pt x="288" y="919"/>
                        <a:pt x="292" y="913"/>
                        <a:pt x="292" y="908"/>
                      </a:cubicBezTo>
                      <a:cubicBezTo>
                        <a:pt x="292" y="766"/>
                        <a:pt x="292" y="766"/>
                        <a:pt x="292" y="766"/>
                      </a:cubicBezTo>
                      <a:cubicBezTo>
                        <a:pt x="292" y="760"/>
                        <a:pt x="288" y="755"/>
                        <a:pt x="282" y="755"/>
                      </a:cubicBezTo>
                      <a:cubicBezTo>
                        <a:pt x="225" y="755"/>
                        <a:pt x="225" y="755"/>
                        <a:pt x="225" y="755"/>
                      </a:cubicBezTo>
                      <a:cubicBezTo>
                        <a:pt x="199" y="755"/>
                        <a:pt x="183" y="755"/>
                        <a:pt x="172" y="755"/>
                      </a:cubicBezTo>
                      <a:cubicBezTo>
                        <a:pt x="152" y="755"/>
                        <a:pt x="152" y="755"/>
                        <a:pt x="152" y="755"/>
                      </a:cubicBezTo>
                      <a:cubicBezTo>
                        <a:pt x="142" y="755"/>
                        <a:pt x="134" y="755"/>
                        <a:pt x="128" y="755"/>
                      </a:cubicBezTo>
                      <a:cubicBezTo>
                        <a:pt x="104" y="755"/>
                        <a:pt x="104" y="755"/>
                        <a:pt x="104" y="755"/>
                      </a:cubicBezTo>
                      <a:cubicBezTo>
                        <a:pt x="11" y="755"/>
                        <a:pt x="11" y="755"/>
                        <a:pt x="11" y="755"/>
                      </a:cubicBezTo>
                      <a:cubicBezTo>
                        <a:pt x="5" y="755"/>
                        <a:pt x="0" y="760"/>
                        <a:pt x="0" y="766"/>
                      </a:cubicBezTo>
                      <a:cubicBezTo>
                        <a:pt x="0" y="908"/>
                        <a:pt x="0" y="908"/>
                        <a:pt x="0" y="908"/>
                      </a:cubicBezTo>
                      <a:cubicBezTo>
                        <a:pt x="0" y="913"/>
                        <a:pt x="5" y="919"/>
                        <a:pt x="11" y="919"/>
                      </a:cubicBezTo>
                      <a:close/>
                      <a:moveTo>
                        <a:pt x="152" y="1453"/>
                      </a:moveTo>
                      <a:cubicBezTo>
                        <a:pt x="160" y="1453"/>
                        <a:pt x="166" y="1453"/>
                        <a:pt x="172" y="1453"/>
                      </a:cubicBezTo>
                      <a:cubicBezTo>
                        <a:pt x="225" y="1453"/>
                        <a:pt x="225" y="1453"/>
                        <a:pt x="225" y="1453"/>
                      </a:cubicBezTo>
                      <a:cubicBezTo>
                        <a:pt x="282" y="1453"/>
                        <a:pt x="282" y="1453"/>
                        <a:pt x="282" y="1453"/>
                      </a:cubicBezTo>
                      <a:cubicBezTo>
                        <a:pt x="288" y="1453"/>
                        <a:pt x="292" y="1447"/>
                        <a:pt x="292" y="1442"/>
                      </a:cubicBezTo>
                      <a:cubicBezTo>
                        <a:pt x="292" y="1300"/>
                        <a:pt x="292" y="1300"/>
                        <a:pt x="292" y="1300"/>
                      </a:cubicBezTo>
                      <a:cubicBezTo>
                        <a:pt x="292" y="1294"/>
                        <a:pt x="288" y="1289"/>
                        <a:pt x="282" y="1289"/>
                      </a:cubicBezTo>
                      <a:cubicBezTo>
                        <a:pt x="225" y="1289"/>
                        <a:pt x="225" y="1289"/>
                        <a:pt x="225" y="1289"/>
                      </a:cubicBezTo>
                      <a:cubicBezTo>
                        <a:pt x="199" y="1289"/>
                        <a:pt x="183" y="1289"/>
                        <a:pt x="172" y="1289"/>
                      </a:cubicBezTo>
                      <a:cubicBezTo>
                        <a:pt x="152" y="1289"/>
                        <a:pt x="152" y="1289"/>
                        <a:pt x="152" y="1289"/>
                      </a:cubicBezTo>
                      <a:cubicBezTo>
                        <a:pt x="142" y="1289"/>
                        <a:pt x="134" y="1289"/>
                        <a:pt x="128" y="1289"/>
                      </a:cubicBezTo>
                      <a:cubicBezTo>
                        <a:pt x="104" y="1289"/>
                        <a:pt x="104" y="1289"/>
                        <a:pt x="104" y="1289"/>
                      </a:cubicBezTo>
                      <a:cubicBezTo>
                        <a:pt x="11" y="1289"/>
                        <a:pt x="11" y="1289"/>
                        <a:pt x="11" y="1289"/>
                      </a:cubicBezTo>
                      <a:cubicBezTo>
                        <a:pt x="5" y="1289"/>
                        <a:pt x="0" y="1294"/>
                        <a:pt x="0" y="1300"/>
                      </a:cubicBezTo>
                      <a:cubicBezTo>
                        <a:pt x="0" y="1442"/>
                        <a:pt x="0" y="1442"/>
                        <a:pt x="0" y="1442"/>
                      </a:cubicBezTo>
                      <a:cubicBezTo>
                        <a:pt x="0" y="1447"/>
                        <a:pt x="5" y="1453"/>
                        <a:pt x="11" y="1453"/>
                      </a:cubicBezTo>
                      <a:cubicBezTo>
                        <a:pt x="104" y="1453"/>
                        <a:pt x="104" y="1453"/>
                        <a:pt x="104" y="1453"/>
                      </a:cubicBezTo>
                      <a:cubicBezTo>
                        <a:pt x="114" y="1453"/>
                        <a:pt x="122" y="1453"/>
                        <a:pt x="128" y="1453"/>
                      </a:cubicBezTo>
                      <a:cubicBezTo>
                        <a:pt x="152" y="1453"/>
                        <a:pt x="152" y="1453"/>
                        <a:pt x="152" y="1453"/>
                      </a:cubicBezTo>
                      <a:close/>
                      <a:moveTo>
                        <a:pt x="1093" y="995"/>
                      </a:moveTo>
                      <a:cubicBezTo>
                        <a:pt x="1092" y="996"/>
                        <a:pt x="1091" y="998"/>
                        <a:pt x="1091" y="1000"/>
                      </a:cubicBezTo>
                      <a:cubicBezTo>
                        <a:pt x="1112" y="1017"/>
                        <a:pt x="1129" y="1030"/>
                        <a:pt x="1142" y="1041"/>
                      </a:cubicBezTo>
                      <a:cubicBezTo>
                        <a:pt x="1175" y="1067"/>
                        <a:pt x="1187" y="1077"/>
                        <a:pt x="1191" y="1080"/>
                      </a:cubicBezTo>
                      <a:cubicBezTo>
                        <a:pt x="1146" y="1137"/>
                        <a:pt x="1125" y="1164"/>
                        <a:pt x="1115" y="1177"/>
                      </a:cubicBezTo>
                      <a:cubicBezTo>
                        <a:pt x="1106" y="1188"/>
                        <a:pt x="1106" y="1188"/>
                        <a:pt x="1106" y="1188"/>
                      </a:cubicBezTo>
                      <a:cubicBezTo>
                        <a:pt x="1102" y="1184"/>
                        <a:pt x="1097" y="1180"/>
                        <a:pt x="1092" y="1177"/>
                      </a:cubicBezTo>
                      <a:cubicBezTo>
                        <a:pt x="1007" y="1108"/>
                        <a:pt x="1007" y="1108"/>
                        <a:pt x="1007" y="1108"/>
                      </a:cubicBezTo>
                      <a:cubicBezTo>
                        <a:pt x="974" y="1137"/>
                        <a:pt x="937" y="1160"/>
                        <a:pt x="898" y="1177"/>
                      </a:cubicBezTo>
                      <a:cubicBezTo>
                        <a:pt x="802" y="1216"/>
                        <a:pt x="694" y="1217"/>
                        <a:pt x="597" y="1177"/>
                      </a:cubicBezTo>
                      <a:cubicBezTo>
                        <a:pt x="565" y="1163"/>
                        <a:pt x="534" y="1145"/>
                        <a:pt x="505" y="1123"/>
                      </a:cubicBezTo>
                      <a:cubicBezTo>
                        <a:pt x="476" y="1099"/>
                        <a:pt x="451" y="1072"/>
                        <a:pt x="430" y="1043"/>
                      </a:cubicBezTo>
                      <a:cubicBezTo>
                        <a:pt x="419" y="1027"/>
                        <a:pt x="410" y="1011"/>
                        <a:pt x="401" y="995"/>
                      </a:cubicBezTo>
                      <a:cubicBezTo>
                        <a:pt x="379" y="951"/>
                        <a:pt x="366" y="905"/>
                        <a:pt x="361" y="857"/>
                      </a:cubicBezTo>
                      <a:cubicBezTo>
                        <a:pt x="359" y="844"/>
                        <a:pt x="359" y="831"/>
                        <a:pt x="359" y="818"/>
                      </a:cubicBezTo>
                      <a:cubicBezTo>
                        <a:pt x="358" y="771"/>
                        <a:pt x="367" y="723"/>
                        <a:pt x="384" y="679"/>
                      </a:cubicBezTo>
                      <a:cubicBezTo>
                        <a:pt x="390" y="662"/>
                        <a:pt x="397" y="646"/>
                        <a:pt x="406" y="631"/>
                      </a:cubicBezTo>
                      <a:cubicBezTo>
                        <a:pt x="416" y="611"/>
                        <a:pt x="428" y="592"/>
                        <a:pt x="443" y="575"/>
                      </a:cubicBezTo>
                      <a:cubicBezTo>
                        <a:pt x="467" y="544"/>
                        <a:pt x="496" y="518"/>
                        <a:pt x="527" y="497"/>
                      </a:cubicBezTo>
                      <a:cubicBezTo>
                        <a:pt x="557" y="476"/>
                        <a:pt x="589" y="460"/>
                        <a:pt x="623" y="449"/>
                      </a:cubicBezTo>
                      <a:cubicBezTo>
                        <a:pt x="703" y="422"/>
                        <a:pt x="790" y="421"/>
                        <a:pt x="871" y="449"/>
                      </a:cubicBezTo>
                      <a:cubicBezTo>
                        <a:pt x="905" y="460"/>
                        <a:pt x="937" y="476"/>
                        <a:pt x="967" y="497"/>
                      </a:cubicBezTo>
                      <a:cubicBezTo>
                        <a:pt x="975" y="502"/>
                        <a:pt x="982" y="507"/>
                        <a:pt x="989" y="513"/>
                      </a:cubicBezTo>
                      <a:cubicBezTo>
                        <a:pt x="1031" y="546"/>
                        <a:pt x="1064" y="586"/>
                        <a:pt x="1088" y="631"/>
                      </a:cubicBezTo>
                      <a:cubicBezTo>
                        <a:pt x="1097" y="646"/>
                        <a:pt x="1104" y="662"/>
                        <a:pt x="1110" y="679"/>
                      </a:cubicBezTo>
                      <a:cubicBezTo>
                        <a:pt x="1126" y="722"/>
                        <a:pt x="1135" y="767"/>
                        <a:pt x="1136" y="813"/>
                      </a:cubicBezTo>
                      <a:cubicBezTo>
                        <a:pt x="1136" y="829"/>
                        <a:pt x="1135" y="845"/>
                        <a:pt x="1133" y="861"/>
                      </a:cubicBezTo>
                      <a:cubicBezTo>
                        <a:pt x="1128" y="907"/>
                        <a:pt x="1115" y="952"/>
                        <a:pt x="1093" y="995"/>
                      </a:cubicBezTo>
                      <a:close/>
                      <a:moveTo>
                        <a:pt x="1038" y="995"/>
                      </a:moveTo>
                      <a:cubicBezTo>
                        <a:pt x="1064" y="953"/>
                        <a:pt x="1079" y="907"/>
                        <a:pt x="1085" y="861"/>
                      </a:cubicBezTo>
                      <a:cubicBezTo>
                        <a:pt x="1087" y="845"/>
                        <a:pt x="1088" y="829"/>
                        <a:pt x="1087" y="813"/>
                      </a:cubicBezTo>
                      <a:cubicBezTo>
                        <a:pt x="1087" y="767"/>
                        <a:pt x="1077" y="721"/>
                        <a:pt x="1058" y="679"/>
                      </a:cubicBezTo>
                      <a:cubicBezTo>
                        <a:pt x="1051" y="662"/>
                        <a:pt x="1042" y="646"/>
                        <a:pt x="1032" y="631"/>
                      </a:cubicBezTo>
                      <a:cubicBezTo>
                        <a:pt x="1012" y="601"/>
                        <a:pt x="988" y="574"/>
                        <a:pt x="959" y="550"/>
                      </a:cubicBezTo>
                      <a:cubicBezTo>
                        <a:pt x="929" y="527"/>
                        <a:pt x="897" y="509"/>
                        <a:pt x="863" y="497"/>
                      </a:cubicBezTo>
                      <a:cubicBezTo>
                        <a:pt x="788" y="469"/>
                        <a:pt x="706" y="470"/>
                        <a:pt x="632" y="497"/>
                      </a:cubicBezTo>
                      <a:cubicBezTo>
                        <a:pt x="574" y="517"/>
                        <a:pt x="522" y="554"/>
                        <a:pt x="481" y="605"/>
                      </a:cubicBezTo>
                      <a:cubicBezTo>
                        <a:pt x="474" y="614"/>
                        <a:pt x="468" y="622"/>
                        <a:pt x="463" y="631"/>
                      </a:cubicBezTo>
                      <a:cubicBezTo>
                        <a:pt x="452" y="646"/>
                        <a:pt x="444" y="662"/>
                        <a:pt x="436" y="679"/>
                      </a:cubicBezTo>
                      <a:cubicBezTo>
                        <a:pt x="417" y="721"/>
                        <a:pt x="408" y="767"/>
                        <a:pt x="407" y="813"/>
                      </a:cubicBezTo>
                      <a:cubicBezTo>
                        <a:pt x="407" y="829"/>
                        <a:pt x="408" y="845"/>
                        <a:pt x="410" y="861"/>
                      </a:cubicBezTo>
                      <a:cubicBezTo>
                        <a:pt x="416" y="908"/>
                        <a:pt x="432" y="953"/>
                        <a:pt x="457" y="995"/>
                      </a:cubicBezTo>
                      <a:cubicBezTo>
                        <a:pt x="467" y="1011"/>
                        <a:pt x="479" y="1027"/>
                        <a:pt x="492" y="1043"/>
                      </a:cubicBezTo>
                      <a:cubicBezTo>
                        <a:pt x="505" y="1058"/>
                        <a:pt x="519" y="1072"/>
                        <a:pt x="535" y="1084"/>
                      </a:cubicBezTo>
                      <a:cubicBezTo>
                        <a:pt x="673" y="1193"/>
                        <a:pt x="868" y="1179"/>
                        <a:pt x="989" y="1058"/>
                      </a:cubicBezTo>
                      <a:cubicBezTo>
                        <a:pt x="994" y="1053"/>
                        <a:pt x="998" y="1048"/>
                        <a:pt x="1003" y="1043"/>
                      </a:cubicBezTo>
                      <a:cubicBezTo>
                        <a:pt x="1007" y="1038"/>
                        <a:pt x="1010" y="1034"/>
                        <a:pt x="1014" y="1030"/>
                      </a:cubicBezTo>
                      <a:cubicBezTo>
                        <a:pt x="1022" y="1019"/>
                        <a:pt x="1030" y="1007"/>
                        <a:pt x="1038" y="995"/>
                      </a:cubicBezTo>
                      <a:cubicBezTo>
                        <a:pt x="1038" y="995"/>
                        <a:pt x="1038" y="995"/>
                        <a:pt x="1038" y="995"/>
                      </a:cubicBezTo>
                      <a:close/>
                      <a:moveTo>
                        <a:pt x="1560" y="1452"/>
                      </a:moveTo>
                      <a:cubicBezTo>
                        <a:pt x="1546" y="1470"/>
                        <a:pt x="1528" y="1485"/>
                        <a:pt x="1511" y="1492"/>
                      </a:cubicBezTo>
                      <a:cubicBezTo>
                        <a:pt x="1507" y="1494"/>
                        <a:pt x="1503" y="1496"/>
                        <a:pt x="1498" y="1497"/>
                      </a:cubicBezTo>
                      <a:cubicBezTo>
                        <a:pt x="1483" y="1501"/>
                        <a:pt x="1469" y="1498"/>
                        <a:pt x="1458" y="1490"/>
                      </a:cubicBezTo>
                      <a:cubicBezTo>
                        <a:pt x="1458" y="1490"/>
                        <a:pt x="1458" y="1490"/>
                        <a:pt x="1387" y="1433"/>
                      </a:cubicBezTo>
                      <a:cubicBezTo>
                        <a:pt x="1387" y="1647"/>
                        <a:pt x="1387" y="1647"/>
                        <a:pt x="1387" y="1647"/>
                      </a:cubicBezTo>
                      <a:cubicBezTo>
                        <a:pt x="1387" y="1659"/>
                        <a:pt x="1377" y="1669"/>
                        <a:pt x="1365" y="1669"/>
                      </a:cubicBezTo>
                      <a:cubicBezTo>
                        <a:pt x="150" y="1669"/>
                        <a:pt x="150" y="1669"/>
                        <a:pt x="150" y="1669"/>
                      </a:cubicBezTo>
                      <a:cubicBezTo>
                        <a:pt x="138" y="1669"/>
                        <a:pt x="128" y="1659"/>
                        <a:pt x="128" y="1647"/>
                      </a:cubicBezTo>
                      <a:cubicBezTo>
                        <a:pt x="128" y="1497"/>
                        <a:pt x="128" y="1497"/>
                        <a:pt x="128" y="1497"/>
                      </a:cubicBezTo>
                      <a:cubicBezTo>
                        <a:pt x="172" y="1497"/>
                        <a:pt x="172" y="1497"/>
                        <a:pt x="172" y="1497"/>
                      </a:cubicBezTo>
                      <a:cubicBezTo>
                        <a:pt x="172" y="1625"/>
                        <a:pt x="172" y="1625"/>
                        <a:pt x="172" y="1625"/>
                      </a:cubicBezTo>
                      <a:cubicBezTo>
                        <a:pt x="1343" y="1625"/>
                        <a:pt x="1343" y="1625"/>
                        <a:pt x="1343" y="1625"/>
                      </a:cubicBezTo>
                      <a:cubicBezTo>
                        <a:pt x="1343" y="1397"/>
                        <a:pt x="1343" y="1397"/>
                        <a:pt x="1343" y="1397"/>
                      </a:cubicBezTo>
                      <a:cubicBezTo>
                        <a:pt x="1297" y="1361"/>
                        <a:pt x="1233" y="1310"/>
                        <a:pt x="1144" y="1238"/>
                      </a:cubicBezTo>
                      <a:cubicBezTo>
                        <a:pt x="1143" y="1237"/>
                        <a:pt x="1142" y="1237"/>
                        <a:pt x="1141" y="1236"/>
                      </a:cubicBezTo>
                      <a:cubicBezTo>
                        <a:pt x="1138" y="1233"/>
                        <a:pt x="1135" y="1229"/>
                        <a:pt x="1135" y="1225"/>
                      </a:cubicBezTo>
                      <a:cubicBezTo>
                        <a:pt x="1135" y="1221"/>
                        <a:pt x="1136" y="1217"/>
                        <a:pt x="1138" y="1213"/>
                      </a:cubicBezTo>
                      <a:cubicBezTo>
                        <a:pt x="1138" y="1213"/>
                        <a:pt x="1138" y="1213"/>
                        <a:pt x="1155" y="1192"/>
                      </a:cubicBezTo>
                      <a:cubicBezTo>
                        <a:pt x="1169" y="1175"/>
                        <a:pt x="1192" y="1145"/>
                        <a:pt x="1235" y="1091"/>
                      </a:cubicBezTo>
                      <a:cubicBezTo>
                        <a:pt x="1238" y="1088"/>
                        <a:pt x="1241" y="1086"/>
                        <a:pt x="1245" y="1086"/>
                      </a:cubicBezTo>
                      <a:cubicBezTo>
                        <a:pt x="1250" y="1085"/>
                        <a:pt x="1254" y="1086"/>
                        <a:pt x="1257" y="1088"/>
                      </a:cubicBezTo>
                      <a:cubicBezTo>
                        <a:pt x="1257" y="1088"/>
                        <a:pt x="1257" y="1088"/>
                        <a:pt x="1260" y="1091"/>
                      </a:cubicBezTo>
                      <a:cubicBezTo>
                        <a:pt x="1267" y="1096"/>
                        <a:pt x="1286" y="1112"/>
                        <a:pt x="1343" y="1157"/>
                      </a:cubicBezTo>
                      <a:cubicBezTo>
                        <a:pt x="1343" y="44"/>
                        <a:pt x="1343" y="44"/>
                        <a:pt x="1343" y="44"/>
                      </a:cubicBezTo>
                      <a:cubicBezTo>
                        <a:pt x="172" y="44"/>
                        <a:pt x="172" y="44"/>
                        <a:pt x="172" y="44"/>
                      </a:cubicBezTo>
                      <a:cubicBezTo>
                        <a:pt x="172" y="176"/>
                        <a:pt x="172" y="176"/>
                        <a:pt x="172" y="176"/>
                      </a:cubicBezTo>
                      <a:cubicBezTo>
                        <a:pt x="128" y="176"/>
                        <a:pt x="128" y="176"/>
                        <a:pt x="128" y="176"/>
                      </a:cubicBezTo>
                      <a:cubicBezTo>
                        <a:pt x="128" y="22"/>
                        <a:pt x="128" y="22"/>
                        <a:pt x="128" y="22"/>
                      </a:cubicBezTo>
                      <a:cubicBezTo>
                        <a:pt x="128" y="10"/>
                        <a:pt x="138" y="0"/>
                        <a:pt x="150" y="0"/>
                      </a:cubicBezTo>
                      <a:cubicBezTo>
                        <a:pt x="1365" y="0"/>
                        <a:pt x="1365" y="0"/>
                        <a:pt x="1365" y="0"/>
                      </a:cubicBezTo>
                      <a:cubicBezTo>
                        <a:pt x="1377" y="0"/>
                        <a:pt x="1387" y="10"/>
                        <a:pt x="1387" y="22"/>
                      </a:cubicBezTo>
                      <a:cubicBezTo>
                        <a:pt x="1387" y="1193"/>
                        <a:pt x="1387" y="1193"/>
                        <a:pt x="1387" y="1193"/>
                      </a:cubicBezTo>
                      <a:cubicBezTo>
                        <a:pt x="1432" y="1229"/>
                        <a:pt x="1493" y="1278"/>
                        <a:pt x="1575" y="1344"/>
                      </a:cubicBezTo>
                      <a:cubicBezTo>
                        <a:pt x="1600" y="1364"/>
                        <a:pt x="1594" y="1410"/>
                        <a:pt x="1560" y="1452"/>
                      </a:cubicBezTo>
                      <a:close/>
                      <a:moveTo>
                        <a:pt x="1546" y="1377"/>
                      </a:moveTo>
                      <a:cubicBezTo>
                        <a:pt x="1419" y="1275"/>
                        <a:pt x="1419" y="1275"/>
                        <a:pt x="1419" y="1275"/>
                      </a:cubicBezTo>
                      <a:cubicBezTo>
                        <a:pt x="1387" y="1249"/>
                        <a:pt x="1387" y="1249"/>
                        <a:pt x="1387" y="1249"/>
                      </a:cubicBezTo>
                      <a:cubicBezTo>
                        <a:pt x="1343" y="1214"/>
                        <a:pt x="1343" y="1214"/>
                        <a:pt x="1343" y="1214"/>
                      </a:cubicBezTo>
                      <a:cubicBezTo>
                        <a:pt x="1313" y="1190"/>
                        <a:pt x="1313" y="1190"/>
                        <a:pt x="1313" y="1190"/>
                      </a:cubicBezTo>
                      <a:cubicBezTo>
                        <a:pt x="1252" y="1141"/>
                        <a:pt x="1252" y="1141"/>
                        <a:pt x="1252" y="1141"/>
                      </a:cubicBezTo>
                      <a:cubicBezTo>
                        <a:pt x="1190" y="1219"/>
                        <a:pt x="1190" y="1219"/>
                        <a:pt x="1190" y="1219"/>
                      </a:cubicBezTo>
                      <a:cubicBezTo>
                        <a:pt x="1309" y="1314"/>
                        <a:pt x="1309" y="1314"/>
                        <a:pt x="1309" y="1314"/>
                      </a:cubicBezTo>
                      <a:cubicBezTo>
                        <a:pt x="1343" y="1341"/>
                        <a:pt x="1343" y="1341"/>
                        <a:pt x="1343" y="1341"/>
                      </a:cubicBezTo>
                      <a:cubicBezTo>
                        <a:pt x="1387" y="1376"/>
                        <a:pt x="1387" y="1376"/>
                        <a:pt x="1387" y="1376"/>
                      </a:cubicBezTo>
                      <a:cubicBezTo>
                        <a:pt x="1415" y="1399"/>
                        <a:pt x="1415" y="1399"/>
                        <a:pt x="1415" y="1399"/>
                      </a:cubicBezTo>
                      <a:cubicBezTo>
                        <a:pt x="1484" y="1455"/>
                        <a:pt x="1484" y="1455"/>
                        <a:pt x="1484" y="1455"/>
                      </a:cubicBezTo>
                      <a:cubicBezTo>
                        <a:pt x="1484" y="1455"/>
                        <a:pt x="1484" y="1455"/>
                        <a:pt x="1485" y="1455"/>
                      </a:cubicBezTo>
                      <a:cubicBezTo>
                        <a:pt x="1485" y="1455"/>
                        <a:pt x="1486" y="1454"/>
                        <a:pt x="1488" y="1454"/>
                      </a:cubicBezTo>
                      <a:cubicBezTo>
                        <a:pt x="1488" y="1454"/>
                        <a:pt x="1491" y="1453"/>
                        <a:pt x="1493" y="1452"/>
                      </a:cubicBezTo>
                      <a:cubicBezTo>
                        <a:pt x="1494" y="1451"/>
                        <a:pt x="1494" y="1451"/>
                        <a:pt x="1494" y="1451"/>
                      </a:cubicBezTo>
                      <a:cubicBezTo>
                        <a:pt x="1504" y="1447"/>
                        <a:pt x="1516" y="1437"/>
                        <a:pt x="1526" y="1425"/>
                      </a:cubicBezTo>
                      <a:cubicBezTo>
                        <a:pt x="1545" y="1401"/>
                        <a:pt x="1547" y="1383"/>
                        <a:pt x="1546" y="1377"/>
                      </a:cubicBezTo>
                      <a:close/>
                    </a:path>
                  </a:pathLst>
                </a:custGeom>
                <a:solidFill>
                  <a:schemeClr val="accent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</p:grpSp>
        </p:grpSp>
      </p:grpSp>
      <p:grpSp>
        <p:nvGrpSpPr>
          <p:cNvPr id="43" name="Group 42">
            <a:extLst>
              <a:ext uri="{FF2B5EF4-FFF2-40B4-BE49-F238E27FC236}">
                <a16:creationId xmlns:a16="http://schemas.microsoft.com/office/drawing/2014/main" id="{777B1212-E455-42AF-9982-B0DB334091C0}"/>
              </a:ext>
            </a:extLst>
          </p:cNvPr>
          <p:cNvGrpSpPr/>
          <p:nvPr/>
        </p:nvGrpSpPr>
        <p:grpSpPr>
          <a:xfrm>
            <a:off x="243375" y="2787277"/>
            <a:ext cx="5043521" cy="730800"/>
            <a:chOff x="243375" y="911383"/>
            <a:chExt cx="5043521" cy="730800"/>
          </a:xfrm>
        </p:grpSpPr>
        <p:sp>
          <p:nvSpPr>
            <p:cNvPr id="13" name="Textfeld 12">
              <a:extLst>
                <a:ext uri="{FF2B5EF4-FFF2-40B4-BE49-F238E27FC236}">
                  <a16:creationId xmlns:a16="http://schemas.microsoft.com/office/drawing/2014/main" id="{F4E0EC07-0D7B-5067-9876-651878349F9E}"/>
                </a:ext>
              </a:extLst>
            </p:cNvPr>
            <p:cNvSpPr txBox="1"/>
            <p:nvPr/>
          </p:nvSpPr>
          <p:spPr>
            <a:xfrm>
              <a:off x="1092817" y="1148158"/>
              <a:ext cx="4194079" cy="25725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ct val="114000"/>
                </a:lnSpc>
              </a:pPr>
              <a:r>
                <a:rPr lang="en-GB" sz="1600">
                  <a:latin typeface="+mn-lt"/>
                </a:rPr>
                <a:t>Problem setting quite </a:t>
              </a:r>
              <a:r>
                <a:rPr lang="en-GB" sz="1600" b="1">
                  <a:latin typeface="+mn-lt"/>
                </a:rPr>
                <a:t>complex</a:t>
              </a:r>
            </a:p>
          </p:txBody>
        </p:sp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9118419-E14D-4F52-8508-6CCEDAD6F4DF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243375" y="911383"/>
              <a:ext cx="730800" cy="730800"/>
              <a:chOff x="5273675" y="2570163"/>
              <a:chExt cx="1644650" cy="1644650"/>
            </a:xfrm>
          </p:grpSpPr>
          <p:sp>
            <p:nvSpPr>
              <p:cNvPr id="25" name="AutoShape 3">
                <a:extLst>
                  <a:ext uri="{FF2B5EF4-FFF2-40B4-BE49-F238E27FC236}">
                    <a16:creationId xmlns:a16="http://schemas.microsoft.com/office/drawing/2014/main" id="{D89622B3-CF92-4CA3-9EAC-E1C5653B4CB0}"/>
                  </a:ext>
                </a:extLst>
              </p:cNvPr>
              <p:cNvSpPr>
                <a:spLocks noChangeAspect="1" noChangeArrowheads="1" noTextEdit="1"/>
              </p:cNvSpPr>
              <p:nvPr/>
            </p:nvSpPr>
            <p:spPr bwMode="auto">
              <a:xfrm>
                <a:off x="5273675" y="2570163"/>
                <a:ext cx="1644650" cy="164465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grpSp>
            <p:nvGrpSpPr>
              <p:cNvPr id="26" name="Group 25">
                <a:extLst>
                  <a:ext uri="{FF2B5EF4-FFF2-40B4-BE49-F238E27FC236}">
                    <a16:creationId xmlns:a16="http://schemas.microsoft.com/office/drawing/2014/main" id="{56C75FF6-AD39-49A7-8562-FF3DBEACD4F4}"/>
                  </a:ext>
                </a:extLst>
              </p:cNvPr>
              <p:cNvGrpSpPr/>
              <p:nvPr/>
            </p:nvGrpSpPr>
            <p:grpSpPr>
              <a:xfrm>
                <a:off x="5548313" y="2844801"/>
                <a:ext cx="1093788" cy="1093788"/>
                <a:chOff x="5548313" y="2844801"/>
                <a:chExt cx="1093788" cy="1093788"/>
              </a:xfrm>
            </p:grpSpPr>
            <p:sp>
              <p:nvSpPr>
                <p:cNvPr id="27" name="Freeform 15">
                  <a:extLst>
                    <a:ext uri="{FF2B5EF4-FFF2-40B4-BE49-F238E27FC236}">
                      <a16:creationId xmlns:a16="http://schemas.microsoft.com/office/drawing/2014/main" id="{7CFB3D5A-3614-48D7-8937-C93CAEEB7B5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548313" y="2844801"/>
                  <a:ext cx="1093788" cy="1093788"/>
                </a:xfrm>
                <a:custGeom>
                  <a:avLst/>
                  <a:gdLst>
                    <a:gd name="connsiteX0" fmla="*/ 546894 w 1093788"/>
                    <a:gd name="connsiteY0" fmla="*/ 352425 h 1093788"/>
                    <a:gd name="connsiteX1" fmla="*/ 562623 w 1093788"/>
                    <a:gd name="connsiteY1" fmla="*/ 368154 h 1093788"/>
                    <a:gd name="connsiteX2" fmla="*/ 546894 w 1093788"/>
                    <a:gd name="connsiteY2" fmla="*/ 383883 h 1093788"/>
                    <a:gd name="connsiteX3" fmla="*/ 383883 w 1093788"/>
                    <a:gd name="connsiteY3" fmla="*/ 546894 h 1093788"/>
                    <a:gd name="connsiteX4" fmla="*/ 546894 w 1093788"/>
                    <a:gd name="connsiteY4" fmla="*/ 709905 h 1093788"/>
                    <a:gd name="connsiteX5" fmla="*/ 709905 w 1093788"/>
                    <a:gd name="connsiteY5" fmla="*/ 546894 h 1093788"/>
                    <a:gd name="connsiteX6" fmla="*/ 725634 w 1093788"/>
                    <a:gd name="connsiteY6" fmla="*/ 531165 h 1093788"/>
                    <a:gd name="connsiteX7" fmla="*/ 741363 w 1093788"/>
                    <a:gd name="connsiteY7" fmla="*/ 546894 h 1093788"/>
                    <a:gd name="connsiteX8" fmla="*/ 546894 w 1093788"/>
                    <a:gd name="connsiteY8" fmla="*/ 741363 h 1093788"/>
                    <a:gd name="connsiteX9" fmla="*/ 352425 w 1093788"/>
                    <a:gd name="connsiteY9" fmla="*/ 546894 h 1093788"/>
                    <a:gd name="connsiteX10" fmla="*/ 546894 w 1093788"/>
                    <a:gd name="connsiteY10" fmla="*/ 352425 h 1093788"/>
                    <a:gd name="connsiteX11" fmla="*/ 546894 w 1093788"/>
                    <a:gd name="connsiteY11" fmla="*/ 0 h 1093788"/>
                    <a:gd name="connsiteX12" fmla="*/ 995976 w 1093788"/>
                    <a:gd name="connsiteY12" fmla="*/ 234179 h 1093788"/>
                    <a:gd name="connsiteX13" fmla="*/ 991692 w 1093788"/>
                    <a:gd name="connsiteY13" fmla="*/ 256312 h 1093788"/>
                    <a:gd name="connsiteX14" fmla="*/ 969559 w 1093788"/>
                    <a:gd name="connsiteY14" fmla="*/ 252028 h 1093788"/>
                    <a:gd name="connsiteX15" fmla="*/ 546894 w 1093788"/>
                    <a:gd name="connsiteY15" fmla="*/ 31414 h 1093788"/>
                    <a:gd name="connsiteX16" fmla="*/ 31414 w 1093788"/>
                    <a:gd name="connsiteY16" fmla="*/ 546894 h 1093788"/>
                    <a:gd name="connsiteX17" fmla="*/ 204907 w 1093788"/>
                    <a:gd name="connsiteY17" fmla="*/ 931719 h 1093788"/>
                    <a:gd name="connsiteX18" fmla="*/ 257026 w 1093788"/>
                    <a:gd name="connsiteY18" fmla="*/ 874602 h 1093788"/>
                    <a:gd name="connsiteX19" fmla="*/ 189913 w 1093788"/>
                    <a:gd name="connsiteY19" fmla="*/ 800350 h 1093788"/>
                    <a:gd name="connsiteX20" fmla="*/ 194197 w 1093788"/>
                    <a:gd name="connsiteY20" fmla="*/ 778217 h 1093788"/>
                    <a:gd name="connsiteX21" fmla="*/ 215616 w 1093788"/>
                    <a:gd name="connsiteY21" fmla="*/ 781787 h 1093788"/>
                    <a:gd name="connsiteX22" fmla="*/ 370546 w 1093788"/>
                    <a:gd name="connsiteY22" fmla="*/ 912442 h 1093788"/>
                    <a:gd name="connsiteX23" fmla="*/ 912442 w 1093788"/>
                    <a:gd name="connsiteY23" fmla="*/ 723242 h 1093788"/>
                    <a:gd name="connsiteX24" fmla="*/ 723243 w 1093788"/>
                    <a:gd name="connsiteY24" fmla="*/ 181346 h 1093788"/>
                    <a:gd name="connsiteX25" fmla="*/ 562601 w 1093788"/>
                    <a:gd name="connsiteY25" fmla="*/ 141364 h 1093788"/>
                    <a:gd name="connsiteX26" fmla="*/ 562601 w 1093788"/>
                    <a:gd name="connsiteY26" fmla="*/ 227753 h 1093788"/>
                    <a:gd name="connsiteX27" fmla="*/ 866035 w 1093788"/>
                    <a:gd name="connsiteY27" fmla="*/ 546894 h 1093788"/>
                    <a:gd name="connsiteX28" fmla="*/ 739664 w 1093788"/>
                    <a:gd name="connsiteY28" fmla="*/ 801778 h 1093788"/>
                    <a:gd name="connsiteX29" fmla="*/ 717531 w 1093788"/>
                    <a:gd name="connsiteY29" fmla="*/ 798208 h 1093788"/>
                    <a:gd name="connsiteX30" fmla="*/ 721101 w 1093788"/>
                    <a:gd name="connsiteY30" fmla="*/ 776790 h 1093788"/>
                    <a:gd name="connsiteX31" fmla="*/ 834620 w 1093788"/>
                    <a:gd name="connsiteY31" fmla="*/ 546894 h 1093788"/>
                    <a:gd name="connsiteX32" fmla="*/ 546894 w 1093788"/>
                    <a:gd name="connsiteY32" fmla="*/ 259168 h 1093788"/>
                    <a:gd name="connsiteX33" fmla="*/ 259168 w 1093788"/>
                    <a:gd name="connsiteY33" fmla="*/ 546894 h 1093788"/>
                    <a:gd name="connsiteX34" fmla="*/ 546894 w 1093788"/>
                    <a:gd name="connsiteY34" fmla="*/ 834620 h 1093788"/>
                    <a:gd name="connsiteX35" fmla="*/ 562601 w 1093788"/>
                    <a:gd name="connsiteY35" fmla="*/ 850328 h 1093788"/>
                    <a:gd name="connsiteX36" fmla="*/ 546894 w 1093788"/>
                    <a:gd name="connsiteY36" fmla="*/ 866035 h 1093788"/>
                    <a:gd name="connsiteX37" fmla="*/ 227753 w 1093788"/>
                    <a:gd name="connsiteY37" fmla="*/ 546894 h 1093788"/>
                    <a:gd name="connsiteX38" fmla="*/ 531187 w 1093788"/>
                    <a:gd name="connsiteY38" fmla="*/ 227753 h 1093788"/>
                    <a:gd name="connsiteX39" fmla="*/ 531187 w 1093788"/>
                    <a:gd name="connsiteY39" fmla="*/ 141364 h 1093788"/>
                    <a:gd name="connsiteX40" fmla="*/ 181346 w 1093788"/>
                    <a:gd name="connsiteY40" fmla="*/ 370546 h 1093788"/>
                    <a:gd name="connsiteX41" fmla="*/ 143506 w 1093788"/>
                    <a:gd name="connsiteY41" fmla="*/ 590446 h 1093788"/>
                    <a:gd name="connsiteX42" fmla="*/ 129227 w 1093788"/>
                    <a:gd name="connsiteY42" fmla="*/ 607581 h 1093788"/>
                    <a:gd name="connsiteX43" fmla="*/ 112092 w 1093788"/>
                    <a:gd name="connsiteY43" fmla="*/ 593302 h 1093788"/>
                    <a:gd name="connsiteX44" fmla="*/ 153501 w 1093788"/>
                    <a:gd name="connsiteY44" fmla="*/ 356267 h 1093788"/>
                    <a:gd name="connsiteX45" fmla="*/ 545466 w 1093788"/>
                    <a:gd name="connsiteY45" fmla="*/ 109950 h 1093788"/>
                    <a:gd name="connsiteX46" fmla="*/ 546894 w 1093788"/>
                    <a:gd name="connsiteY46" fmla="*/ 109236 h 1093788"/>
                    <a:gd name="connsiteX47" fmla="*/ 547608 w 1093788"/>
                    <a:gd name="connsiteY47" fmla="*/ 109950 h 1093788"/>
                    <a:gd name="connsiteX48" fmla="*/ 737522 w 1093788"/>
                    <a:gd name="connsiteY48" fmla="*/ 153501 h 1093788"/>
                    <a:gd name="connsiteX49" fmla="*/ 940287 w 1093788"/>
                    <a:gd name="connsiteY49" fmla="*/ 737522 h 1093788"/>
                    <a:gd name="connsiteX50" fmla="*/ 546180 w 1093788"/>
                    <a:gd name="connsiteY50" fmla="*/ 983838 h 1093788"/>
                    <a:gd name="connsiteX51" fmla="*/ 356267 w 1093788"/>
                    <a:gd name="connsiteY51" fmla="*/ 940287 h 1093788"/>
                    <a:gd name="connsiteX52" fmla="*/ 281300 w 1093788"/>
                    <a:gd name="connsiteY52" fmla="*/ 894593 h 1093788"/>
                    <a:gd name="connsiteX53" fmla="*/ 228467 w 1093788"/>
                    <a:gd name="connsiteY53" fmla="*/ 952424 h 1093788"/>
                    <a:gd name="connsiteX54" fmla="*/ 546894 w 1093788"/>
                    <a:gd name="connsiteY54" fmla="*/ 1062374 h 1093788"/>
                    <a:gd name="connsiteX55" fmla="*/ 1062374 w 1093788"/>
                    <a:gd name="connsiteY55" fmla="*/ 546894 h 1093788"/>
                    <a:gd name="connsiteX56" fmla="*/ 1046667 w 1093788"/>
                    <a:gd name="connsiteY56" fmla="*/ 419095 h 1093788"/>
                    <a:gd name="connsiteX57" fmla="*/ 1058090 w 1093788"/>
                    <a:gd name="connsiteY57" fmla="*/ 399818 h 1093788"/>
                    <a:gd name="connsiteX58" fmla="*/ 1076653 w 1093788"/>
                    <a:gd name="connsiteY58" fmla="*/ 411242 h 1093788"/>
                    <a:gd name="connsiteX59" fmla="*/ 1093788 w 1093788"/>
                    <a:gd name="connsiteY59" fmla="*/ 546894 h 1093788"/>
                    <a:gd name="connsiteX60" fmla="*/ 546894 w 1093788"/>
                    <a:gd name="connsiteY60" fmla="*/ 1093788 h 1093788"/>
                    <a:gd name="connsiteX61" fmla="*/ 197767 w 1093788"/>
                    <a:gd name="connsiteY61" fmla="*/ 967417 h 1093788"/>
                    <a:gd name="connsiteX62" fmla="*/ 194911 w 1093788"/>
                    <a:gd name="connsiteY62" fmla="*/ 965989 h 1093788"/>
                    <a:gd name="connsiteX63" fmla="*/ 194197 w 1093788"/>
                    <a:gd name="connsiteY63" fmla="*/ 964561 h 1093788"/>
                    <a:gd name="connsiteX64" fmla="*/ 0 w 1093788"/>
                    <a:gd name="connsiteY64" fmla="*/ 546894 h 1093788"/>
                    <a:gd name="connsiteX65" fmla="*/ 546894 w 1093788"/>
                    <a:gd name="connsiteY65" fmla="*/ 0 h 109378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</a:cxnLst>
                  <a:rect l="l" t="t" r="r" b="b"/>
                  <a:pathLst>
                    <a:path w="1093788" h="1093788">
                      <a:moveTo>
                        <a:pt x="546894" y="352425"/>
                      </a:moveTo>
                      <a:cubicBezTo>
                        <a:pt x="555474" y="352425"/>
                        <a:pt x="562623" y="359575"/>
                        <a:pt x="562623" y="368154"/>
                      </a:cubicBezTo>
                      <a:cubicBezTo>
                        <a:pt x="562623" y="376734"/>
                        <a:pt x="555474" y="383883"/>
                        <a:pt x="546894" y="383883"/>
                      </a:cubicBezTo>
                      <a:cubicBezTo>
                        <a:pt x="456809" y="383883"/>
                        <a:pt x="383883" y="456809"/>
                        <a:pt x="383883" y="546894"/>
                      </a:cubicBezTo>
                      <a:cubicBezTo>
                        <a:pt x="383883" y="636979"/>
                        <a:pt x="456809" y="709905"/>
                        <a:pt x="546894" y="709905"/>
                      </a:cubicBezTo>
                      <a:cubicBezTo>
                        <a:pt x="636979" y="709905"/>
                        <a:pt x="709905" y="636979"/>
                        <a:pt x="709905" y="546894"/>
                      </a:cubicBezTo>
                      <a:cubicBezTo>
                        <a:pt x="709905" y="538315"/>
                        <a:pt x="717055" y="531165"/>
                        <a:pt x="725634" y="531165"/>
                      </a:cubicBezTo>
                      <a:cubicBezTo>
                        <a:pt x="734214" y="531165"/>
                        <a:pt x="741363" y="538315"/>
                        <a:pt x="741363" y="546894"/>
                      </a:cubicBezTo>
                      <a:cubicBezTo>
                        <a:pt x="741363" y="654138"/>
                        <a:pt x="654138" y="741363"/>
                        <a:pt x="546894" y="741363"/>
                      </a:cubicBezTo>
                      <a:cubicBezTo>
                        <a:pt x="439650" y="741363"/>
                        <a:pt x="352425" y="654138"/>
                        <a:pt x="352425" y="546894"/>
                      </a:cubicBezTo>
                      <a:cubicBezTo>
                        <a:pt x="352425" y="439650"/>
                        <a:pt x="439650" y="352425"/>
                        <a:pt x="546894" y="352425"/>
                      </a:cubicBezTo>
                      <a:close/>
                      <a:moveTo>
                        <a:pt x="546894" y="0"/>
                      </a:moveTo>
                      <a:cubicBezTo>
                        <a:pt x="725384" y="0"/>
                        <a:pt x="893165" y="87817"/>
                        <a:pt x="995976" y="234179"/>
                      </a:cubicBezTo>
                      <a:cubicBezTo>
                        <a:pt x="1000259" y="241319"/>
                        <a:pt x="998831" y="251314"/>
                        <a:pt x="991692" y="256312"/>
                      </a:cubicBezTo>
                      <a:cubicBezTo>
                        <a:pt x="984552" y="261310"/>
                        <a:pt x="974557" y="259168"/>
                        <a:pt x="969559" y="252028"/>
                      </a:cubicBezTo>
                      <a:cubicBezTo>
                        <a:pt x="873174" y="114234"/>
                        <a:pt x="715389" y="31414"/>
                        <a:pt x="546894" y="31414"/>
                      </a:cubicBezTo>
                      <a:cubicBezTo>
                        <a:pt x="262737" y="31414"/>
                        <a:pt x="31414" y="262737"/>
                        <a:pt x="31414" y="546894"/>
                      </a:cubicBezTo>
                      <a:cubicBezTo>
                        <a:pt x="31414" y="699682"/>
                        <a:pt x="98526" y="837476"/>
                        <a:pt x="204907" y="931719"/>
                      </a:cubicBezTo>
                      <a:cubicBezTo>
                        <a:pt x="204907" y="931719"/>
                        <a:pt x="204907" y="931719"/>
                        <a:pt x="257026" y="874602"/>
                      </a:cubicBezTo>
                      <a:cubicBezTo>
                        <a:pt x="232037" y="852469"/>
                        <a:pt x="209904" y="827481"/>
                        <a:pt x="189913" y="800350"/>
                      </a:cubicBezTo>
                      <a:cubicBezTo>
                        <a:pt x="184916" y="793211"/>
                        <a:pt x="187057" y="783215"/>
                        <a:pt x="194197" y="778217"/>
                      </a:cubicBezTo>
                      <a:cubicBezTo>
                        <a:pt x="201337" y="773220"/>
                        <a:pt x="210618" y="774648"/>
                        <a:pt x="215616" y="781787"/>
                      </a:cubicBezTo>
                      <a:cubicBezTo>
                        <a:pt x="254884" y="837476"/>
                        <a:pt x="308431" y="882456"/>
                        <a:pt x="370546" y="912442"/>
                      </a:cubicBezTo>
                      <a:cubicBezTo>
                        <a:pt x="571883" y="1009541"/>
                        <a:pt x="814630" y="925293"/>
                        <a:pt x="912442" y="723242"/>
                      </a:cubicBezTo>
                      <a:cubicBezTo>
                        <a:pt x="1009541" y="521906"/>
                        <a:pt x="925293" y="279159"/>
                        <a:pt x="723243" y="181346"/>
                      </a:cubicBezTo>
                      <a:cubicBezTo>
                        <a:pt x="671837" y="156357"/>
                        <a:pt x="616862" y="143506"/>
                        <a:pt x="562601" y="141364"/>
                      </a:cubicBezTo>
                      <a:cubicBezTo>
                        <a:pt x="562601" y="141364"/>
                        <a:pt x="562601" y="141364"/>
                        <a:pt x="562601" y="227753"/>
                      </a:cubicBezTo>
                      <a:cubicBezTo>
                        <a:pt x="731810" y="236321"/>
                        <a:pt x="866035" y="376258"/>
                        <a:pt x="866035" y="546894"/>
                      </a:cubicBezTo>
                      <a:cubicBezTo>
                        <a:pt x="866035" y="647563"/>
                        <a:pt x="820341" y="740378"/>
                        <a:pt x="739664" y="801778"/>
                      </a:cubicBezTo>
                      <a:cubicBezTo>
                        <a:pt x="733238" y="806776"/>
                        <a:pt x="723243" y="805348"/>
                        <a:pt x="717531" y="798208"/>
                      </a:cubicBezTo>
                      <a:cubicBezTo>
                        <a:pt x="712533" y="791783"/>
                        <a:pt x="713961" y="781787"/>
                        <a:pt x="721101" y="776790"/>
                      </a:cubicBezTo>
                      <a:cubicBezTo>
                        <a:pt x="793211" y="721101"/>
                        <a:pt x="834620" y="637567"/>
                        <a:pt x="834620" y="546894"/>
                      </a:cubicBezTo>
                      <a:cubicBezTo>
                        <a:pt x="834620" y="388395"/>
                        <a:pt x="705394" y="259168"/>
                        <a:pt x="546894" y="259168"/>
                      </a:cubicBezTo>
                      <a:cubicBezTo>
                        <a:pt x="388395" y="259168"/>
                        <a:pt x="259168" y="388395"/>
                        <a:pt x="259168" y="546894"/>
                      </a:cubicBezTo>
                      <a:cubicBezTo>
                        <a:pt x="259168" y="705393"/>
                        <a:pt x="388395" y="834620"/>
                        <a:pt x="546894" y="834620"/>
                      </a:cubicBezTo>
                      <a:cubicBezTo>
                        <a:pt x="555462" y="834620"/>
                        <a:pt x="562601" y="841760"/>
                        <a:pt x="562601" y="850328"/>
                      </a:cubicBezTo>
                      <a:cubicBezTo>
                        <a:pt x="562601" y="859609"/>
                        <a:pt x="555462" y="866035"/>
                        <a:pt x="546894" y="866035"/>
                      </a:cubicBezTo>
                      <a:cubicBezTo>
                        <a:pt x="370546" y="866035"/>
                        <a:pt x="227753" y="723242"/>
                        <a:pt x="227753" y="546894"/>
                      </a:cubicBezTo>
                      <a:cubicBezTo>
                        <a:pt x="227753" y="376258"/>
                        <a:pt x="361978" y="236321"/>
                        <a:pt x="531187" y="227753"/>
                      </a:cubicBezTo>
                      <a:cubicBezTo>
                        <a:pt x="531187" y="227753"/>
                        <a:pt x="531187" y="227753"/>
                        <a:pt x="531187" y="141364"/>
                      </a:cubicBezTo>
                      <a:cubicBezTo>
                        <a:pt x="386253" y="147076"/>
                        <a:pt x="249172" y="230609"/>
                        <a:pt x="181346" y="370546"/>
                      </a:cubicBezTo>
                      <a:cubicBezTo>
                        <a:pt x="148504" y="439086"/>
                        <a:pt x="134938" y="514766"/>
                        <a:pt x="143506" y="590446"/>
                      </a:cubicBezTo>
                      <a:cubicBezTo>
                        <a:pt x="144220" y="599013"/>
                        <a:pt x="137794" y="606153"/>
                        <a:pt x="129227" y="607581"/>
                      </a:cubicBezTo>
                      <a:cubicBezTo>
                        <a:pt x="120659" y="608295"/>
                        <a:pt x="112806" y="601869"/>
                        <a:pt x="112092" y="593302"/>
                      </a:cubicBezTo>
                      <a:cubicBezTo>
                        <a:pt x="103524" y="512624"/>
                        <a:pt x="117803" y="430519"/>
                        <a:pt x="153501" y="356267"/>
                      </a:cubicBezTo>
                      <a:cubicBezTo>
                        <a:pt x="228467" y="201337"/>
                        <a:pt x="384111" y="110664"/>
                        <a:pt x="545466" y="109950"/>
                      </a:cubicBezTo>
                      <a:cubicBezTo>
                        <a:pt x="546180" y="109950"/>
                        <a:pt x="546180" y="109236"/>
                        <a:pt x="546894" y="109236"/>
                      </a:cubicBezTo>
                      <a:cubicBezTo>
                        <a:pt x="546894" y="109236"/>
                        <a:pt x="547608" y="109950"/>
                        <a:pt x="547608" y="109950"/>
                      </a:cubicBezTo>
                      <a:cubicBezTo>
                        <a:pt x="611151" y="109950"/>
                        <a:pt x="676121" y="123515"/>
                        <a:pt x="737522" y="153501"/>
                      </a:cubicBezTo>
                      <a:cubicBezTo>
                        <a:pt x="954566" y="258454"/>
                        <a:pt x="1045239" y="520478"/>
                        <a:pt x="940287" y="737522"/>
                      </a:cubicBezTo>
                      <a:cubicBezTo>
                        <a:pt x="865321" y="893165"/>
                        <a:pt x="708963" y="983838"/>
                        <a:pt x="546180" y="983838"/>
                      </a:cubicBezTo>
                      <a:cubicBezTo>
                        <a:pt x="482638" y="983838"/>
                        <a:pt x="417667" y="970273"/>
                        <a:pt x="356267" y="940287"/>
                      </a:cubicBezTo>
                      <a:cubicBezTo>
                        <a:pt x="329850" y="927435"/>
                        <a:pt x="304861" y="912442"/>
                        <a:pt x="281300" y="894593"/>
                      </a:cubicBezTo>
                      <a:cubicBezTo>
                        <a:pt x="281300" y="894593"/>
                        <a:pt x="281300" y="894593"/>
                        <a:pt x="228467" y="952424"/>
                      </a:cubicBezTo>
                      <a:cubicBezTo>
                        <a:pt x="316284" y="1020964"/>
                        <a:pt x="426949" y="1062374"/>
                        <a:pt x="546894" y="1062374"/>
                      </a:cubicBezTo>
                      <a:cubicBezTo>
                        <a:pt x="831051" y="1062374"/>
                        <a:pt x="1062374" y="831051"/>
                        <a:pt x="1062374" y="546894"/>
                      </a:cubicBezTo>
                      <a:cubicBezTo>
                        <a:pt x="1062374" y="503343"/>
                        <a:pt x="1056662" y="460505"/>
                        <a:pt x="1046667" y="419095"/>
                      </a:cubicBezTo>
                      <a:cubicBezTo>
                        <a:pt x="1044525" y="410528"/>
                        <a:pt x="1049523" y="401960"/>
                        <a:pt x="1058090" y="399818"/>
                      </a:cubicBezTo>
                      <a:cubicBezTo>
                        <a:pt x="1065944" y="397676"/>
                        <a:pt x="1074511" y="402674"/>
                        <a:pt x="1076653" y="411242"/>
                      </a:cubicBezTo>
                      <a:cubicBezTo>
                        <a:pt x="1088077" y="455507"/>
                        <a:pt x="1093788" y="501201"/>
                        <a:pt x="1093788" y="546894"/>
                      </a:cubicBezTo>
                      <a:cubicBezTo>
                        <a:pt x="1093788" y="848186"/>
                        <a:pt x="848186" y="1093788"/>
                        <a:pt x="546894" y="1093788"/>
                      </a:cubicBezTo>
                      <a:cubicBezTo>
                        <a:pt x="414098" y="1093788"/>
                        <a:pt x="292724" y="1046667"/>
                        <a:pt x="197767" y="967417"/>
                      </a:cubicBezTo>
                      <a:cubicBezTo>
                        <a:pt x="197053" y="967417"/>
                        <a:pt x="196339" y="966703"/>
                        <a:pt x="194911" y="965989"/>
                      </a:cubicBezTo>
                      <a:cubicBezTo>
                        <a:pt x="194911" y="965275"/>
                        <a:pt x="194197" y="964561"/>
                        <a:pt x="194197" y="964561"/>
                      </a:cubicBezTo>
                      <a:cubicBezTo>
                        <a:pt x="75680" y="863893"/>
                        <a:pt x="0" y="713961"/>
                        <a:pt x="0" y="546894"/>
                      </a:cubicBezTo>
                      <a:cubicBezTo>
                        <a:pt x="0" y="245602"/>
                        <a:pt x="245602" y="0"/>
                        <a:pt x="546894" y="0"/>
                      </a:cubicBezTo>
                      <a:close/>
                    </a:path>
                  </a:pathLst>
                </a:custGeom>
                <a:solidFill>
                  <a:schemeClr val="accent1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en-US"/>
                </a:p>
              </p:txBody>
            </p:sp>
            <p:sp>
              <p:nvSpPr>
                <p:cNvPr id="28" name="Oval 7">
                  <a:extLst>
                    <a:ext uri="{FF2B5EF4-FFF2-40B4-BE49-F238E27FC236}">
                      <a16:creationId xmlns:a16="http://schemas.microsoft.com/office/drawing/2014/main" id="{606B71C9-9632-412D-9690-539191FBCEBB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6015038" y="3311526"/>
                  <a:ext cx="160338" cy="160338"/>
                </a:xfrm>
                <a:prstGeom prst="ellipse">
                  <a:avLst/>
                </a:prstGeom>
                <a:solidFill>
                  <a:schemeClr val="tx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</p:grpSp>
        </p:grpSp>
      </p:grpSp>
      <p:sp>
        <p:nvSpPr>
          <p:cNvPr id="44" name="Fußzeilenplatzhalter 4">
            <a:extLst>
              <a:ext uri="{FF2B5EF4-FFF2-40B4-BE49-F238E27FC236}">
                <a16:creationId xmlns:a16="http://schemas.microsoft.com/office/drawing/2014/main" id="{B3EAD6FF-A5D7-F248-496F-B1D0BA01EC70}"/>
              </a:ext>
            </a:extLst>
          </p:cNvPr>
          <p:cNvSpPr txBox="1">
            <a:spLocks/>
          </p:cNvSpPr>
          <p:nvPr/>
        </p:nvSpPr>
        <p:spPr>
          <a:xfrm>
            <a:off x="311162" y="4854985"/>
            <a:ext cx="7829538" cy="28851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1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r>
              <a:rPr lang="en-US" dirty="0">
                <a:latin typeface="Arial"/>
                <a:cs typeface="Arial"/>
              </a:rPr>
              <a:t>◻︎ Outline | ◻︎ Organizational</a:t>
            </a:r>
            <a:r>
              <a:rPr lang="en-US" b="1" dirty="0">
                <a:latin typeface="Arial"/>
                <a:cs typeface="Arial"/>
              </a:rPr>
              <a:t> </a:t>
            </a:r>
            <a:r>
              <a:rPr lang="en-US" dirty="0">
                <a:latin typeface="Arial"/>
                <a:cs typeface="Arial"/>
              </a:rPr>
              <a:t>structure</a:t>
            </a:r>
            <a:r>
              <a:rPr lang="en-US" b="1" dirty="0">
                <a:latin typeface="Arial"/>
                <a:cs typeface="Arial"/>
              </a:rPr>
              <a:t> </a:t>
            </a:r>
            <a:r>
              <a:rPr lang="en-US" dirty="0">
                <a:latin typeface="Arial"/>
                <a:cs typeface="Arial"/>
              </a:rPr>
              <a:t>| ◼︎ </a:t>
            </a:r>
            <a:r>
              <a:rPr lang="en-US" b="1" dirty="0">
                <a:latin typeface="Arial"/>
                <a:cs typeface="Arial"/>
              </a:rPr>
              <a:t>Research</a:t>
            </a:r>
            <a:r>
              <a:rPr lang="en-US" dirty="0">
                <a:latin typeface="Arial"/>
                <a:cs typeface="Arial"/>
              </a:rPr>
              <a:t> </a:t>
            </a:r>
            <a:r>
              <a:rPr lang="en-US" b="1" dirty="0">
                <a:latin typeface="Arial"/>
                <a:cs typeface="Arial"/>
              </a:rPr>
              <a:t>Topics</a:t>
            </a:r>
            <a:r>
              <a:rPr lang="en-US" dirty="0">
                <a:latin typeface="Arial"/>
                <a:cs typeface="Arial"/>
              </a:rPr>
              <a:t> | ◻︎ ML Pipeline  | ◻︎ Next steps</a:t>
            </a:r>
          </a:p>
        </p:txBody>
      </p:sp>
    </p:spTree>
    <p:extLst>
      <p:ext uri="{BB962C8B-B14F-4D97-AF65-F5344CB8AC3E}">
        <p14:creationId xmlns:p14="http://schemas.microsoft.com/office/powerpoint/2010/main" val="3202516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 advTm="20000"/>
    </mc:Choice>
    <mc:Fallback xmlns="">
      <p:transition spd="slow" advClick="0" advTm="20000"/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7ED68744-4E01-4801-A78D-D1B172F4C29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353644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7ED68744-4E01-4801-A78D-D1B172F4C29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el 2">
            <a:extLst>
              <a:ext uri="{FF2B5EF4-FFF2-40B4-BE49-F238E27FC236}">
                <a16:creationId xmlns:a16="http://schemas.microsoft.com/office/drawing/2014/main" id="{37327073-11DD-47A1-A0A3-AEC7A599651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7502" y="282065"/>
            <a:ext cx="7567612" cy="380810"/>
          </a:xfrm>
        </p:spPr>
        <p:txBody>
          <a:bodyPr vert="horz"/>
          <a:lstStyle/>
          <a:p>
            <a:r>
              <a:rPr lang="de-DE"/>
              <a:t>Data Augmentation enriches the dataset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F623D925-8B03-4C79-B8CE-4001D099571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8</a:t>
            </a:fld>
            <a:endParaRPr lang="de-DE"/>
          </a:p>
        </p:txBody>
      </p:sp>
      <p:pic>
        <p:nvPicPr>
          <p:cNvPr id="8" name="Grafik 2" descr="countdown.gif">
            <a:extLst>
              <a:ext uri="{FF2B5EF4-FFF2-40B4-BE49-F238E27FC236}">
                <a16:creationId xmlns:a16="http://schemas.microsoft.com/office/drawing/2014/main" id="{9F18EF32-707B-47E4-B94B-5CA81854BA99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85113" y="4575685"/>
            <a:ext cx="1258887" cy="571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8" name="TextBox 37">
            <a:extLst>
              <a:ext uri="{FF2B5EF4-FFF2-40B4-BE49-F238E27FC236}">
                <a16:creationId xmlns:a16="http://schemas.microsoft.com/office/drawing/2014/main" id="{BBBE2F5E-1C00-43D9-AD58-0C1136D55836}"/>
              </a:ext>
            </a:extLst>
          </p:cNvPr>
          <p:cNvSpPr txBox="1"/>
          <p:nvPr/>
        </p:nvSpPr>
        <p:spPr>
          <a:xfrm>
            <a:off x="3456811" y="4446764"/>
            <a:ext cx="914400" cy="25725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14000"/>
              </a:lnSpc>
            </a:pPr>
            <a:r>
              <a:rPr lang="en-US" sz="1600">
                <a:latin typeface="+mn-lt"/>
              </a:rPr>
              <a:t>Coloring</a:t>
            </a: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D267D3EB-27AD-4172-9BA1-C091014A1861}"/>
              </a:ext>
            </a:extLst>
          </p:cNvPr>
          <p:cNvSpPr txBox="1"/>
          <p:nvPr/>
        </p:nvSpPr>
        <p:spPr>
          <a:xfrm>
            <a:off x="3490267" y="2467087"/>
            <a:ext cx="2038337" cy="25725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14000"/>
              </a:lnSpc>
            </a:pPr>
            <a:r>
              <a:rPr lang="en-US" sz="1600">
                <a:latin typeface="+mn-lt"/>
              </a:rPr>
              <a:t>Flipping / Mirroring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42E5213D-DA76-458A-824E-C207990F34D8}"/>
              </a:ext>
            </a:extLst>
          </p:cNvPr>
          <p:cNvSpPr txBox="1"/>
          <p:nvPr/>
        </p:nvSpPr>
        <p:spPr>
          <a:xfrm>
            <a:off x="6866961" y="1277804"/>
            <a:ext cx="914400" cy="25725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14000"/>
              </a:lnSpc>
            </a:pPr>
            <a:r>
              <a:rPr lang="en-US" sz="1600">
                <a:latin typeface="+mn-lt"/>
              </a:rPr>
              <a:t>Cropping</a:t>
            </a:r>
          </a:p>
        </p:txBody>
      </p:sp>
      <p:pic>
        <p:nvPicPr>
          <p:cNvPr id="41" name="Picture 40">
            <a:extLst>
              <a:ext uri="{FF2B5EF4-FFF2-40B4-BE49-F238E27FC236}">
                <a16:creationId xmlns:a16="http://schemas.microsoft.com/office/drawing/2014/main" id="{5AAD3444-7136-46EE-8E3E-6502BBF30E6E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2856" y="942175"/>
            <a:ext cx="2038338" cy="1420042"/>
          </a:xfrm>
          <a:prstGeom prst="rect">
            <a:avLst/>
          </a:prstGeom>
        </p:spPr>
      </p:pic>
      <p:pic>
        <p:nvPicPr>
          <p:cNvPr id="43" name="Picture 42">
            <a:extLst>
              <a:ext uri="{FF2B5EF4-FFF2-40B4-BE49-F238E27FC236}">
                <a16:creationId xmlns:a16="http://schemas.microsoft.com/office/drawing/2014/main" id="{96EEDB3C-1219-4887-A8FE-FC17FC1DFCC8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3222635" y="942175"/>
            <a:ext cx="2038338" cy="1420042"/>
          </a:xfrm>
          <a:prstGeom prst="rect">
            <a:avLst/>
          </a:prstGeom>
        </p:spPr>
      </p:pic>
      <p:pic>
        <p:nvPicPr>
          <p:cNvPr id="44" name="Picture 43">
            <a:extLst>
              <a:ext uri="{FF2B5EF4-FFF2-40B4-BE49-F238E27FC236}">
                <a16:creationId xmlns:a16="http://schemas.microsoft.com/office/drawing/2014/main" id="{30554CEF-4579-4598-884C-998A0B905A2E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sharpenSoften amount="50000"/>
                    </a14:imgEffect>
                    <a14:imgEffect>
                      <a14:colorTemperature colorTemp="11200"/>
                    </a14:imgEffect>
                    <a14:imgEffect>
                      <a14:brightnessContrast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22635" y="2897425"/>
            <a:ext cx="2038338" cy="1420042"/>
          </a:xfrm>
          <a:prstGeom prst="rect">
            <a:avLst/>
          </a:prstGeom>
        </p:spPr>
      </p:pic>
      <p:pic>
        <p:nvPicPr>
          <p:cNvPr id="45" name="Picture 44">
            <a:extLst>
              <a:ext uri="{FF2B5EF4-FFF2-40B4-BE49-F238E27FC236}">
                <a16:creationId xmlns:a16="http://schemas.microsoft.com/office/drawing/2014/main" id="{ADBD7E26-951B-427C-B042-E47E6FFA90A3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087" t="10855" r="22971" b="25203"/>
          <a:stretch/>
        </p:blipFill>
        <p:spPr>
          <a:xfrm>
            <a:off x="922856" y="2897425"/>
            <a:ext cx="2038338" cy="1420042"/>
          </a:xfrm>
          <a:prstGeom prst="rect">
            <a:avLst/>
          </a:prstGeom>
        </p:spPr>
      </p:pic>
      <p:sp>
        <p:nvSpPr>
          <p:cNvPr id="49" name="TextBox 48">
            <a:extLst>
              <a:ext uri="{FF2B5EF4-FFF2-40B4-BE49-F238E27FC236}">
                <a16:creationId xmlns:a16="http://schemas.microsoft.com/office/drawing/2014/main" id="{BD87E6A2-B955-4C84-B58B-85F0EFA414FE}"/>
              </a:ext>
            </a:extLst>
          </p:cNvPr>
          <p:cNvSpPr txBox="1"/>
          <p:nvPr/>
        </p:nvSpPr>
        <p:spPr>
          <a:xfrm>
            <a:off x="1190488" y="2467087"/>
            <a:ext cx="1333698" cy="25725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4000"/>
              </a:lnSpc>
            </a:pPr>
            <a:r>
              <a:rPr lang="en-US" sz="1600">
                <a:latin typeface="+mn-lt"/>
              </a:rPr>
              <a:t>Original Image</a:t>
            </a: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5376E473-D849-40A9-B04C-27B3B39C97C6}"/>
              </a:ext>
            </a:extLst>
          </p:cNvPr>
          <p:cNvSpPr txBox="1"/>
          <p:nvPr/>
        </p:nvSpPr>
        <p:spPr>
          <a:xfrm>
            <a:off x="1157032" y="4446764"/>
            <a:ext cx="914400" cy="25725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14000"/>
              </a:lnSpc>
            </a:pPr>
            <a:r>
              <a:rPr lang="en-US" sz="1600">
                <a:latin typeface="+mn-lt"/>
              </a:rPr>
              <a:t>Zooming</a:t>
            </a: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9E6F2ACB-FE67-4D93-8A12-3C018FF61AF1}"/>
              </a:ext>
            </a:extLst>
          </p:cNvPr>
          <p:cNvSpPr txBox="1"/>
          <p:nvPr/>
        </p:nvSpPr>
        <p:spPr>
          <a:xfrm>
            <a:off x="6866961" y="1936758"/>
            <a:ext cx="914400" cy="25725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14000"/>
              </a:lnSpc>
            </a:pPr>
            <a:r>
              <a:rPr lang="en-US" sz="1600">
                <a:latin typeface="+mn-lt"/>
              </a:rPr>
              <a:t>Shifting</a:t>
            </a: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0C290E9F-1BFF-4945-810B-1A43CE36D112}"/>
              </a:ext>
            </a:extLst>
          </p:cNvPr>
          <p:cNvSpPr txBox="1"/>
          <p:nvPr/>
        </p:nvSpPr>
        <p:spPr>
          <a:xfrm>
            <a:off x="6866961" y="2595712"/>
            <a:ext cx="1452610" cy="25725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14000"/>
              </a:lnSpc>
            </a:pPr>
            <a:r>
              <a:rPr lang="en-US" sz="1600">
                <a:latin typeface="+mn-lt"/>
              </a:rPr>
              <a:t>Local warping</a:t>
            </a: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98823A08-A7CB-4F68-8D40-6FDAC6B2F3FD}"/>
              </a:ext>
            </a:extLst>
          </p:cNvPr>
          <p:cNvSpPr txBox="1"/>
          <p:nvPr/>
        </p:nvSpPr>
        <p:spPr>
          <a:xfrm>
            <a:off x="6866961" y="3254666"/>
            <a:ext cx="1452610" cy="25725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14000"/>
              </a:lnSpc>
            </a:pPr>
            <a:r>
              <a:rPr lang="en-US" sz="1600">
                <a:latin typeface="+mn-lt"/>
              </a:rPr>
              <a:t>Shearing</a:t>
            </a: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19A24C5D-4F2D-4AA9-9382-63AD2459A240}"/>
              </a:ext>
            </a:extLst>
          </p:cNvPr>
          <p:cNvSpPr txBox="1"/>
          <p:nvPr/>
        </p:nvSpPr>
        <p:spPr>
          <a:xfrm>
            <a:off x="6866960" y="3913619"/>
            <a:ext cx="1452610" cy="25725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14000"/>
              </a:lnSpc>
            </a:pPr>
            <a:r>
              <a:rPr lang="en-US" sz="1600">
                <a:latin typeface="+mn-lt"/>
              </a:rPr>
              <a:t>….</a:t>
            </a:r>
          </a:p>
        </p:txBody>
      </p:sp>
      <p:grpSp>
        <p:nvGrpSpPr>
          <p:cNvPr id="59" name="Group 31">
            <a:extLst>
              <a:ext uri="{FF2B5EF4-FFF2-40B4-BE49-F238E27FC236}">
                <a16:creationId xmlns:a16="http://schemas.microsoft.com/office/drawing/2014/main" id="{D94002F9-D6F5-47CF-BB7B-383F995B8D56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666991" y="4346789"/>
            <a:ext cx="457200" cy="457200"/>
            <a:chOff x="1287" y="1014"/>
            <a:chExt cx="288" cy="288"/>
          </a:xfrm>
        </p:grpSpPr>
        <p:sp>
          <p:nvSpPr>
            <p:cNvPr id="60" name="AutoShape 30">
              <a:extLst>
                <a:ext uri="{FF2B5EF4-FFF2-40B4-BE49-F238E27FC236}">
                  <a16:creationId xmlns:a16="http://schemas.microsoft.com/office/drawing/2014/main" id="{ADAA1C4C-15C8-4BC9-98F7-271E5548FED3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1287" y="1014"/>
              <a:ext cx="288" cy="2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1" name="Freeform 9">
              <a:extLst>
                <a:ext uri="{FF2B5EF4-FFF2-40B4-BE49-F238E27FC236}">
                  <a16:creationId xmlns:a16="http://schemas.microsoft.com/office/drawing/2014/main" id="{5CEF62A8-52A8-4440-A435-AD1F16933507}"/>
                </a:ext>
              </a:extLst>
            </p:cNvPr>
            <p:cNvSpPr>
              <a:spLocks/>
            </p:cNvSpPr>
            <p:nvPr/>
          </p:nvSpPr>
          <p:spPr bwMode="auto">
            <a:xfrm>
              <a:off x="1314" y="1041"/>
              <a:ext cx="234" cy="234"/>
            </a:xfrm>
            <a:custGeom>
              <a:avLst/>
              <a:gdLst>
                <a:gd name="T0" fmla="*/ 813 w 813"/>
                <a:gd name="T1" fmla="*/ 123 h 812"/>
                <a:gd name="T2" fmla="*/ 812 w 813"/>
                <a:gd name="T3" fmla="*/ 20 h 812"/>
                <a:gd name="T4" fmla="*/ 808 w 813"/>
                <a:gd name="T5" fmla="*/ 12 h 812"/>
                <a:gd name="T6" fmla="*/ 805 w 813"/>
                <a:gd name="T7" fmla="*/ 7 h 812"/>
                <a:gd name="T8" fmla="*/ 800 w 813"/>
                <a:gd name="T9" fmla="*/ 4 h 812"/>
                <a:gd name="T10" fmla="*/ 788 w 813"/>
                <a:gd name="T11" fmla="*/ 0 h 812"/>
                <a:gd name="T12" fmla="*/ 690 w 813"/>
                <a:gd name="T13" fmla="*/ 0 h 812"/>
                <a:gd name="T14" fmla="*/ 663 w 813"/>
                <a:gd name="T15" fmla="*/ 27 h 812"/>
                <a:gd name="T16" fmla="*/ 720 w 813"/>
                <a:gd name="T17" fmla="*/ 54 h 812"/>
                <a:gd name="T18" fmla="*/ 630 w 813"/>
                <a:gd name="T19" fmla="*/ 145 h 812"/>
                <a:gd name="T20" fmla="*/ 180 w 813"/>
                <a:gd name="T21" fmla="*/ 141 h 812"/>
                <a:gd name="T22" fmla="*/ 123 w 813"/>
                <a:gd name="T23" fmla="*/ 54 h 812"/>
                <a:gd name="T24" fmla="*/ 123 w 813"/>
                <a:gd name="T25" fmla="*/ 0 h 812"/>
                <a:gd name="T26" fmla="*/ 27 w 813"/>
                <a:gd name="T27" fmla="*/ 0 h 812"/>
                <a:gd name="T28" fmla="*/ 17 w 813"/>
                <a:gd name="T29" fmla="*/ 2 h 812"/>
                <a:gd name="T30" fmla="*/ 12 w 813"/>
                <a:gd name="T31" fmla="*/ 5 h 812"/>
                <a:gd name="T32" fmla="*/ 8 w 813"/>
                <a:gd name="T33" fmla="*/ 8 h 812"/>
                <a:gd name="T34" fmla="*/ 2 w 813"/>
                <a:gd name="T35" fmla="*/ 18 h 812"/>
                <a:gd name="T36" fmla="*/ 0 w 813"/>
                <a:gd name="T37" fmla="*/ 26 h 812"/>
                <a:gd name="T38" fmla="*/ 27 w 813"/>
                <a:gd name="T39" fmla="*/ 150 h 812"/>
                <a:gd name="T40" fmla="*/ 55 w 813"/>
                <a:gd name="T41" fmla="*/ 93 h 812"/>
                <a:gd name="T42" fmla="*/ 145 w 813"/>
                <a:gd name="T43" fmla="*/ 182 h 812"/>
                <a:gd name="T44" fmla="*/ 142 w 813"/>
                <a:gd name="T45" fmla="*/ 632 h 812"/>
                <a:gd name="T46" fmla="*/ 55 w 813"/>
                <a:gd name="T47" fmla="*/ 689 h 812"/>
                <a:gd name="T48" fmla="*/ 0 w 813"/>
                <a:gd name="T49" fmla="*/ 689 h 812"/>
                <a:gd name="T50" fmla="*/ 1 w 813"/>
                <a:gd name="T51" fmla="*/ 792 h 812"/>
                <a:gd name="T52" fmla="*/ 5 w 813"/>
                <a:gd name="T53" fmla="*/ 800 h 812"/>
                <a:gd name="T54" fmla="*/ 8 w 813"/>
                <a:gd name="T55" fmla="*/ 805 h 812"/>
                <a:gd name="T56" fmla="*/ 13 w 813"/>
                <a:gd name="T57" fmla="*/ 808 h 812"/>
                <a:gd name="T58" fmla="*/ 25 w 813"/>
                <a:gd name="T59" fmla="*/ 812 h 812"/>
                <a:gd name="T60" fmla="*/ 123 w 813"/>
                <a:gd name="T61" fmla="*/ 812 h 812"/>
                <a:gd name="T62" fmla="*/ 150 w 813"/>
                <a:gd name="T63" fmla="*/ 785 h 812"/>
                <a:gd name="T64" fmla="*/ 93 w 813"/>
                <a:gd name="T65" fmla="*/ 758 h 812"/>
                <a:gd name="T66" fmla="*/ 182 w 813"/>
                <a:gd name="T67" fmla="*/ 668 h 812"/>
                <a:gd name="T68" fmla="*/ 633 w 813"/>
                <a:gd name="T69" fmla="*/ 671 h 812"/>
                <a:gd name="T70" fmla="*/ 690 w 813"/>
                <a:gd name="T71" fmla="*/ 758 h 812"/>
                <a:gd name="T72" fmla="*/ 690 w 813"/>
                <a:gd name="T73" fmla="*/ 812 h 812"/>
                <a:gd name="T74" fmla="*/ 786 w 813"/>
                <a:gd name="T75" fmla="*/ 812 h 812"/>
                <a:gd name="T76" fmla="*/ 796 w 813"/>
                <a:gd name="T77" fmla="*/ 810 h 812"/>
                <a:gd name="T78" fmla="*/ 801 w 813"/>
                <a:gd name="T79" fmla="*/ 807 h 812"/>
                <a:gd name="T80" fmla="*/ 806 w 813"/>
                <a:gd name="T81" fmla="*/ 804 h 812"/>
                <a:gd name="T82" fmla="*/ 811 w 813"/>
                <a:gd name="T83" fmla="*/ 794 h 812"/>
                <a:gd name="T84" fmla="*/ 813 w 813"/>
                <a:gd name="T85" fmla="*/ 786 h 812"/>
                <a:gd name="T86" fmla="*/ 786 w 813"/>
                <a:gd name="T87" fmla="*/ 662 h 812"/>
                <a:gd name="T88" fmla="*/ 759 w 813"/>
                <a:gd name="T89" fmla="*/ 719 h 812"/>
                <a:gd name="T90" fmla="*/ 668 w 813"/>
                <a:gd name="T91" fmla="*/ 630 h 812"/>
                <a:gd name="T92" fmla="*/ 671 w 813"/>
                <a:gd name="T93" fmla="*/ 180 h 812"/>
                <a:gd name="T94" fmla="*/ 759 w 813"/>
                <a:gd name="T95" fmla="*/ 123 h 8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813" h="812">
                  <a:moveTo>
                    <a:pt x="786" y="150"/>
                  </a:moveTo>
                  <a:cubicBezTo>
                    <a:pt x="801" y="150"/>
                    <a:pt x="813" y="138"/>
                    <a:pt x="813" y="123"/>
                  </a:cubicBezTo>
                  <a:cubicBezTo>
                    <a:pt x="813" y="26"/>
                    <a:pt x="813" y="26"/>
                    <a:pt x="813" y="26"/>
                  </a:cubicBezTo>
                  <a:cubicBezTo>
                    <a:pt x="813" y="24"/>
                    <a:pt x="813" y="22"/>
                    <a:pt x="812" y="20"/>
                  </a:cubicBezTo>
                  <a:cubicBezTo>
                    <a:pt x="812" y="19"/>
                    <a:pt x="812" y="18"/>
                    <a:pt x="811" y="18"/>
                  </a:cubicBezTo>
                  <a:cubicBezTo>
                    <a:pt x="811" y="15"/>
                    <a:pt x="810" y="13"/>
                    <a:pt x="808" y="12"/>
                  </a:cubicBezTo>
                  <a:cubicBezTo>
                    <a:pt x="808" y="10"/>
                    <a:pt x="807" y="9"/>
                    <a:pt x="806" y="8"/>
                  </a:cubicBezTo>
                  <a:cubicBezTo>
                    <a:pt x="805" y="8"/>
                    <a:pt x="805" y="8"/>
                    <a:pt x="805" y="7"/>
                  </a:cubicBezTo>
                  <a:cubicBezTo>
                    <a:pt x="804" y="6"/>
                    <a:pt x="802" y="5"/>
                    <a:pt x="801" y="5"/>
                  </a:cubicBezTo>
                  <a:cubicBezTo>
                    <a:pt x="801" y="4"/>
                    <a:pt x="800" y="4"/>
                    <a:pt x="800" y="4"/>
                  </a:cubicBezTo>
                  <a:cubicBezTo>
                    <a:pt x="799" y="3"/>
                    <a:pt x="798" y="3"/>
                    <a:pt x="796" y="2"/>
                  </a:cubicBezTo>
                  <a:cubicBezTo>
                    <a:pt x="794" y="1"/>
                    <a:pt x="791" y="0"/>
                    <a:pt x="788" y="0"/>
                  </a:cubicBezTo>
                  <a:cubicBezTo>
                    <a:pt x="786" y="0"/>
                    <a:pt x="786" y="0"/>
                    <a:pt x="786" y="0"/>
                  </a:cubicBezTo>
                  <a:cubicBezTo>
                    <a:pt x="690" y="0"/>
                    <a:pt x="690" y="0"/>
                    <a:pt x="690" y="0"/>
                  </a:cubicBezTo>
                  <a:cubicBezTo>
                    <a:pt x="690" y="0"/>
                    <a:pt x="690" y="0"/>
                    <a:pt x="690" y="0"/>
                  </a:cubicBezTo>
                  <a:cubicBezTo>
                    <a:pt x="675" y="0"/>
                    <a:pt x="663" y="12"/>
                    <a:pt x="663" y="27"/>
                  </a:cubicBezTo>
                  <a:cubicBezTo>
                    <a:pt x="663" y="42"/>
                    <a:pt x="675" y="54"/>
                    <a:pt x="690" y="54"/>
                  </a:cubicBezTo>
                  <a:cubicBezTo>
                    <a:pt x="720" y="54"/>
                    <a:pt x="720" y="54"/>
                    <a:pt x="720" y="54"/>
                  </a:cubicBezTo>
                  <a:cubicBezTo>
                    <a:pt x="633" y="141"/>
                    <a:pt x="633" y="141"/>
                    <a:pt x="633" y="141"/>
                  </a:cubicBezTo>
                  <a:cubicBezTo>
                    <a:pt x="632" y="142"/>
                    <a:pt x="631" y="144"/>
                    <a:pt x="630" y="145"/>
                  </a:cubicBezTo>
                  <a:cubicBezTo>
                    <a:pt x="341" y="145"/>
                    <a:pt x="227" y="145"/>
                    <a:pt x="183" y="145"/>
                  </a:cubicBezTo>
                  <a:cubicBezTo>
                    <a:pt x="182" y="144"/>
                    <a:pt x="181" y="142"/>
                    <a:pt x="180" y="141"/>
                  </a:cubicBezTo>
                  <a:cubicBezTo>
                    <a:pt x="93" y="54"/>
                    <a:pt x="93" y="54"/>
                    <a:pt x="93" y="54"/>
                  </a:cubicBezTo>
                  <a:cubicBezTo>
                    <a:pt x="123" y="54"/>
                    <a:pt x="123" y="54"/>
                    <a:pt x="123" y="54"/>
                  </a:cubicBezTo>
                  <a:cubicBezTo>
                    <a:pt x="138" y="54"/>
                    <a:pt x="150" y="42"/>
                    <a:pt x="150" y="27"/>
                  </a:cubicBezTo>
                  <a:cubicBezTo>
                    <a:pt x="150" y="12"/>
                    <a:pt x="138" y="0"/>
                    <a:pt x="123" y="0"/>
                  </a:cubicBezTo>
                  <a:cubicBezTo>
                    <a:pt x="123" y="0"/>
                    <a:pt x="123" y="0"/>
                    <a:pt x="123" y="0"/>
                  </a:cubicBezTo>
                  <a:cubicBezTo>
                    <a:pt x="27" y="0"/>
                    <a:pt x="27" y="0"/>
                    <a:pt x="27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22" y="0"/>
                    <a:pt x="19" y="1"/>
                    <a:pt x="17" y="2"/>
                  </a:cubicBezTo>
                  <a:cubicBezTo>
                    <a:pt x="15" y="3"/>
                    <a:pt x="14" y="3"/>
                    <a:pt x="13" y="4"/>
                  </a:cubicBezTo>
                  <a:cubicBezTo>
                    <a:pt x="13" y="4"/>
                    <a:pt x="12" y="4"/>
                    <a:pt x="12" y="5"/>
                  </a:cubicBezTo>
                  <a:cubicBezTo>
                    <a:pt x="11" y="5"/>
                    <a:pt x="10" y="6"/>
                    <a:pt x="8" y="7"/>
                  </a:cubicBezTo>
                  <a:cubicBezTo>
                    <a:pt x="8" y="8"/>
                    <a:pt x="8" y="8"/>
                    <a:pt x="8" y="8"/>
                  </a:cubicBezTo>
                  <a:cubicBezTo>
                    <a:pt x="6" y="9"/>
                    <a:pt x="5" y="10"/>
                    <a:pt x="5" y="12"/>
                  </a:cubicBezTo>
                  <a:cubicBezTo>
                    <a:pt x="3" y="13"/>
                    <a:pt x="2" y="15"/>
                    <a:pt x="2" y="18"/>
                  </a:cubicBezTo>
                  <a:cubicBezTo>
                    <a:pt x="1" y="18"/>
                    <a:pt x="1" y="19"/>
                    <a:pt x="1" y="20"/>
                  </a:cubicBezTo>
                  <a:cubicBezTo>
                    <a:pt x="0" y="22"/>
                    <a:pt x="0" y="24"/>
                    <a:pt x="0" y="26"/>
                  </a:cubicBezTo>
                  <a:cubicBezTo>
                    <a:pt x="0" y="123"/>
                    <a:pt x="0" y="123"/>
                    <a:pt x="0" y="123"/>
                  </a:cubicBezTo>
                  <a:cubicBezTo>
                    <a:pt x="0" y="138"/>
                    <a:pt x="12" y="150"/>
                    <a:pt x="27" y="150"/>
                  </a:cubicBezTo>
                  <a:cubicBezTo>
                    <a:pt x="42" y="150"/>
                    <a:pt x="55" y="138"/>
                    <a:pt x="55" y="123"/>
                  </a:cubicBezTo>
                  <a:cubicBezTo>
                    <a:pt x="55" y="93"/>
                    <a:pt x="55" y="93"/>
                    <a:pt x="55" y="93"/>
                  </a:cubicBezTo>
                  <a:cubicBezTo>
                    <a:pt x="142" y="180"/>
                    <a:pt x="142" y="180"/>
                    <a:pt x="142" y="180"/>
                  </a:cubicBezTo>
                  <a:cubicBezTo>
                    <a:pt x="143" y="181"/>
                    <a:pt x="144" y="182"/>
                    <a:pt x="145" y="182"/>
                  </a:cubicBezTo>
                  <a:cubicBezTo>
                    <a:pt x="145" y="470"/>
                    <a:pt x="145" y="584"/>
                    <a:pt x="145" y="630"/>
                  </a:cubicBezTo>
                  <a:cubicBezTo>
                    <a:pt x="144" y="630"/>
                    <a:pt x="143" y="631"/>
                    <a:pt x="142" y="632"/>
                  </a:cubicBezTo>
                  <a:cubicBezTo>
                    <a:pt x="55" y="719"/>
                    <a:pt x="55" y="719"/>
                    <a:pt x="55" y="719"/>
                  </a:cubicBezTo>
                  <a:cubicBezTo>
                    <a:pt x="55" y="689"/>
                    <a:pt x="55" y="689"/>
                    <a:pt x="55" y="689"/>
                  </a:cubicBezTo>
                  <a:cubicBezTo>
                    <a:pt x="55" y="674"/>
                    <a:pt x="42" y="662"/>
                    <a:pt x="27" y="662"/>
                  </a:cubicBezTo>
                  <a:cubicBezTo>
                    <a:pt x="12" y="662"/>
                    <a:pt x="0" y="674"/>
                    <a:pt x="0" y="689"/>
                  </a:cubicBezTo>
                  <a:cubicBezTo>
                    <a:pt x="0" y="786"/>
                    <a:pt x="0" y="786"/>
                    <a:pt x="0" y="786"/>
                  </a:cubicBezTo>
                  <a:cubicBezTo>
                    <a:pt x="0" y="788"/>
                    <a:pt x="0" y="790"/>
                    <a:pt x="1" y="792"/>
                  </a:cubicBezTo>
                  <a:cubicBezTo>
                    <a:pt x="1" y="793"/>
                    <a:pt x="1" y="794"/>
                    <a:pt x="2" y="794"/>
                  </a:cubicBezTo>
                  <a:cubicBezTo>
                    <a:pt x="2" y="797"/>
                    <a:pt x="3" y="799"/>
                    <a:pt x="5" y="800"/>
                  </a:cubicBezTo>
                  <a:cubicBezTo>
                    <a:pt x="5" y="802"/>
                    <a:pt x="6" y="803"/>
                    <a:pt x="8" y="804"/>
                  </a:cubicBezTo>
                  <a:cubicBezTo>
                    <a:pt x="8" y="804"/>
                    <a:pt x="8" y="804"/>
                    <a:pt x="8" y="805"/>
                  </a:cubicBezTo>
                  <a:cubicBezTo>
                    <a:pt x="10" y="806"/>
                    <a:pt x="11" y="807"/>
                    <a:pt x="12" y="807"/>
                  </a:cubicBezTo>
                  <a:cubicBezTo>
                    <a:pt x="12" y="808"/>
                    <a:pt x="13" y="808"/>
                    <a:pt x="13" y="808"/>
                  </a:cubicBezTo>
                  <a:cubicBezTo>
                    <a:pt x="14" y="809"/>
                    <a:pt x="15" y="809"/>
                    <a:pt x="17" y="810"/>
                  </a:cubicBezTo>
                  <a:cubicBezTo>
                    <a:pt x="19" y="811"/>
                    <a:pt x="22" y="812"/>
                    <a:pt x="25" y="812"/>
                  </a:cubicBezTo>
                  <a:cubicBezTo>
                    <a:pt x="27" y="812"/>
                    <a:pt x="27" y="812"/>
                    <a:pt x="27" y="812"/>
                  </a:cubicBezTo>
                  <a:cubicBezTo>
                    <a:pt x="123" y="812"/>
                    <a:pt x="123" y="812"/>
                    <a:pt x="123" y="812"/>
                  </a:cubicBezTo>
                  <a:cubicBezTo>
                    <a:pt x="123" y="812"/>
                    <a:pt x="123" y="812"/>
                    <a:pt x="123" y="812"/>
                  </a:cubicBezTo>
                  <a:cubicBezTo>
                    <a:pt x="138" y="812"/>
                    <a:pt x="150" y="800"/>
                    <a:pt x="150" y="785"/>
                  </a:cubicBezTo>
                  <a:cubicBezTo>
                    <a:pt x="150" y="770"/>
                    <a:pt x="138" y="758"/>
                    <a:pt x="123" y="758"/>
                  </a:cubicBezTo>
                  <a:cubicBezTo>
                    <a:pt x="93" y="758"/>
                    <a:pt x="93" y="758"/>
                    <a:pt x="93" y="758"/>
                  </a:cubicBezTo>
                  <a:cubicBezTo>
                    <a:pt x="180" y="671"/>
                    <a:pt x="180" y="671"/>
                    <a:pt x="180" y="671"/>
                  </a:cubicBezTo>
                  <a:cubicBezTo>
                    <a:pt x="181" y="670"/>
                    <a:pt x="182" y="669"/>
                    <a:pt x="182" y="668"/>
                  </a:cubicBezTo>
                  <a:cubicBezTo>
                    <a:pt x="473" y="668"/>
                    <a:pt x="587" y="668"/>
                    <a:pt x="631" y="668"/>
                  </a:cubicBezTo>
                  <a:cubicBezTo>
                    <a:pt x="631" y="669"/>
                    <a:pt x="632" y="670"/>
                    <a:pt x="633" y="671"/>
                  </a:cubicBezTo>
                  <a:cubicBezTo>
                    <a:pt x="720" y="758"/>
                    <a:pt x="720" y="758"/>
                    <a:pt x="720" y="758"/>
                  </a:cubicBezTo>
                  <a:cubicBezTo>
                    <a:pt x="690" y="758"/>
                    <a:pt x="690" y="758"/>
                    <a:pt x="690" y="758"/>
                  </a:cubicBezTo>
                  <a:cubicBezTo>
                    <a:pt x="675" y="758"/>
                    <a:pt x="663" y="770"/>
                    <a:pt x="663" y="785"/>
                  </a:cubicBezTo>
                  <a:cubicBezTo>
                    <a:pt x="663" y="800"/>
                    <a:pt x="675" y="812"/>
                    <a:pt x="690" y="812"/>
                  </a:cubicBezTo>
                  <a:cubicBezTo>
                    <a:pt x="690" y="812"/>
                    <a:pt x="690" y="812"/>
                    <a:pt x="690" y="812"/>
                  </a:cubicBezTo>
                  <a:cubicBezTo>
                    <a:pt x="786" y="812"/>
                    <a:pt x="786" y="812"/>
                    <a:pt x="786" y="812"/>
                  </a:cubicBezTo>
                  <a:cubicBezTo>
                    <a:pt x="788" y="812"/>
                    <a:pt x="788" y="812"/>
                    <a:pt x="788" y="812"/>
                  </a:cubicBezTo>
                  <a:cubicBezTo>
                    <a:pt x="791" y="812"/>
                    <a:pt x="794" y="811"/>
                    <a:pt x="796" y="810"/>
                  </a:cubicBezTo>
                  <a:cubicBezTo>
                    <a:pt x="798" y="809"/>
                    <a:pt x="799" y="809"/>
                    <a:pt x="800" y="808"/>
                  </a:cubicBezTo>
                  <a:cubicBezTo>
                    <a:pt x="800" y="808"/>
                    <a:pt x="801" y="808"/>
                    <a:pt x="801" y="807"/>
                  </a:cubicBezTo>
                  <a:cubicBezTo>
                    <a:pt x="802" y="807"/>
                    <a:pt x="804" y="806"/>
                    <a:pt x="805" y="805"/>
                  </a:cubicBezTo>
                  <a:cubicBezTo>
                    <a:pt x="805" y="804"/>
                    <a:pt x="805" y="804"/>
                    <a:pt x="806" y="804"/>
                  </a:cubicBezTo>
                  <a:cubicBezTo>
                    <a:pt x="807" y="803"/>
                    <a:pt x="808" y="802"/>
                    <a:pt x="808" y="800"/>
                  </a:cubicBezTo>
                  <a:cubicBezTo>
                    <a:pt x="810" y="799"/>
                    <a:pt x="811" y="797"/>
                    <a:pt x="811" y="794"/>
                  </a:cubicBezTo>
                  <a:cubicBezTo>
                    <a:pt x="812" y="794"/>
                    <a:pt x="812" y="793"/>
                    <a:pt x="812" y="792"/>
                  </a:cubicBezTo>
                  <a:cubicBezTo>
                    <a:pt x="813" y="790"/>
                    <a:pt x="813" y="788"/>
                    <a:pt x="813" y="786"/>
                  </a:cubicBezTo>
                  <a:cubicBezTo>
                    <a:pt x="813" y="689"/>
                    <a:pt x="813" y="689"/>
                    <a:pt x="813" y="689"/>
                  </a:cubicBezTo>
                  <a:cubicBezTo>
                    <a:pt x="813" y="674"/>
                    <a:pt x="801" y="662"/>
                    <a:pt x="786" y="662"/>
                  </a:cubicBezTo>
                  <a:cubicBezTo>
                    <a:pt x="771" y="662"/>
                    <a:pt x="759" y="674"/>
                    <a:pt x="759" y="689"/>
                  </a:cubicBezTo>
                  <a:cubicBezTo>
                    <a:pt x="759" y="719"/>
                    <a:pt x="759" y="719"/>
                    <a:pt x="759" y="719"/>
                  </a:cubicBezTo>
                  <a:cubicBezTo>
                    <a:pt x="671" y="632"/>
                    <a:pt x="671" y="632"/>
                    <a:pt x="671" y="632"/>
                  </a:cubicBezTo>
                  <a:cubicBezTo>
                    <a:pt x="671" y="631"/>
                    <a:pt x="669" y="630"/>
                    <a:pt x="668" y="630"/>
                  </a:cubicBezTo>
                  <a:cubicBezTo>
                    <a:pt x="668" y="340"/>
                    <a:pt x="668" y="227"/>
                    <a:pt x="668" y="182"/>
                  </a:cubicBezTo>
                  <a:cubicBezTo>
                    <a:pt x="669" y="182"/>
                    <a:pt x="671" y="181"/>
                    <a:pt x="671" y="180"/>
                  </a:cubicBezTo>
                  <a:cubicBezTo>
                    <a:pt x="759" y="93"/>
                    <a:pt x="759" y="93"/>
                    <a:pt x="759" y="93"/>
                  </a:cubicBezTo>
                  <a:cubicBezTo>
                    <a:pt x="759" y="123"/>
                    <a:pt x="759" y="123"/>
                    <a:pt x="759" y="123"/>
                  </a:cubicBezTo>
                  <a:cubicBezTo>
                    <a:pt x="759" y="138"/>
                    <a:pt x="771" y="150"/>
                    <a:pt x="786" y="15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62" name="Group 61">
            <a:extLst>
              <a:ext uri="{FF2B5EF4-FFF2-40B4-BE49-F238E27FC236}">
                <a16:creationId xmlns:a16="http://schemas.microsoft.com/office/drawing/2014/main" id="{93B16369-F390-4E6F-9D61-D4D3BAFB5342}"/>
              </a:ext>
            </a:extLst>
          </p:cNvPr>
          <p:cNvGrpSpPr>
            <a:grpSpLocks noChangeAspect="1"/>
          </p:cNvGrpSpPr>
          <p:nvPr/>
        </p:nvGrpSpPr>
        <p:grpSpPr>
          <a:xfrm>
            <a:off x="3008036" y="2367112"/>
            <a:ext cx="457200" cy="457200"/>
            <a:chOff x="7324950" y="3200401"/>
            <a:chExt cx="457200" cy="457200"/>
          </a:xfrm>
        </p:grpSpPr>
        <p:sp>
          <p:nvSpPr>
            <p:cNvPr id="63" name="AutoShape 7">
              <a:extLst>
                <a:ext uri="{FF2B5EF4-FFF2-40B4-BE49-F238E27FC236}">
                  <a16:creationId xmlns:a16="http://schemas.microsoft.com/office/drawing/2014/main" id="{2C33E175-8C7D-4D3F-B027-5877096F494B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7324950" y="3200401"/>
              <a:ext cx="457200" cy="4572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4" name="Freeform 9">
              <a:extLst>
                <a:ext uri="{FF2B5EF4-FFF2-40B4-BE49-F238E27FC236}">
                  <a16:creationId xmlns:a16="http://schemas.microsoft.com/office/drawing/2014/main" id="{A0594C36-A318-4D0D-8BF4-A336E04CDE9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345155" y="3229265"/>
              <a:ext cx="417368" cy="401397"/>
            </a:xfrm>
            <a:custGeom>
              <a:avLst/>
              <a:gdLst>
                <a:gd name="T0" fmla="*/ 752 w 912"/>
                <a:gd name="T1" fmla="*/ 682 h 877"/>
                <a:gd name="T2" fmla="*/ 777 w 912"/>
                <a:gd name="T3" fmla="*/ 697 h 877"/>
                <a:gd name="T4" fmla="*/ 785 w 912"/>
                <a:gd name="T5" fmla="*/ 728 h 877"/>
                <a:gd name="T6" fmla="*/ 766 w 912"/>
                <a:gd name="T7" fmla="*/ 738 h 877"/>
                <a:gd name="T8" fmla="*/ 755 w 912"/>
                <a:gd name="T9" fmla="*/ 735 h 877"/>
                <a:gd name="T10" fmla="*/ 687 w 912"/>
                <a:gd name="T11" fmla="*/ 694 h 877"/>
                <a:gd name="T12" fmla="*/ 686 w 912"/>
                <a:gd name="T13" fmla="*/ 693 h 877"/>
                <a:gd name="T14" fmla="*/ 686 w 912"/>
                <a:gd name="T15" fmla="*/ 693 h 877"/>
                <a:gd name="T16" fmla="*/ 686 w 912"/>
                <a:gd name="T17" fmla="*/ 693 h 877"/>
                <a:gd name="T18" fmla="*/ 684 w 912"/>
                <a:gd name="T19" fmla="*/ 692 h 877"/>
                <a:gd name="T20" fmla="*/ 682 w 912"/>
                <a:gd name="T21" fmla="*/ 691 h 877"/>
                <a:gd name="T22" fmla="*/ 682 w 912"/>
                <a:gd name="T23" fmla="*/ 691 h 877"/>
                <a:gd name="T24" fmla="*/ 682 w 912"/>
                <a:gd name="T25" fmla="*/ 690 h 877"/>
                <a:gd name="T26" fmla="*/ 680 w 912"/>
                <a:gd name="T27" fmla="*/ 688 h 877"/>
                <a:gd name="T28" fmla="*/ 679 w 912"/>
                <a:gd name="T29" fmla="*/ 687 h 877"/>
                <a:gd name="T30" fmla="*/ 679 w 912"/>
                <a:gd name="T31" fmla="*/ 687 h 877"/>
                <a:gd name="T32" fmla="*/ 677 w 912"/>
                <a:gd name="T33" fmla="*/ 684 h 877"/>
                <a:gd name="T34" fmla="*/ 677 w 912"/>
                <a:gd name="T35" fmla="*/ 684 h 877"/>
                <a:gd name="T36" fmla="*/ 677 w 912"/>
                <a:gd name="T37" fmla="*/ 684 h 877"/>
                <a:gd name="T38" fmla="*/ 676 w 912"/>
                <a:gd name="T39" fmla="*/ 680 h 877"/>
                <a:gd name="T40" fmla="*/ 676 w 912"/>
                <a:gd name="T41" fmla="*/ 680 h 877"/>
                <a:gd name="T42" fmla="*/ 676 w 912"/>
                <a:gd name="T43" fmla="*/ 680 h 877"/>
                <a:gd name="T44" fmla="*/ 676 w 912"/>
                <a:gd name="T45" fmla="*/ 679 h 877"/>
                <a:gd name="T46" fmla="*/ 677 w 912"/>
                <a:gd name="T47" fmla="*/ 665 h 877"/>
                <a:gd name="T48" fmla="*/ 705 w 912"/>
                <a:gd name="T49" fmla="*/ 592 h 877"/>
                <a:gd name="T50" fmla="*/ 734 w 912"/>
                <a:gd name="T51" fmla="*/ 579 h 877"/>
                <a:gd name="T52" fmla="*/ 746 w 912"/>
                <a:gd name="T53" fmla="*/ 607 h 877"/>
                <a:gd name="T54" fmla="*/ 733 w 912"/>
                <a:gd name="T55" fmla="*/ 642 h 877"/>
                <a:gd name="T56" fmla="*/ 868 w 912"/>
                <a:gd name="T57" fmla="*/ 443 h 877"/>
                <a:gd name="T58" fmla="*/ 667 w 912"/>
                <a:gd name="T59" fmla="*/ 231 h 877"/>
                <a:gd name="T60" fmla="*/ 459 w 912"/>
                <a:gd name="T61" fmla="*/ 417 h 877"/>
                <a:gd name="T62" fmla="*/ 251 w 912"/>
                <a:gd name="T63" fmla="*/ 208 h 877"/>
                <a:gd name="T64" fmla="*/ 459 w 912"/>
                <a:gd name="T65" fmla="*/ 0 h 877"/>
                <a:gd name="T66" fmla="*/ 667 w 912"/>
                <a:gd name="T67" fmla="*/ 187 h 877"/>
                <a:gd name="T68" fmla="*/ 912 w 912"/>
                <a:gd name="T69" fmla="*/ 443 h 877"/>
                <a:gd name="T70" fmla="*/ 752 w 912"/>
                <a:gd name="T71" fmla="*/ 682 h 877"/>
                <a:gd name="T72" fmla="*/ 459 w 912"/>
                <a:gd name="T73" fmla="*/ 454 h 877"/>
                <a:gd name="T74" fmla="*/ 251 w 912"/>
                <a:gd name="T75" fmla="*/ 666 h 877"/>
                <a:gd name="T76" fmla="*/ 253 w 912"/>
                <a:gd name="T77" fmla="*/ 694 h 877"/>
                <a:gd name="T78" fmla="*/ 44 w 912"/>
                <a:gd name="T79" fmla="*/ 481 h 877"/>
                <a:gd name="T80" fmla="*/ 179 w 912"/>
                <a:gd name="T81" fmla="*/ 283 h 877"/>
                <a:gd name="T82" fmla="*/ 166 w 912"/>
                <a:gd name="T83" fmla="*/ 317 h 877"/>
                <a:gd name="T84" fmla="*/ 178 w 912"/>
                <a:gd name="T85" fmla="*/ 346 h 877"/>
                <a:gd name="T86" fmla="*/ 186 w 912"/>
                <a:gd name="T87" fmla="*/ 347 h 877"/>
                <a:gd name="T88" fmla="*/ 207 w 912"/>
                <a:gd name="T89" fmla="*/ 333 h 877"/>
                <a:gd name="T90" fmla="*/ 235 w 912"/>
                <a:gd name="T91" fmla="*/ 259 h 877"/>
                <a:gd name="T92" fmla="*/ 236 w 912"/>
                <a:gd name="T93" fmla="*/ 246 h 877"/>
                <a:gd name="T94" fmla="*/ 226 w 912"/>
                <a:gd name="T95" fmla="*/ 231 h 877"/>
                <a:gd name="T96" fmla="*/ 226 w 912"/>
                <a:gd name="T97" fmla="*/ 231 h 877"/>
                <a:gd name="T98" fmla="*/ 225 w 912"/>
                <a:gd name="T99" fmla="*/ 231 h 877"/>
                <a:gd name="T100" fmla="*/ 157 w 912"/>
                <a:gd name="T101" fmla="*/ 190 h 877"/>
                <a:gd name="T102" fmla="*/ 127 w 912"/>
                <a:gd name="T103" fmla="*/ 197 h 877"/>
                <a:gd name="T104" fmla="*/ 135 w 912"/>
                <a:gd name="T105" fmla="*/ 227 h 877"/>
                <a:gd name="T106" fmla="*/ 160 w 912"/>
                <a:gd name="T107" fmla="*/ 243 h 877"/>
                <a:gd name="T108" fmla="*/ 0 w 912"/>
                <a:gd name="T109" fmla="*/ 481 h 877"/>
                <a:gd name="T110" fmla="*/ 257 w 912"/>
                <a:gd name="T111" fmla="*/ 738 h 877"/>
                <a:gd name="T112" fmla="*/ 263 w 912"/>
                <a:gd name="T113" fmla="*/ 737 h 877"/>
                <a:gd name="T114" fmla="*/ 459 w 912"/>
                <a:gd name="T115" fmla="*/ 877 h 877"/>
                <a:gd name="T116" fmla="*/ 667 w 912"/>
                <a:gd name="T117" fmla="*/ 666 h 877"/>
                <a:gd name="T118" fmla="*/ 459 w 912"/>
                <a:gd name="T119" fmla="*/ 454 h 8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12" h="877">
                  <a:moveTo>
                    <a:pt x="752" y="682"/>
                  </a:moveTo>
                  <a:cubicBezTo>
                    <a:pt x="777" y="697"/>
                    <a:pt x="777" y="697"/>
                    <a:pt x="777" y="697"/>
                  </a:cubicBezTo>
                  <a:cubicBezTo>
                    <a:pt x="788" y="704"/>
                    <a:pt x="791" y="717"/>
                    <a:pt x="785" y="728"/>
                  </a:cubicBezTo>
                  <a:cubicBezTo>
                    <a:pt x="781" y="734"/>
                    <a:pt x="773" y="738"/>
                    <a:pt x="766" y="738"/>
                  </a:cubicBezTo>
                  <a:cubicBezTo>
                    <a:pt x="762" y="738"/>
                    <a:pt x="758" y="737"/>
                    <a:pt x="755" y="735"/>
                  </a:cubicBezTo>
                  <a:cubicBezTo>
                    <a:pt x="687" y="694"/>
                    <a:pt x="687" y="694"/>
                    <a:pt x="687" y="694"/>
                  </a:cubicBezTo>
                  <a:cubicBezTo>
                    <a:pt x="686" y="693"/>
                    <a:pt x="686" y="693"/>
                    <a:pt x="686" y="693"/>
                  </a:cubicBezTo>
                  <a:cubicBezTo>
                    <a:pt x="686" y="693"/>
                    <a:pt x="686" y="693"/>
                    <a:pt x="686" y="693"/>
                  </a:cubicBezTo>
                  <a:cubicBezTo>
                    <a:pt x="686" y="693"/>
                    <a:pt x="686" y="693"/>
                    <a:pt x="686" y="693"/>
                  </a:cubicBezTo>
                  <a:cubicBezTo>
                    <a:pt x="685" y="693"/>
                    <a:pt x="684" y="692"/>
                    <a:pt x="684" y="692"/>
                  </a:cubicBezTo>
                  <a:cubicBezTo>
                    <a:pt x="683" y="692"/>
                    <a:pt x="683" y="691"/>
                    <a:pt x="682" y="691"/>
                  </a:cubicBezTo>
                  <a:cubicBezTo>
                    <a:pt x="682" y="691"/>
                    <a:pt x="682" y="691"/>
                    <a:pt x="682" y="691"/>
                  </a:cubicBezTo>
                  <a:cubicBezTo>
                    <a:pt x="682" y="691"/>
                    <a:pt x="682" y="690"/>
                    <a:pt x="682" y="690"/>
                  </a:cubicBezTo>
                  <a:cubicBezTo>
                    <a:pt x="681" y="689"/>
                    <a:pt x="680" y="689"/>
                    <a:pt x="680" y="688"/>
                  </a:cubicBezTo>
                  <a:cubicBezTo>
                    <a:pt x="679" y="688"/>
                    <a:pt x="679" y="688"/>
                    <a:pt x="679" y="687"/>
                  </a:cubicBezTo>
                  <a:cubicBezTo>
                    <a:pt x="679" y="687"/>
                    <a:pt x="679" y="687"/>
                    <a:pt x="679" y="687"/>
                  </a:cubicBezTo>
                  <a:cubicBezTo>
                    <a:pt x="678" y="686"/>
                    <a:pt x="678" y="685"/>
                    <a:pt x="677" y="684"/>
                  </a:cubicBezTo>
                  <a:cubicBezTo>
                    <a:pt x="677" y="684"/>
                    <a:pt x="677" y="684"/>
                    <a:pt x="677" y="684"/>
                  </a:cubicBezTo>
                  <a:cubicBezTo>
                    <a:pt x="677" y="684"/>
                    <a:pt x="677" y="684"/>
                    <a:pt x="677" y="684"/>
                  </a:cubicBezTo>
                  <a:cubicBezTo>
                    <a:pt x="677" y="683"/>
                    <a:pt x="676" y="681"/>
                    <a:pt x="676" y="680"/>
                  </a:cubicBezTo>
                  <a:cubicBezTo>
                    <a:pt x="676" y="680"/>
                    <a:pt x="676" y="680"/>
                    <a:pt x="676" y="680"/>
                  </a:cubicBezTo>
                  <a:cubicBezTo>
                    <a:pt x="676" y="680"/>
                    <a:pt x="676" y="680"/>
                    <a:pt x="676" y="680"/>
                  </a:cubicBezTo>
                  <a:cubicBezTo>
                    <a:pt x="676" y="679"/>
                    <a:pt x="676" y="679"/>
                    <a:pt x="676" y="679"/>
                  </a:cubicBezTo>
                  <a:cubicBezTo>
                    <a:pt x="675" y="674"/>
                    <a:pt x="675" y="669"/>
                    <a:pt x="677" y="665"/>
                  </a:cubicBezTo>
                  <a:cubicBezTo>
                    <a:pt x="705" y="592"/>
                    <a:pt x="705" y="592"/>
                    <a:pt x="705" y="592"/>
                  </a:cubicBezTo>
                  <a:cubicBezTo>
                    <a:pt x="710" y="580"/>
                    <a:pt x="722" y="575"/>
                    <a:pt x="734" y="579"/>
                  </a:cubicBezTo>
                  <a:cubicBezTo>
                    <a:pt x="745" y="583"/>
                    <a:pt x="751" y="596"/>
                    <a:pt x="746" y="607"/>
                  </a:cubicBezTo>
                  <a:cubicBezTo>
                    <a:pt x="733" y="642"/>
                    <a:pt x="733" y="642"/>
                    <a:pt x="733" y="642"/>
                  </a:cubicBezTo>
                  <a:cubicBezTo>
                    <a:pt x="813" y="610"/>
                    <a:pt x="868" y="532"/>
                    <a:pt x="868" y="443"/>
                  </a:cubicBezTo>
                  <a:cubicBezTo>
                    <a:pt x="868" y="330"/>
                    <a:pt x="779" y="237"/>
                    <a:pt x="667" y="231"/>
                  </a:cubicBezTo>
                  <a:cubicBezTo>
                    <a:pt x="655" y="335"/>
                    <a:pt x="567" y="417"/>
                    <a:pt x="459" y="417"/>
                  </a:cubicBezTo>
                  <a:cubicBezTo>
                    <a:pt x="344" y="417"/>
                    <a:pt x="251" y="324"/>
                    <a:pt x="251" y="208"/>
                  </a:cubicBezTo>
                  <a:cubicBezTo>
                    <a:pt x="251" y="93"/>
                    <a:pt x="344" y="0"/>
                    <a:pt x="459" y="0"/>
                  </a:cubicBezTo>
                  <a:cubicBezTo>
                    <a:pt x="567" y="0"/>
                    <a:pt x="656" y="82"/>
                    <a:pt x="667" y="187"/>
                  </a:cubicBezTo>
                  <a:cubicBezTo>
                    <a:pt x="803" y="193"/>
                    <a:pt x="912" y="306"/>
                    <a:pt x="912" y="443"/>
                  </a:cubicBezTo>
                  <a:cubicBezTo>
                    <a:pt x="912" y="550"/>
                    <a:pt x="847" y="643"/>
                    <a:pt x="752" y="682"/>
                  </a:cubicBezTo>
                  <a:close/>
                  <a:moveTo>
                    <a:pt x="459" y="454"/>
                  </a:moveTo>
                  <a:cubicBezTo>
                    <a:pt x="344" y="454"/>
                    <a:pt x="251" y="549"/>
                    <a:pt x="251" y="666"/>
                  </a:cubicBezTo>
                  <a:cubicBezTo>
                    <a:pt x="251" y="675"/>
                    <a:pt x="251" y="685"/>
                    <a:pt x="253" y="694"/>
                  </a:cubicBezTo>
                  <a:cubicBezTo>
                    <a:pt x="137" y="692"/>
                    <a:pt x="44" y="597"/>
                    <a:pt x="44" y="481"/>
                  </a:cubicBezTo>
                  <a:cubicBezTo>
                    <a:pt x="44" y="392"/>
                    <a:pt x="99" y="315"/>
                    <a:pt x="179" y="283"/>
                  </a:cubicBezTo>
                  <a:cubicBezTo>
                    <a:pt x="166" y="317"/>
                    <a:pt x="166" y="317"/>
                    <a:pt x="166" y="317"/>
                  </a:cubicBezTo>
                  <a:cubicBezTo>
                    <a:pt x="161" y="329"/>
                    <a:pt x="167" y="341"/>
                    <a:pt x="178" y="346"/>
                  </a:cubicBezTo>
                  <a:cubicBezTo>
                    <a:pt x="181" y="347"/>
                    <a:pt x="184" y="347"/>
                    <a:pt x="186" y="347"/>
                  </a:cubicBezTo>
                  <a:cubicBezTo>
                    <a:pt x="195" y="347"/>
                    <a:pt x="203" y="342"/>
                    <a:pt x="207" y="333"/>
                  </a:cubicBezTo>
                  <a:cubicBezTo>
                    <a:pt x="235" y="259"/>
                    <a:pt x="235" y="259"/>
                    <a:pt x="235" y="259"/>
                  </a:cubicBezTo>
                  <a:cubicBezTo>
                    <a:pt x="237" y="255"/>
                    <a:pt x="237" y="251"/>
                    <a:pt x="236" y="246"/>
                  </a:cubicBezTo>
                  <a:cubicBezTo>
                    <a:pt x="235" y="240"/>
                    <a:pt x="231" y="234"/>
                    <a:pt x="226" y="231"/>
                  </a:cubicBezTo>
                  <a:cubicBezTo>
                    <a:pt x="226" y="231"/>
                    <a:pt x="226" y="231"/>
                    <a:pt x="226" y="231"/>
                  </a:cubicBezTo>
                  <a:cubicBezTo>
                    <a:pt x="225" y="231"/>
                    <a:pt x="225" y="231"/>
                    <a:pt x="225" y="231"/>
                  </a:cubicBezTo>
                  <a:cubicBezTo>
                    <a:pt x="157" y="190"/>
                    <a:pt x="157" y="190"/>
                    <a:pt x="157" y="190"/>
                  </a:cubicBezTo>
                  <a:cubicBezTo>
                    <a:pt x="147" y="183"/>
                    <a:pt x="133" y="187"/>
                    <a:pt x="127" y="197"/>
                  </a:cubicBezTo>
                  <a:cubicBezTo>
                    <a:pt x="121" y="208"/>
                    <a:pt x="124" y="221"/>
                    <a:pt x="135" y="227"/>
                  </a:cubicBezTo>
                  <a:cubicBezTo>
                    <a:pt x="160" y="243"/>
                    <a:pt x="160" y="243"/>
                    <a:pt x="160" y="243"/>
                  </a:cubicBezTo>
                  <a:cubicBezTo>
                    <a:pt x="65" y="281"/>
                    <a:pt x="0" y="375"/>
                    <a:pt x="0" y="481"/>
                  </a:cubicBezTo>
                  <a:cubicBezTo>
                    <a:pt x="0" y="623"/>
                    <a:pt x="115" y="738"/>
                    <a:pt x="257" y="738"/>
                  </a:cubicBezTo>
                  <a:cubicBezTo>
                    <a:pt x="259" y="738"/>
                    <a:pt x="261" y="738"/>
                    <a:pt x="263" y="737"/>
                  </a:cubicBezTo>
                  <a:cubicBezTo>
                    <a:pt x="292" y="819"/>
                    <a:pt x="369" y="877"/>
                    <a:pt x="459" y="877"/>
                  </a:cubicBezTo>
                  <a:cubicBezTo>
                    <a:pt x="574" y="877"/>
                    <a:pt x="667" y="782"/>
                    <a:pt x="667" y="666"/>
                  </a:cubicBezTo>
                  <a:cubicBezTo>
                    <a:pt x="667" y="549"/>
                    <a:pt x="574" y="454"/>
                    <a:pt x="459" y="454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65" name="Group 64">
            <a:extLst>
              <a:ext uri="{FF2B5EF4-FFF2-40B4-BE49-F238E27FC236}">
                <a16:creationId xmlns:a16="http://schemas.microsoft.com/office/drawing/2014/main" id="{D15C310E-8291-4847-84F3-D0A645EF1F32}"/>
              </a:ext>
            </a:extLst>
          </p:cNvPr>
          <p:cNvGrpSpPr>
            <a:grpSpLocks noChangeAspect="1"/>
          </p:cNvGrpSpPr>
          <p:nvPr/>
        </p:nvGrpSpPr>
        <p:grpSpPr>
          <a:xfrm>
            <a:off x="657585" y="2367112"/>
            <a:ext cx="457200" cy="457200"/>
            <a:chOff x="5549900" y="2676525"/>
            <a:chExt cx="457200" cy="457200"/>
          </a:xfrm>
        </p:grpSpPr>
        <p:sp>
          <p:nvSpPr>
            <p:cNvPr id="66" name="AutoShape 28">
              <a:extLst>
                <a:ext uri="{FF2B5EF4-FFF2-40B4-BE49-F238E27FC236}">
                  <a16:creationId xmlns:a16="http://schemas.microsoft.com/office/drawing/2014/main" id="{B4E8254C-86BD-4B4B-8A31-8F5F15B6B34F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5549900" y="2676525"/>
              <a:ext cx="457200" cy="4572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7" name="Freeform 30">
              <a:extLst>
                <a:ext uri="{FF2B5EF4-FFF2-40B4-BE49-F238E27FC236}">
                  <a16:creationId xmlns:a16="http://schemas.microsoft.com/office/drawing/2014/main" id="{BEB828BE-0FE0-4094-BCDF-F76B237368FB}"/>
                </a:ext>
              </a:extLst>
            </p:cNvPr>
            <p:cNvSpPr>
              <a:spLocks/>
            </p:cNvSpPr>
            <p:nvPr/>
          </p:nvSpPr>
          <p:spPr bwMode="auto">
            <a:xfrm>
              <a:off x="5591175" y="2705100"/>
              <a:ext cx="374650" cy="400050"/>
            </a:xfrm>
            <a:custGeom>
              <a:avLst/>
              <a:gdLst>
                <a:gd name="T0" fmla="*/ 817 w 819"/>
                <a:gd name="T1" fmla="*/ 168 h 874"/>
                <a:gd name="T2" fmla="*/ 783 w 819"/>
                <a:gd name="T3" fmla="*/ 133 h 874"/>
                <a:gd name="T4" fmla="*/ 726 w 819"/>
                <a:gd name="T5" fmla="*/ 116 h 874"/>
                <a:gd name="T6" fmla="*/ 721 w 819"/>
                <a:gd name="T7" fmla="*/ 115 h 874"/>
                <a:gd name="T8" fmla="*/ 711 w 819"/>
                <a:gd name="T9" fmla="*/ 97 h 874"/>
                <a:gd name="T10" fmla="*/ 655 w 819"/>
                <a:gd name="T11" fmla="*/ 31 h 874"/>
                <a:gd name="T12" fmla="*/ 574 w 819"/>
                <a:gd name="T13" fmla="*/ 0 h 874"/>
                <a:gd name="T14" fmla="*/ 454 w 819"/>
                <a:gd name="T15" fmla="*/ 82 h 874"/>
                <a:gd name="T16" fmla="*/ 423 w 819"/>
                <a:gd name="T17" fmla="*/ 160 h 874"/>
                <a:gd name="T18" fmla="*/ 402 w 819"/>
                <a:gd name="T19" fmla="*/ 223 h 874"/>
                <a:gd name="T20" fmla="*/ 376 w 819"/>
                <a:gd name="T21" fmla="*/ 267 h 874"/>
                <a:gd name="T22" fmla="*/ 312 w 819"/>
                <a:gd name="T23" fmla="*/ 357 h 874"/>
                <a:gd name="T24" fmla="*/ 62 w 819"/>
                <a:gd name="T25" fmla="*/ 664 h 874"/>
                <a:gd name="T26" fmla="*/ 61 w 819"/>
                <a:gd name="T27" fmla="*/ 665 h 874"/>
                <a:gd name="T28" fmla="*/ 57 w 819"/>
                <a:gd name="T29" fmla="*/ 714 h 874"/>
                <a:gd name="T30" fmla="*/ 63 w 819"/>
                <a:gd name="T31" fmla="*/ 724 h 874"/>
                <a:gd name="T32" fmla="*/ 13 w 819"/>
                <a:gd name="T33" fmla="*/ 786 h 874"/>
                <a:gd name="T34" fmla="*/ 7 w 819"/>
                <a:gd name="T35" fmla="*/ 835 h 874"/>
                <a:gd name="T36" fmla="*/ 49 w 819"/>
                <a:gd name="T37" fmla="*/ 861 h 874"/>
                <a:gd name="T38" fmla="*/ 63 w 819"/>
                <a:gd name="T39" fmla="*/ 859 h 874"/>
                <a:gd name="T40" fmla="*/ 97 w 819"/>
                <a:gd name="T41" fmla="*/ 874 h 874"/>
                <a:gd name="T42" fmla="*/ 130 w 819"/>
                <a:gd name="T43" fmla="*/ 860 h 874"/>
                <a:gd name="T44" fmla="*/ 232 w 819"/>
                <a:gd name="T45" fmla="*/ 760 h 874"/>
                <a:gd name="T46" fmla="*/ 309 w 819"/>
                <a:gd name="T47" fmla="*/ 700 h 874"/>
                <a:gd name="T48" fmla="*/ 376 w 819"/>
                <a:gd name="T49" fmla="*/ 666 h 874"/>
                <a:gd name="T50" fmla="*/ 439 w 819"/>
                <a:gd name="T51" fmla="*/ 663 h 874"/>
                <a:gd name="T52" fmla="*/ 380 w 819"/>
                <a:gd name="T53" fmla="*/ 758 h 874"/>
                <a:gd name="T54" fmla="*/ 426 w 819"/>
                <a:gd name="T55" fmla="*/ 799 h 874"/>
                <a:gd name="T56" fmla="*/ 456 w 819"/>
                <a:gd name="T57" fmla="*/ 788 h 874"/>
                <a:gd name="T58" fmla="*/ 519 w 819"/>
                <a:gd name="T59" fmla="*/ 768 h 874"/>
                <a:gd name="T60" fmla="*/ 630 w 819"/>
                <a:gd name="T61" fmla="*/ 796 h 874"/>
                <a:gd name="T62" fmla="*/ 650 w 819"/>
                <a:gd name="T63" fmla="*/ 801 h 874"/>
                <a:gd name="T64" fmla="*/ 685 w 819"/>
                <a:gd name="T65" fmla="*/ 785 h 874"/>
                <a:gd name="T66" fmla="*/ 696 w 819"/>
                <a:gd name="T67" fmla="*/ 749 h 874"/>
                <a:gd name="T68" fmla="*/ 691 w 819"/>
                <a:gd name="T69" fmla="*/ 727 h 874"/>
                <a:gd name="T70" fmla="*/ 692 w 819"/>
                <a:gd name="T71" fmla="*/ 725 h 874"/>
                <a:gd name="T72" fmla="*/ 698 w 819"/>
                <a:gd name="T73" fmla="*/ 683 h 874"/>
                <a:gd name="T74" fmla="*/ 651 w 819"/>
                <a:gd name="T75" fmla="*/ 637 h 874"/>
                <a:gd name="T76" fmla="*/ 614 w 819"/>
                <a:gd name="T77" fmla="*/ 630 h 874"/>
                <a:gd name="T78" fmla="*/ 592 w 819"/>
                <a:gd name="T79" fmla="*/ 631 h 874"/>
                <a:gd name="T80" fmla="*/ 592 w 819"/>
                <a:gd name="T81" fmla="*/ 624 h 874"/>
                <a:gd name="T82" fmla="*/ 711 w 819"/>
                <a:gd name="T83" fmla="*/ 501 h 874"/>
                <a:gd name="T84" fmla="*/ 724 w 819"/>
                <a:gd name="T85" fmla="*/ 322 h 874"/>
                <a:gd name="T86" fmla="*/ 700 w 819"/>
                <a:gd name="T87" fmla="*/ 235 h 874"/>
                <a:gd name="T88" fmla="*/ 790 w 819"/>
                <a:gd name="T89" fmla="*/ 213 h 874"/>
                <a:gd name="T90" fmla="*/ 795 w 819"/>
                <a:gd name="T91" fmla="*/ 211 h 874"/>
                <a:gd name="T92" fmla="*/ 817 w 819"/>
                <a:gd name="T93" fmla="*/ 168 h 8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819" h="874">
                  <a:moveTo>
                    <a:pt x="817" y="168"/>
                  </a:moveTo>
                  <a:cubicBezTo>
                    <a:pt x="814" y="150"/>
                    <a:pt x="801" y="136"/>
                    <a:pt x="783" y="133"/>
                  </a:cubicBezTo>
                  <a:cubicBezTo>
                    <a:pt x="778" y="132"/>
                    <a:pt x="739" y="120"/>
                    <a:pt x="726" y="116"/>
                  </a:cubicBezTo>
                  <a:cubicBezTo>
                    <a:pt x="726" y="116"/>
                    <a:pt x="723" y="115"/>
                    <a:pt x="721" y="115"/>
                  </a:cubicBezTo>
                  <a:cubicBezTo>
                    <a:pt x="719" y="112"/>
                    <a:pt x="716" y="106"/>
                    <a:pt x="711" y="97"/>
                  </a:cubicBezTo>
                  <a:cubicBezTo>
                    <a:pt x="698" y="71"/>
                    <a:pt x="678" y="48"/>
                    <a:pt x="655" y="31"/>
                  </a:cubicBezTo>
                  <a:cubicBezTo>
                    <a:pt x="628" y="10"/>
                    <a:pt x="601" y="0"/>
                    <a:pt x="574" y="0"/>
                  </a:cubicBezTo>
                  <a:cubicBezTo>
                    <a:pt x="542" y="0"/>
                    <a:pt x="495" y="15"/>
                    <a:pt x="454" y="82"/>
                  </a:cubicBezTo>
                  <a:cubicBezTo>
                    <a:pt x="440" y="105"/>
                    <a:pt x="429" y="132"/>
                    <a:pt x="423" y="160"/>
                  </a:cubicBezTo>
                  <a:cubicBezTo>
                    <a:pt x="418" y="180"/>
                    <a:pt x="412" y="201"/>
                    <a:pt x="402" y="223"/>
                  </a:cubicBezTo>
                  <a:cubicBezTo>
                    <a:pt x="396" y="238"/>
                    <a:pt x="387" y="253"/>
                    <a:pt x="376" y="267"/>
                  </a:cubicBezTo>
                  <a:cubicBezTo>
                    <a:pt x="312" y="357"/>
                    <a:pt x="312" y="357"/>
                    <a:pt x="312" y="357"/>
                  </a:cubicBezTo>
                  <a:cubicBezTo>
                    <a:pt x="62" y="664"/>
                    <a:pt x="62" y="664"/>
                    <a:pt x="62" y="664"/>
                  </a:cubicBezTo>
                  <a:cubicBezTo>
                    <a:pt x="61" y="665"/>
                    <a:pt x="61" y="665"/>
                    <a:pt x="61" y="665"/>
                  </a:cubicBezTo>
                  <a:cubicBezTo>
                    <a:pt x="50" y="680"/>
                    <a:pt x="49" y="698"/>
                    <a:pt x="57" y="714"/>
                  </a:cubicBezTo>
                  <a:cubicBezTo>
                    <a:pt x="59" y="718"/>
                    <a:pt x="60" y="721"/>
                    <a:pt x="63" y="724"/>
                  </a:cubicBezTo>
                  <a:cubicBezTo>
                    <a:pt x="13" y="786"/>
                    <a:pt x="13" y="786"/>
                    <a:pt x="13" y="786"/>
                  </a:cubicBezTo>
                  <a:cubicBezTo>
                    <a:pt x="2" y="800"/>
                    <a:pt x="0" y="819"/>
                    <a:pt x="7" y="835"/>
                  </a:cubicBezTo>
                  <a:cubicBezTo>
                    <a:pt x="15" y="851"/>
                    <a:pt x="32" y="861"/>
                    <a:pt x="49" y="861"/>
                  </a:cubicBezTo>
                  <a:cubicBezTo>
                    <a:pt x="54" y="861"/>
                    <a:pt x="59" y="861"/>
                    <a:pt x="63" y="859"/>
                  </a:cubicBezTo>
                  <a:cubicBezTo>
                    <a:pt x="72" y="868"/>
                    <a:pt x="84" y="874"/>
                    <a:pt x="97" y="874"/>
                  </a:cubicBezTo>
                  <a:cubicBezTo>
                    <a:pt x="109" y="874"/>
                    <a:pt x="121" y="869"/>
                    <a:pt x="130" y="860"/>
                  </a:cubicBezTo>
                  <a:cubicBezTo>
                    <a:pt x="232" y="760"/>
                    <a:pt x="232" y="760"/>
                    <a:pt x="232" y="760"/>
                  </a:cubicBezTo>
                  <a:cubicBezTo>
                    <a:pt x="249" y="744"/>
                    <a:pt x="280" y="720"/>
                    <a:pt x="309" y="700"/>
                  </a:cubicBezTo>
                  <a:cubicBezTo>
                    <a:pt x="350" y="674"/>
                    <a:pt x="371" y="666"/>
                    <a:pt x="376" y="666"/>
                  </a:cubicBezTo>
                  <a:cubicBezTo>
                    <a:pt x="399" y="666"/>
                    <a:pt x="419" y="665"/>
                    <a:pt x="439" y="663"/>
                  </a:cubicBezTo>
                  <a:cubicBezTo>
                    <a:pt x="377" y="692"/>
                    <a:pt x="379" y="746"/>
                    <a:pt x="380" y="758"/>
                  </a:cubicBezTo>
                  <a:cubicBezTo>
                    <a:pt x="383" y="781"/>
                    <a:pt x="402" y="799"/>
                    <a:pt x="426" y="799"/>
                  </a:cubicBezTo>
                  <a:cubicBezTo>
                    <a:pt x="437" y="799"/>
                    <a:pt x="448" y="795"/>
                    <a:pt x="456" y="788"/>
                  </a:cubicBezTo>
                  <a:cubicBezTo>
                    <a:pt x="472" y="774"/>
                    <a:pt x="493" y="768"/>
                    <a:pt x="519" y="768"/>
                  </a:cubicBezTo>
                  <a:cubicBezTo>
                    <a:pt x="565" y="768"/>
                    <a:pt x="612" y="788"/>
                    <a:pt x="630" y="796"/>
                  </a:cubicBezTo>
                  <a:cubicBezTo>
                    <a:pt x="636" y="799"/>
                    <a:pt x="643" y="801"/>
                    <a:pt x="650" y="801"/>
                  </a:cubicBezTo>
                  <a:cubicBezTo>
                    <a:pt x="664" y="801"/>
                    <a:pt x="676" y="795"/>
                    <a:pt x="685" y="785"/>
                  </a:cubicBezTo>
                  <a:cubicBezTo>
                    <a:pt x="694" y="775"/>
                    <a:pt x="698" y="762"/>
                    <a:pt x="696" y="749"/>
                  </a:cubicBezTo>
                  <a:cubicBezTo>
                    <a:pt x="695" y="741"/>
                    <a:pt x="694" y="734"/>
                    <a:pt x="691" y="727"/>
                  </a:cubicBezTo>
                  <a:cubicBezTo>
                    <a:pt x="691" y="726"/>
                    <a:pt x="692" y="726"/>
                    <a:pt x="692" y="725"/>
                  </a:cubicBezTo>
                  <a:cubicBezTo>
                    <a:pt x="701" y="713"/>
                    <a:pt x="703" y="697"/>
                    <a:pt x="698" y="683"/>
                  </a:cubicBezTo>
                  <a:cubicBezTo>
                    <a:pt x="693" y="668"/>
                    <a:pt x="680" y="648"/>
                    <a:pt x="651" y="637"/>
                  </a:cubicBezTo>
                  <a:cubicBezTo>
                    <a:pt x="640" y="632"/>
                    <a:pt x="628" y="630"/>
                    <a:pt x="614" y="630"/>
                  </a:cubicBezTo>
                  <a:cubicBezTo>
                    <a:pt x="607" y="630"/>
                    <a:pt x="600" y="631"/>
                    <a:pt x="592" y="631"/>
                  </a:cubicBezTo>
                  <a:cubicBezTo>
                    <a:pt x="592" y="629"/>
                    <a:pt x="592" y="626"/>
                    <a:pt x="592" y="624"/>
                  </a:cubicBezTo>
                  <a:cubicBezTo>
                    <a:pt x="649" y="596"/>
                    <a:pt x="689" y="555"/>
                    <a:pt x="711" y="501"/>
                  </a:cubicBezTo>
                  <a:cubicBezTo>
                    <a:pt x="733" y="450"/>
                    <a:pt x="737" y="390"/>
                    <a:pt x="724" y="322"/>
                  </a:cubicBezTo>
                  <a:cubicBezTo>
                    <a:pt x="719" y="293"/>
                    <a:pt x="710" y="264"/>
                    <a:pt x="700" y="235"/>
                  </a:cubicBezTo>
                  <a:cubicBezTo>
                    <a:pt x="790" y="213"/>
                    <a:pt x="790" y="213"/>
                    <a:pt x="790" y="213"/>
                  </a:cubicBezTo>
                  <a:cubicBezTo>
                    <a:pt x="795" y="211"/>
                    <a:pt x="795" y="211"/>
                    <a:pt x="795" y="211"/>
                  </a:cubicBezTo>
                  <a:cubicBezTo>
                    <a:pt x="810" y="202"/>
                    <a:pt x="819" y="185"/>
                    <a:pt x="817" y="168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68" name="Group 4">
            <a:extLst>
              <a:ext uri="{FF2B5EF4-FFF2-40B4-BE49-F238E27FC236}">
                <a16:creationId xmlns:a16="http://schemas.microsoft.com/office/drawing/2014/main" id="{6084BEF4-A204-42B8-A5FC-D4B8A808ECA5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3017415" y="4346789"/>
            <a:ext cx="457200" cy="457200"/>
            <a:chOff x="823" y="916"/>
            <a:chExt cx="2375" cy="2375"/>
          </a:xfrm>
        </p:grpSpPr>
        <p:sp>
          <p:nvSpPr>
            <p:cNvPr id="69" name="AutoShape 3">
              <a:extLst>
                <a:ext uri="{FF2B5EF4-FFF2-40B4-BE49-F238E27FC236}">
                  <a16:creationId xmlns:a16="http://schemas.microsoft.com/office/drawing/2014/main" id="{17DE5102-2E8D-48BE-A50F-611B4896F66F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823" y="916"/>
              <a:ext cx="2375" cy="23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0" name="Freeform 5">
              <a:extLst>
                <a:ext uri="{FF2B5EF4-FFF2-40B4-BE49-F238E27FC236}">
                  <a16:creationId xmlns:a16="http://schemas.microsoft.com/office/drawing/2014/main" id="{ADBBF65D-503B-4662-9632-8C37EA9604A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56" y="1052"/>
              <a:ext cx="2114" cy="2106"/>
            </a:xfrm>
            <a:custGeom>
              <a:avLst/>
              <a:gdLst>
                <a:gd name="T0" fmla="*/ 610 w 889"/>
                <a:gd name="T1" fmla="*/ 250 h 886"/>
                <a:gd name="T2" fmla="*/ 385 w 889"/>
                <a:gd name="T3" fmla="*/ 16 h 886"/>
                <a:gd name="T4" fmla="*/ 350 w 889"/>
                <a:gd name="T5" fmla="*/ 0 h 886"/>
                <a:gd name="T6" fmla="*/ 315 w 889"/>
                <a:gd name="T7" fmla="*/ 14 h 886"/>
                <a:gd name="T8" fmla="*/ 289 w 889"/>
                <a:gd name="T9" fmla="*/ 39 h 886"/>
                <a:gd name="T10" fmla="*/ 307 w 889"/>
                <a:gd name="T11" fmla="*/ 87 h 886"/>
                <a:gd name="T12" fmla="*/ 301 w 889"/>
                <a:gd name="T13" fmla="*/ 95 h 886"/>
                <a:gd name="T14" fmla="*/ 299 w 889"/>
                <a:gd name="T15" fmla="*/ 95 h 886"/>
                <a:gd name="T16" fmla="*/ 251 w 889"/>
                <a:gd name="T17" fmla="*/ 76 h 886"/>
                <a:gd name="T18" fmla="*/ 121 w 889"/>
                <a:gd name="T19" fmla="*/ 200 h 886"/>
                <a:gd name="T20" fmla="*/ 166 w 889"/>
                <a:gd name="T21" fmla="*/ 282 h 886"/>
                <a:gd name="T22" fmla="*/ 161 w 889"/>
                <a:gd name="T23" fmla="*/ 292 h 886"/>
                <a:gd name="T24" fmla="*/ 158 w 889"/>
                <a:gd name="T25" fmla="*/ 290 h 886"/>
                <a:gd name="T26" fmla="*/ 72 w 889"/>
                <a:gd name="T27" fmla="*/ 247 h 886"/>
                <a:gd name="T28" fmla="*/ 29 w 889"/>
                <a:gd name="T29" fmla="*/ 289 h 886"/>
                <a:gd name="T30" fmla="*/ 24 w 889"/>
                <a:gd name="T31" fmla="*/ 295 h 886"/>
                <a:gd name="T32" fmla="*/ 27 w 889"/>
                <a:gd name="T33" fmla="*/ 359 h 886"/>
                <a:gd name="T34" fmla="*/ 135 w 889"/>
                <a:gd name="T35" fmla="*/ 472 h 886"/>
                <a:gd name="T36" fmla="*/ 252 w 889"/>
                <a:gd name="T37" fmla="*/ 593 h 886"/>
                <a:gd name="T38" fmla="*/ 252 w 889"/>
                <a:gd name="T39" fmla="*/ 592 h 886"/>
                <a:gd name="T40" fmla="*/ 609 w 889"/>
                <a:gd name="T41" fmla="*/ 250 h 886"/>
                <a:gd name="T42" fmla="*/ 610 w 889"/>
                <a:gd name="T43" fmla="*/ 250 h 886"/>
                <a:gd name="T44" fmla="*/ 113 w 889"/>
                <a:gd name="T45" fmla="*/ 509 h 886"/>
                <a:gd name="T46" fmla="*/ 25 w 889"/>
                <a:gd name="T47" fmla="*/ 417 h 886"/>
                <a:gd name="T48" fmla="*/ 28 w 889"/>
                <a:gd name="T49" fmla="*/ 424 h 886"/>
                <a:gd name="T50" fmla="*/ 24 w 889"/>
                <a:gd name="T51" fmla="*/ 529 h 886"/>
                <a:gd name="T52" fmla="*/ 7 w 889"/>
                <a:gd name="T53" fmla="*/ 570 h 886"/>
                <a:gd name="T54" fmla="*/ 28 w 889"/>
                <a:gd name="T55" fmla="*/ 647 h 886"/>
                <a:gd name="T56" fmla="*/ 99 w 889"/>
                <a:gd name="T57" fmla="*/ 659 h 886"/>
                <a:gd name="T58" fmla="*/ 140 w 889"/>
                <a:gd name="T59" fmla="*/ 599 h 886"/>
                <a:gd name="T60" fmla="*/ 127 w 889"/>
                <a:gd name="T61" fmla="*/ 543 h 886"/>
                <a:gd name="T62" fmla="*/ 113 w 889"/>
                <a:gd name="T63" fmla="*/ 509 h 886"/>
                <a:gd name="T64" fmla="*/ 884 w 889"/>
                <a:gd name="T65" fmla="*/ 788 h 886"/>
                <a:gd name="T66" fmla="*/ 701 w 889"/>
                <a:gd name="T67" fmla="*/ 607 h 886"/>
                <a:gd name="T68" fmla="*/ 643 w 889"/>
                <a:gd name="T69" fmla="*/ 536 h 886"/>
                <a:gd name="T70" fmla="*/ 717 w 889"/>
                <a:gd name="T71" fmla="*/ 370 h 886"/>
                <a:gd name="T72" fmla="*/ 717 w 889"/>
                <a:gd name="T73" fmla="*/ 359 h 886"/>
                <a:gd name="T74" fmla="*/ 636 w 889"/>
                <a:gd name="T75" fmla="*/ 275 h 886"/>
                <a:gd name="T76" fmla="*/ 630 w 889"/>
                <a:gd name="T77" fmla="*/ 272 h 886"/>
                <a:gd name="T78" fmla="*/ 628 w 889"/>
                <a:gd name="T79" fmla="*/ 272 h 886"/>
                <a:gd name="T80" fmla="*/ 625 w 889"/>
                <a:gd name="T81" fmla="*/ 274 h 886"/>
                <a:gd name="T82" fmla="*/ 279 w 889"/>
                <a:gd name="T83" fmla="*/ 604 h 886"/>
                <a:gd name="T84" fmla="*/ 277 w 889"/>
                <a:gd name="T85" fmla="*/ 607 h 886"/>
                <a:gd name="T86" fmla="*/ 279 w 889"/>
                <a:gd name="T87" fmla="*/ 616 h 886"/>
                <a:gd name="T88" fmla="*/ 360 w 889"/>
                <a:gd name="T89" fmla="*/ 700 h 886"/>
                <a:gd name="T90" fmla="*/ 366 w 889"/>
                <a:gd name="T91" fmla="*/ 703 h 886"/>
                <a:gd name="T92" fmla="*/ 371 w 889"/>
                <a:gd name="T93" fmla="*/ 700 h 886"/>
                <a:gd name="T94" fmla="*/ 519 w 889"/>
                <a:gd name="T95" fmla="*/ 632 h 886"/>
                <a:gd name="T96" fmla="*/ 541 w 889"/>
                <a:gd name="T97" fmla="*/ 633 h 886"/>
                <a:gd name="T98" fmla="*/ 610 w 889"/>
                <a:gd name="T99" fmla="*/ 694 h 886"/>
                <a:gd name="T100" fmla="*/ 784 w 889"/>
                <a:gd name="T101" fmla="*/ 884 h 886"/>
                <a:gd name="T102" fmla="*/ 802 w 889"/>
                <a:gd name="T103" fmla="*/ 886 h 886"/>
                <a:gd name="T104" fmla="*/ 859 w 889"/>
                <a:gd name="T105" fmla="*/ 862 h 886"/>
                <a:gd name="T106" fmla="*/ 859 w 889"/>
                <a:gd name="T107" fmla="*/ 862 h 886"/>
                <a:gd name="T108" fmla="*/ 884 w 889"/>
                <a:gd name="T109" fmla="*/ 788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889" h="886">
                  <a:moveTo>
                    <a:pt x="610" y="250"/>
                  </a:moveTo>
                  <a:cubicBezTo>
                    <a:pt x="385" y="16"/>
                    <a:pt x="385" y="16"/>
                    <a:pt x="385" y="16"/>
                  </a:cubicBezTo>
                  <a:cubicBezTo>
                    <a:pt x="375" y="5"/>
                    <a:pt x="362" y="0"/>
                    <a:pt x="350" y="0"/>
                  </a:cubicBezTo>
                  <a:cubicBezTo>
                    <a:pt x="337" y="0"/>
                    <a:pt x="325" y="5"/>
                    <a:pt x="315" y="14"/>
                  </a:cubicBezTo>
                  <a:cubicBezTo>
                    <a:pt x="289" y="39"/>
                    <a:pt x="289" y="39"/>
                    <a:pt x="289" y="39"/>
                  </a:cubicBezTo>
                  <a:cubicBezTo>
                    <a:pt x="307" y="87"/>
                    <a:pt x="307" y="87"/>
                    <a:pt x="307" y="87"/>
                  </a:cubicBezTo>
                  <a:cubicBezTo>
                    <a:pt x="308" y="91"/>
                    <a:pt x="306" y="95"/>
                    <a:pt x="301" y="95"/>
                  </a:cubicBezTo>
                  <a:cubicBezTo>
                    <a:pt x="299" y="95"/>
                    <a:pt x="299" y="95"/>
                    <a:pt x="299" y="95"/>
                  </a:cubicBezTo>
                  <a:cubicBezTo>
                    <a:pt x="251" y="76"/>
                    <a:pt x="251" y="76"/>
                    <a:pt x="251" y="76"/>
                  </a:cubicBezTo>
                  <a:cubicBezTo>
                    <a:pt x="121" y="200"/>
                    <a:pt x="121" y="200"/>
                    <a:pt x="121" y="200"/>
                  </a:cubicBezTo>
                  <a:cubicBezTo>
                    <a:pt x="166" y="282"/>
                    <a:pt x="166" y="282"/>
                    <a:pt x="166" y="282"/>
                  </a:cubicBezTo>
                  <a:cubicBezTo>
                    <a:pt x="168" y="286"/>
                    <a:pt x="165" y="292"/>
                    <a:pt x="161" y="292"/>
                  </a:cubicBezTo>
                  <a:cubicBezTo>
                    <a:pt x="160" y="292"/>
                    <a:pt x="159" y="291"/>
                    <a:pt x="158" y="290"/>
                  </a:cubicBezTo>
                  <a:cubicBezTo>
                    <a:pt x="72" y="247"/>
                    <a:pt x="72" y="247"/>
                    <a:pt x="72" y="247"/>
                  </a:cubicBezTo>
                  <a:cubicBezTo>
                    <a:pt x="29" y="289"/>
                    <a:pt x="29" y="289"/>
                    <a:pt x="29" y="289"/>
                  </a:cubicBezTo>
                  <a:cubicBezTo>
                    <a:pt x="27" y="290"/>
                    <a:pt x="25" y="293"/>
                    <a:pt x="24" y="295"/>
                  </a:cubicBezTo>
                  <a:cubicBezTo>
                    <a:pt x="9" y="314"/>
                    <a:pt x="10" y="341"/>
                    <a:pt x="27" y="359"/>
                  </a:cubicBezTo>
                  <a:cubicBezTo>
                    <a:pt x="135" y="472"/>
                    <a:pt x="135" y="472"/>
                    <a:pt x="135" y="472"/>
                  </a:cubicBezTo>
                  <a:cubicBezTo>
                    <a:pt x="252" y="593"/>
                    <a:pt x="252" y="593"/>
                    <a:pt x="252" y="593"/>
                  </a:cubicBezTo>
                  <a:cubicBezTo>
                    <a:pt x="252" y="593"/>
                    <a:pt x="252" y="593"/>
                    <a:pt x="252" y="592"/>
                  </a:cubicBezTo>
                  <a:cubicBezTo>
                    <a:pt x="609" y="250"/>
                    <a:pt x="609" y="250"/>
                    <a:pt x="609" y="250"/>
                  </a:cubicBezTo>
                  <a:cubicBezTo>
                    <a:pt x="609" y="250"/>
                    <a:pt x="610" y="250"/>
                    <a:pt x="610" y="250"/>
                  </a:cubicBezTo>
                  <a:close/>
                  <a:moveTo>
                    <a:pt x="113" y="509"/>
                  </a:moveTo>
                  <a:cubicBezTo>
                    <a:pt x="25" y="417"/>
                    <a:pt x="25" y="417"/>
                    <a:pt x="25" y="417"/>
                  </a:cubicBezTo>
                  <a:cubicBezTo>
                    <a:pt x="26" y="419"/>
                    <a:pt x="27" y="421"/>
                    <a:pt x="28" y="424"/>
                  </a:cubicBezTo>
                  <a:cubicBezTo>
                    <a:pt x="42" y="459"/>
                    <a:pt x="42" y="494"/>
                    <a:pt x="24" y="529"/>
                  </a:cubicBezTo>
                  <a:cubicBezTo>
                    <a:pt x="18" y="542"/>
                    <a:pt x="11" y="556"/>
                    <a:pt x="7" y="570"/>
                  </a:cubicBezTo>
                  <a:cubicBezTo>
                    <a:pt x="0" y="599"/>
                    <a:pt x="4" y="626"/>
                    <a:pt x="28" y="647"/>
                  </a:cubicBezTo>
                  <a:cubicBezTo>
                    <a:pt x="49" y="665"/>
                    <a:pt x="73" y="669"/>
                    <a:pt x="99" y="659"/>
                  </a:cubicBezTo>
                  <a:cubicBezTo>
                    <a:pt x="125" y="648"/>
                    <a:pt x="140" y="627"/>
                    <a:pt x="140" y="599"/>
                  </a:cubicBezTo>
                  <a:cubicBezTo>
                    <a:pt x="140" y="580"/>
                    <a:pt x="136" y="560"/>
                    <a:pt x="127" y="543"/>
                  </a:cubicBezTo>
                  <a:cubicBezTo>
                    <a:pt x="121" y="532"/>
                    <a:pt x="116" y="520"/>
                    <a:pt x="113" y="509"/>
                  </a:cubicBezTo>
                  <a:close/>
                  <a:moveTo>
                    <a:pt x="884" y="788"/>
                  </a:moveTo>
                  <a:cubicBezTo>
                    <a:pt x="875" y="725"/>
                    <a:pt x="806" y="658"/>
                    <a:pt x="701" y="607"/>
                  </a:cubicBezTo>
                  <a:cubicBezTo>
                    <a:pt x="667" y="591"/>
                    <a:pt x="648" y="566"/>
                    <a:pt x="643" y="536"/>
                  </a:cubicBezTo>
                  <a:cubicBezTo>
                    <a:pt x="634" y="479"/>
                    <a:pt x="674" y="412"/>
                    <a:pt x="717" y="370"/>
                  </a:cubicBezTo>
                  <a:cubicBezTo>
                    <a:pt x="720" y="367"/>
                    <a:pt x="721" y="362"/>
                    <a:pt x="717" y="359"/>
                  </a:cubicBezTo>
                  <a:cubicBezTo>
                    <a:pt x="636" y="275"/>
                    <a:pt x="636" y="275"/>
                    <a:pt x="636" y="275"/>
                  </a:cubicBezTo>
                  <a:cubicBezTo>
                    <a:pt x="634" y="273"/>
                    <a:pt x="632" y="272"/>
                    <a:pt x="630" y="272"/>
                  </a:cubicBezTo>
                  <a:cubicBezTo>
                    <a:pt x="628" y="272"/>
                    <a:pt x="628" y="272"/>
                    <a:pt x="628" y="272"/>
                  </a:cubicBezTo>
                  <a:cubicBezTo>
                    <a:pt x="627" y="273"/>
                    <a:pt x="625" y="273"/>
                    <a:pt x="625" y="274"/>
                  </a:cubicBezTo>
                  <a:cubicBezTo>
                    <a:pt x="279" y="604"/>
                    <a:pt x="279" y="604"/>
                    <a:pt x="279" y="604"/>
                  </a:cubicBezTo>
                  <a:cubicBezTo>
                    <a:pt x="278" y="605"/>
                    <a:pt x="277" y="606"/>
                    <a:pt x="277" y="607"/>
                  </a:cubicBezTo>
                  <a:cubicBezTo>
                    <a:pt x="276" y="610"/>
                    <a:pt x="276" y="613"/>
                    <a:pt x="279" y="616"/>
                  </a:cubicBezTo>
                  <a:cubicBezTo>
                    <a:pt x="360" y="700"/>
                    <a:pt x="360" y="700"/>
                    <a:pt x="360" y="700"/>
                  </a:cubicBezTo>
                  <a:cubicBezTo>
                    <a:pt x="362" y="702"/>
                    <a:pt x="363" y="703"/>
                    <a:pt x="366" y="703"/>
                  </a:cubicBezTo>
                  <a:cubicBezTo>
                    <a:pt x="367" y="703"/>
                    <a:pt x="370" y="702"/>
                    <a:pt x="371" y="700"/>
                  </a:cubicBezTo>
                  <a:cubicBezTo>
                    <a:pt x="409" y="664"/>
                    <a:pt x="467" y="632"/>
                    <a:pt x="519" y="632"/>
                  </a:cubicBezTo>
                  <a:cubicBezTo>
                    <a:pt x="526" y="632"/>
                    <a:pt x="534" y="632"/>
                    <a:pt x="541" y="633"/>
                  </a:cubicBezTo>
                  <a:cubicBezTo>
                    <a:pt x="571" y="640"/>
                    <a:pt x="595" y="660"/>
                    <a:pt x="610" y="694"/>
                  </a:cubicBezTo>
                  <a:cubicBezTo>
                    <a:pt x="656" y="801"/>
                    <a:pt x="721" y="872"/>
                    <a:pt x="784" y="884"/>
                  </a:cubicBezTo>
                  <a:cubicBezTo>
                    <a:pt x="790" y="885"/>
                    <a:pt x="796" y="886"/>
                    <a:pt x="802" y="886"/>
                  </a:cubicBezTo>
                  <a:cubicBezTo>
                    <a:pt x="823" y="886"/>
                    <a:pt x="843" y="878"/>
                    <a:pt x="859" y="862"/>
                  </a:cubicBezTo>
                  <a:cubicBezTo>
                    <a:pt x="859" y="862"/>
                    <a:pt x="859" y="862"/>
                    <a:pt x="859" y="862"/>
                  </a:cubicBezTo>
                  <a:cubicBezTo>
                    <a:pt x="880" y="842"/>
                    <a:pt x="889" y="817"/>
                    <a:pt x="884" y="788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71" name="Flowchart: Data 70">
            <a:extLst>
              <a:ext uri="{FF2B5EF4-FFF2-40B4-BE49-F238E27FC236}">
                <a16:creationId xmlns:a16="http://schemas.microsoft.com/office/drawing/2014/main" id="{3C822A90-7589-4AA9-B153-55B961388BD3}"/>
              </a:ext>
            </a:extLst>
          </p:cNvPr>
          <p:cNvSpPr/>
          <p:nvPr/>
        </p:nvSpPr>
        <p:spPr>
          <a:xfrm>
            <a:off x="6151787" y="3195712"/>
            <a:ext cx="548640" cy="375157"/>
          </a:xfrm>
          <a:prstGeom prst="flowChartInputOutpu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4000"/>
              </a:lnSpc>
            </a:pPr>
            <a:endParaRPr lang="en-US"/>
          </a:p>
        </p:txBody>
      </p:sp>
      <p:grpSp>
        <p:nvGrpSpPr>
          <p:cNvPr id="72" name="Group 4">
            <a:extLst>
              <a:ext uri="{FF2B5EF4-FFF2-40B4-BE49-F238E27FC236}">
                <a16:creationId xmlns:a16="http://schemas.microsoft.com/office/drawing/2014/main" id="{9DC0C4DB-9BFA-4A33-A189-FD5BBBCF6838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6046019" y="1685295"/>
            <a:ext cx="760176" cy="760176"/>
            <a:chOff x="2652" y="972"/>
            <a:chExt cx="2376" cy="2376"/>
          </a:xfrm>
        </p:grpSpPr>
        <p:sp>
          <p:nvSpPr>
            <p:cNvPr id="73" name="AutoShape 3">
              <a:extLst>
                <a:ext uri="{FF2B5EF4-FFF2-40B4-BE49-F238E27FC236}">
                  <a16:creationId xmlns:a16="http://schemas.microsoft.com/office/drawing/2014/main" id="{4BAC05A4-248E-4104-8893-3564B65135A4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2652" y="972"/>
              <a:ext cx="2376" cy="23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4" name="Freeform 5">
              <a:extLst>
                <a:ext uri="{FF2B5EF4-FFF2-40B4-BE49-F238E27FC236}">
                  <a16:creationId xmlns:a16="http://schemas.microsoft.com/office/drawing/2014/main" id="{43BF2676-FA75-4F3E-9507-D2AE7D29B1E4}"/>
                </a:ext>
              </a:extLst>
            </p:cNvPr>
            <p:cNvSpPr>
              <a:spLocks/>
            </p:cNvSpPr>
            <p:nvPr/>
          </p:nvSpPr>
          <p:spPr bwMode="auto">
            <a:xfrm>
              <a:off x="2933" y="1540"/>
              <a:ext cx="1817" cy="1240"/>
            </a:xfrm>
            <a:custGeom>
              <a:avLst/>
              <a:gdLst>
                <a:gd name="T0" fmla="*/ 504 w 764"/>
                <a:gd name="T1" fmla="*/ 1 h 521"/>
                <a:gd name="T2" fmla="*/ 510 w 764"/>
                <a:gd name="T3" fmla="*/ 4 h 521"/>
                <a:gd name="T4" fmla="*/ 761 w 764"/>
                <a:gd name="T5" fmla="*/ 254 h 521"/>
                <a:gd name="T6" fmla="*/ 761 w 764"/>
                <a:gd name="T7" fmla="*/ 268 h 521"/>
                <a:gd name="T8" fmla="*/ 510 w 764"/>
                <a:gd name="T9" fmla="*/ 518 h 521"/>
                <a:gd name="T10" fmla="*/ 504 w 764"/>
                <a:gd name="T11" fmla="*/ 521 h 521"/>
                <a:gd name="T12" fmla="*/ 497 w 764"/>
                <a:gd name="T13" fmla="*/ 518 h 521"/>
                <a:gd name="T14" fmla="*/ 247 w 764"/>
                <a:gd name="T15" fmla="*/ 268 h 521"/>
                <a:gd name="T16" fmla="*/ 247 w 764"/>
                <a:gd name="T17" fmla="*/ 254 h 521"/>
                <a:gd name="T18" fmla="*/ 430 w 764"/>
                <a:gd name="T19" fmla="*/ 72 h 521"/>
                <a:gd name="T20" fmla="*/ 382 w 764"/>
                <a:gd name="T21" fmla="*/ 24 h 521"/>
                <a:gd name="T22" fmla="*/ 327 w 764"/>
                <a:gd name="T23" fmla="*/ 78 h 521"/>
                <a:gd name="T24" fmla="*/ 144 w 764"/>
                <a:gd name="T25" fmla="*/ 261 h 521"/>
                <a:gd name="T26" fmla="*/ 389 w 764"/>
                <a:gd name="T27" fmla="*/ 505 h 521"/>
                <a:gd name="T28" fmla="*/ 389 w 764"/>
                <a:gd name="T29" fmla="*/ 518 h 521"/>
                <a:gd name="T30" fmla="*/ 382 w 764"/>
                <a:gd name="T31" fmla="*/ 521 h 521"/>
                <a:gd name="T32" fmla="*/ 375 w 764"/>
                <a:gd name="T33" fmla="*/ 518 h 521"/>
                <a:gd name="T34" fmla="*/ 125 w 764"/>
                <a:gd name="T35" fmla="*/ 268 h 521"/>
                <a:gd name="T36" fmla="*/ 125 w 764"/>
                <a:gd name="T37" fmla="*/ 254 h 521"/>
                <a:gd name="T38" fmla="*/ 308 w 764"/>
                <a:gd name="T39" fmla="*/ 72 h 521"/>
                <a:gd name="T40" fmla="*/ 260 w 764"/>
                <a:gd name="T41" fmla="*/ 24 h 521"/>
                <a:gd name="T42" fmla="*/ 23 w 764"/>
                <a:gd name="T43" fmla="*/ 261 h 521"/>
                <a:gd name="T44" fmla="*/ 267 w 764"/>
                <a:gd name="T45" fmla="*/ 505 h 521"/>
                <a:gd name="T46" fmla="*/ 267 w 764"/>
                <a:gd name="T47" fmla="*/ 518 h 521"/>
                <a:gd name="T48" fmla="*/ 260 w 764"/>
                <a:gd name="T49" fmla="*/ 521 h 521"/>
                <a:gd name="T50" fmla="*/ 254 w 764"/>
                <a:gd name="T51" fmla="*/ 518 h 521"/>
                <a:gd name="T52" fmla="*/ 3 w 764"/>
                <a:gd name="T53" fmla="*/ 268 h 521"/>
                <a:gd name="T54" fmla="*/ 3 w 764"/>
                <a:gd name="T55" fmla="*/ 254 h 521"/>
                <a:gd name="T56" fmla="*/ 254 w 764"/>
                <a:gd name="T57" fmla="*/ 4 h 521"/>
                <a:gd name="T58" fmla="*/ 267 w 764"/>
                <a:gd name="T59" fmla="*/ 4 h 521"/>
                <a:gd name="T60" fmla="*/ 321 w 764"/>
                <a:gd name="T61" fmla="*/ 59 h 521"/>
                <a:gd name="T62" fmla="*/ 375 w 764"/>
                <a:gd name="T63" fmla="*/ 4 h 521"/>
                <a:gd name="T64" fmla="*/ 389 w 764"/>
                <a:gd name="T65" fmla="*/ 4 h 521"/>
                <a:gd name="T66" fmla="*/ 443 w 764"/>
                <a:gd name="T67" fmla="*/ 59 h 521"/>
                <a:gd name="T68" fmla="*/ 497 w 764"/>
                <a:gd name="T69" fmla="*/ 4 h 521"/>
                <a:gd name="T70" fmla="*/ 504 w 764"/>
                <a:gd name="T71" fmla="*/ 1 h 5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764" h="521">
                  <a:moveTo>
                    <a:pt x="504" y="1"/>
                  </a:moveTo>
                  <a:cubicBezTo>
                    <a:pt x="506" y="1"/>
                    <a:pt x="509" y="2"/>
                    <a:pt x="510" y="4"/>
                  </a:cubicBezTo>
                  <a:cubicBezTo>
                    <a:pt x="510" y="4"/>
                    <a:pt x="510" y="4"/>
                    <a:pt x="761" y="254"/>
                  </a:cubicBezTo>
                  <a:cubicBezTo>
                    <a:pt x="764" y="258"/>
                    <a:pt x="764" y="264"/>
                    <a:pt x="761" y="268"/>
                  </a:cubicBezTo>
                  <a:cubicBezTo>
                    <a:pt x="761" y="268"/>
                    <a:pt x="761" y="268"/>
                    <a:pt x="510" y="518"/>
                  </a:cubicBezTo>
                  <a:cubicBezTo>
                    <a:pt x="509" y="520"/>
                    <a:pt x="506" y="521"/>
                    <a:pt x="504" y="521"/>
                  </a:cubicBezTo>
                  <a:cubicBezTo>
                    <a:pt x="502" y="521"/>
                    <a:pt x="499" y="520"/>
                    <a:pt x="497" y="518"/>
                  </a:cubicBezTo>
                  <a:cubicBezTo>
                    <a:pt x="497" y="518"/>
                    <a:pt x="497" y="518"/>
                    <a:pt x="247" y="268"/>
                  </a:cubicBezTo>
                  <a:cubicBezTo>
                    <a:pt x="243" y="264"/>
                    <a:pt x="243" y="258"/>
                    <a:pt x="247" y="254"/>
                  </a:cubicBezTo>
                  <a:cubicBezTo>
                    <a:pt x="247" y="254"/>
                    <a:pt x="247" y="254"/>
                    <a:pt x="430" y="72"/>
                  </a:cubicBezTo>
                  <a:cubicBezTo>
                    <a:pt x="430" y="72"/>
                    <a:pt x="430" y="72"/>
                    <a:pt x="382" y="24"/>
                  </a:cubicBezTo>
                  <a:cubicBezTo>
                    <a:pt x="382" y="24"/>
                    <a:pt x="382" y="24"/>
                    <a:pt x="327" y="78"/>
                  </a:cubicBezTo>
                  <a:cubicBezTo>
                    <a:pt x="327" y="78"/>
                    <a:pt x="327" y="78"/>
                    <a:pt x="144" y="261"/>
                  </a:cubicBezTo>
                  <a:cubicBezTo>
                    <a:pt x="144" y="261"/>
                    <a:pt x="144" y="261"/>
                    <a:pt x="389" y="505"/>
                  </a:cubicBezTo>
                  <a:cubicBezTo>
                    <a:pt x="392" y="509"/>
                    <a:pt x="392" y="515"/>
                    <a:pt x="389" y="518"/>
                  </a:cubicBezTo>
                  <a:cubicBezTo>
                    <a:pt x="387" y="520"/>
                    <a:pt x="385" y="521"/>
                    <a:pt x="382" y="521"/>
                  </a:cubicBezTo>
                  <a:cubicBezTo>
                    <a:pt x="379" y="521"/>
                    <a:pt x="377" y="520"/>
                    <a:pt x="375" y="518"/>
                  </a:cubicBezTo>
                  <a:cubicBezTo>
                    <a:pt x="375" y="518"/>
                    <a:pt x="375" y="518"/>
                    <a:pt x="125" y="268"/>
                  </a:cubicBezTo>
                  <a:cubicBezTo>
                    <a:pt x="121" y="264"/>
                    <a:pt x="121" y="258"/>
                    <a:pt x="125" y="254"/>
                  </a:cubicBezTo>
                  <a:cubicBezTo>
                    <a:pt x="125" y="254"/>
                    <a:pt x="125" y="254"/>
                    <a:pt x="308" y="72"/>
                  </a:cubicBezTo>
                  <a:cubicBezTo>
                    <a:pt x="308" y="72"/>
                    <a:pt x="308" y="72"/>
                    <a:pt x="260" y="24"/>
                  </a:cubicBezTo>
                  <a:cubicBezTo>
                    <a:pt x="260" y="24"/>
                    <a:pt x="260" y="24"/>
                    <a:pt x="23" y="261"/>
                  </a:cubicBezTo>
                  <a:cubicBezTo>
                    <a:pt x="23" y="261"/>
                    <a:pt x="23" y="261"/>
                    <a:pt x="267" y="505"/>
                  </a:cubicBezTo>
                  <a:cubicBezTo>
                    <a:pt x="270" y="509"/>
                    <a:pt x="270" y="515"/>
                    <a:pt x="267" y="518"/>
                  </a:cubicBezTo>
                  <a:cubicBezTo>
                    <a:pt x="265" y="520"/>
                    <a:pt x="262" y="521"/>
                    <a:pt x="260" y="521"/>
                  </a:cubicBezTo>
                  <a:cubicBezTo>
                    <a:pt x="258" y="521"/>
                    <a:pt x="255" y="520"/>
                    <a:pt x="254" y="518"/>
                  </a:cubicBezTo>
                  <a:cubicBezTo>
                    <a:pt x="254" y="518"/>
                    <a:pt x="254" y="518"/>
                    <a:pt x="3" y="268"/>
                  </a:cubicBezTo>
                  <a:cubicBezTo>
                    <a:pt x="0" y="264"/>
                    <a:pt x="0" y="258"/>
                    <a:pt x="3" y="254"/>
                  </a:cubicBezTo>
                  <a:cubicBezTo>
                    <a:pt x="3" y="254"/>
                    <a:pt x="3" y="254"/>
                    <a:pt x="254" y="4"/>
                  </a:cubicBezTo>
                  <a:cubicBezTo>
                    <a:pt x="257" y="0"/>
                    <a:pt x="263" y="0"/>
                    <a:pt x="267" y="4"/>
                  </a:cubicBezTo>
                  <a:cubicBezTo>
                    <a:pt x="267" y="4"/>
                    <a:pt x="267" y="4"/>
                    <a:pt x="321" y="59"/>
                  </a:cubicBezTo>
                  <a:cubicBezTo>
                    <a:pt x="321" y="59"/>
                    <a:pt x="321" y="59"/>
                    <a:pt x="375" y="4"/>
                  </a:cubicBezTo>
                  <a:cubicBezTo>
                    <a:pt x="379" y="0"/>
                    <a:pt x="385" y="0"/>
                    <a:pt x="389" y="4"/>
                  </a:cubicBezTo>
                  <a:cubicBezTo>
                    <a:pt x="389" y="4"/>
                    <a:pt x="389" y="4"/>
                    <a:pt x="443" y="59"/>
                  </a:cubicBezTo>
                  <a:cubicBezTo>
                    <a:pt x="443" y="59"/>
                    <a:pt x="443" y="59"/>
                    <a:pt x="497" y="4"/>
                  </a:cubicBezTo>
                  <a:cubicBezTo>
                    <a:pt x="499" y="2"/>
                    <a:pt x="502" y="1"/>
                    <a:pt x="504" y="1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75" name="Oval 74">
            <a:extLst>
              <a:ext uri="{FF2B5EF4-FFF2-40B4-BE49-F238E27FC236}">
                <a16:creationId xmlns:a16="http://schemas.microsoft.com/office/drawing/2014/main" id="{D7A9D394-E9E2-468B-86AF-280AA45F8882}"/>
              </a:ext>
            </a:extLst>
          </p:cNvPr>
          <p:cNvSpPr/>
          <p:nvPr/>
        </p:nvSpPr>
        <p:spPr>
          <a:xfrm>
            <a:off x="6189359" y="2487589"/>
            <a:ext cx="473496" cy="473496"/>
          </a:xfrm>
          <a:prstGeom prst="ellipse">
            <a:avLst/>
          </a:prstGeom>
          <a:gradFill flip="none" rotWithShape="1">
            <a:gsLst>
              <a:gs pos="0">
                <a:schemeClr val="tx2"/>
              </a:gs>
              <a:gs pos="50000">
                <a:schemeClr val="tx2">
                  <a:alpha val="74000"/>
                </a:schemeClr>
              </a:gs>
              <a:gs pos="100000">
                <a:schemeClr val="tx2">
                  <a:tint val="23500"/>
                  <a:satMod val="16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4000"/>
              </a:lnSpc>
            </a:pPr>
            <a:endParaRPr lang="en-US"/>
          </a:p>
        </p:txBody>
      </p:sp>
      <p:grpSp>
        <p:nvGrpSpPr>
          <p:cNvPr id="76" name="Group 75">
            <a:extLst>
              <a:ext uri="{FF2B5EF4-FFF2-40B4-BE49-F238E27FC236}">
                <a16:creationId xmlns:a16="http://schemas.microsoft.com/office/drawing/2014/main" id="{E509E005-75C3-417A-A2EE-A44A96E07125}"/>
              </a:ext>
            </a:extLst>
          </p:cNvPr>
          <p:cNvGrpSpPr>
            <a:grpSpLocks noChangeAspect="1"/>
          </p:cNvGrpSpPr>
          <p:nvPr/>
        </p:nvGrpSpPr>
        <p:grpSpPr>
          <a:xfrm>
            <a:off x="6046020" y="1026342"/>
            <a:ext cx="760175" cy="760175"/>
            <a:chOff x="6287861" y="2517776"/>
            <a:chExt cx="1879600" cy="1879600"/>
          </a:xfrm>
        </p:grpSpPr>
        <p:sp>
          <p:nvSpPr>
            <p:cNvPr id="77" name="Line 240">
              <a:extLst>
                <a:ext uri="{FF2B5EF4-FFF2-40B4-BE49-F238E27FC236}">
                  <a16:creationId xmlns:a16="http://schemas.microsoft.com/office/drawing/2014/main" id="{B4EF2080-A42F-426E-AF4F-CBFB9C9CBDC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227661" y="3457576"/>
              <a:ext cx="0" cy="0"/>
            </a:xfrm>
            <a:prstGeom prst="line">
              <a:avLst/>
            </a:prstGeom>
            <a:noFill/>
            <a:ln w="17463" cap="flat">
              <a:solidFill>
                <a:srgbClr val="03522D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8" name="Freeform 243">
              <a:extLst>
                <a:ext uri="{FF2B5EF4-FFF2-40B4-BE49-F238E27FC236}">
                  <a16:creationId xmlns:a16="http://schemas.microsoft.com/office/drawing/2014/main" id="{B07BAF8F-FEAA-46ED-BF07-579C51F5C76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630761" y="3011488"/>
              <a:ext cx="1193800" cy="892176"/>
            </a:xfrm>
            <a:custGeom>
              <a:avLst/>
              <a:gdLst>
                <a:gd name="T0" fmla="*/ 1474 w 1488"/>
                <a:gd name="T1" fmla="*/ 975 h 1114"/>
                <a:gd name="T2" fmla="*/ 883 w 1488"/>
                <a:gd name="T3" fmla="*/ 629 h 1114"/>
                <a:gd name="T4" fmla="*/ 883 w 1488"/>
                <a:gd name="T5" fmla="*/ 628 h 1114"/>
                <a:gd name="T6" fmla="*/ 762 w 1488"/>
                <a:gd name="T7" fmla="*/ 557 h 1114"/>
                <a:gd name="T8" fmla="*/ 883 w 1488"/>
                <a:gd name="T9" fmla="*/ 486 h 1114"/>
                <a:gd name="T10" fmla="*/ 883 w 1488"/>
                <a:gd name="T11" fmla="*/ 486 h 1114"/>
                <a:gd name="T12" fmla="*/ 1474 w 1488"/>
                <a:gd name="T13" fmla="*/ 140 h 1114"/>
                <a:gd name="T14" fmla="*/ 1487 w 1488"/>
                <a:gd name="T15" fmla="*/ 121 h 1114"/>
                <a:gd name="T16" fmla="*/ 1481 w 1488"/>
                <a:gd name="T17" fmla="*/ 99 h 1114"/>
                <a:gd name="T18" fmla="*/ 1377 w 1488"/>
                <a:gd name="T19" fmla="*/ 54 h 1114"/>
                <a:gd name="T20" fmla="*/ 1292 w 1488"/>
                <a:gd name="T21" fmla="*/ 77 h 1114"/>
                <a:gd name="T22" fmla="*/ 676 w 1488"/>
                <a:gd name="T23" fmla="*/ 403 h 1114"/>
                <a:gd name="T24" fmla="*/ 677 w 1488"/>
                <a:gd name="T25" fmla="*/ 403 h 1114"/>
                <a:gd name="T26" fmla="*/ 583 w 1488"/>
                <a:gd name="T27" fmla="*/ 453 h 1114"/>
                <a:gd name="T28" fmla="*/ 537 w 1488"/>
                <a:gd name="T29" fmla="*/ 426 h 1114"/>
                <a:gd name="T30" fmla="*/ 435 w 1488"/>
                <a:gd name="T31" fmla="*/ 154 h 1114"/>
                <a:gd name="T32" fmla="*/ 435 w 1488"/>
                <a:gd name="T33" fmla="*/ 154 h 1114"/>
                <a:gd name="T34" fmla="*/ 223 w 1488"/>
                <a:gd name="T35" fmla="*/ 0 h 1114"/>
                <a:gd name="T36" fmla="*/ 0 w 1488"/>
                <a:gd name="T37" fmla="*/ 224 h 1114"/>
                <a:gd name="T38" fmla="*/ 223 w 1488"/>
                <a:gd name="T39" fmla="*/ 447 h 1114"/>
                <a:gd name="T40" fmla="*/ 300 w 1488"/>
                <a:gd name="T41" fmla="*/ 433 h 1114"/>
                <a:gd name="T42" fmla="*/ 410 w 1488"/>
                <a:gd name="T43" fmla="*/ 557 h 1114"/>
                <a:gd name="T44" fmla="*/ 300 w 1488"/>
                <a:gd name="T45" fmla="*/ 681 h 1114"/>
                <a:gd name="T46" fmla="*/ 223 w 1488"/>
                <a:gd name="T47" fmla="*/ 668 h 1114"/>
                <a:gd name="T48" fmla="*/ 0 w 1488"/>
                <a:gd name="T49" fmla="*/ 891 h 1114"/>
                <a:gd name="T50" fmla="*/ 223 w 1488"/>
                <a:gd name="T51" fmla="*/ 1114 h 1114"/>
                <a:gd name="T52" fmla="*/ 435 w 1488"/>
                <a:gd name="T53" fmla="*/ 961 h 1114"/>
                <a:gd name="T54" fmla="*/ 435 w 1488"/>
                <a:gd name="T55" fmla="*/ 961 h 1114"/>
                <a:gd name="T56" fmla="*/ 537 w 1488"/>
                <a:gd name="T57" fmla="*/ 689 h 1114"/>
                <a:gd name="T58" fmla="*/ 583 w 1488"/>
                <a:gd name="T59" fmla="*/ 662 h 1114"/>
                <a:gd name="T60" fmla="*/ 677 w 1488"/>
                <a:gd name="T61" fmla="*/ 711 h 1114"/>
                <a:gd name="T62" fmla="*/ 676 w 1488"/>
                <a:gd name="T63" fmla="*/ 712 h 1114"/>
                <a:gd name="T64" fmla="*/ 1292 w 1488"/>
                <a:gd name="T65" fmla="*/ 1037 h 1114"/>
                <a:gd name="T66" fmla="*/ 1377 w 1488"/>
                <a:gd name="T67" fmla="*/ 1061 h 1114"/>
                <a:gd name="T68" fmla="*/ 1481 w 1488"/>
                <a:gd name="T69" fmla="*/ 1015 h 1114"/>
                <a:gd name="T70" fmla="*/ 1487 w 1488"/>
                <a:gd name="T71" fmla="*/ 993 h 1114"/>
                <a:gd name="T72" fmla="*/ 1474 w 1488"/>
                <a:gd name="T73" fmla="*/ 975 h 1114"/>
                <a:gd name="T74" fmla="*/ 223 w 1488"/>
                <a:gd name="T75" fmla="*/ 393 h 1114"/>
                <a:gd name="T76" fmla="*/ 53 w 1488"/>
                <a:gd name="T77" fmla="*/ 224 h 1114"/>
                <a:gd name="T78" fmla="*/ 223 w 1488"/>
                <a:gd name="T79" fmla="*/ 54 h 1114"/>
                <a:gd name="T80" fmla="*/ 393 w 1488"/>
                <a:gd name="T81" fmla="*/ 223 h 1114"/>
                <a:gd name="T82" fmla="*/ 223 w 1488"/>
                <a:gd name="T83" fmla="*/ 393 h 1114"/>
                <a:gd name="T84" fmla="*/ 223 w 1488"/>
                <a:gd name="T85" fmla="*/ 1061 h 1114"/>
                <a:gd name="T86" fmla="*/ 53 w 1488"/>
                <a:gd name="T87" fmla="*/ 891 h 1114"/>
                <a:gd name="T88" fmla="*/ 223 w 1488"/>
                <a:gd name="T89" fmla="*/ 721 h 1114"/>
                <a:gd name="T90" fmla="*/ 393 w 1488"/>
                <a:gd name="T91" fmla="*/ 891 h 1114"/>
                <a:gd name="T92" fmla="*/ 223 w 1488"/>
                <a:gd name="T93" fmla="*/ 1061 h 1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1488" h="1114">
                  <a:moveTo>
                    <a:pt x="1474" y="975"/>
                  </a:moveTo>
                  <a:cubicBezTo>
                    <a:pt x="883" y="629"/>
                    <a:pt x="883" y="629"/>
                    <a:pt x="883" y="629"/>
                  </a:cubicBezTo>
                  <a:cubicBezTo>
                    <a:pt x="883" y="628"/>
                    <a:pt x="883" y="628"/>
                    <a:pt x="883" y="628"/>
                  </a:cubicBezTo>
                  <a:cubicBezTo>
                    <a:pt x="762" y="557"/>
                    <a:pt x="762" y="557"/>
                    <a:pt x="762" y="557"/>
                  </a:cubicBezTo>
                  <a:cubicBezTo>
                    <a:pt x="883" y="486"/>
                    <a:pt x="883" y="486"/>
                    <a:pt x="883" y="486"/>
                  </a:cubicBezTo>
                  <a:cubicBezTo>
                    <a:pt x="883" y="486"/>
                    <a:pt x="883" y="486"/>
                    <a:pt x="883" y="486"/>
                  </a:cubicBezTo>
                  <a:cubicBezTo>
                    <a:pt x="1474" y="140"/>
                    <a:pt x="1474" y="140"/>
                    <a:pt x="1474" y="140"/>
                  </a:cubicBezTo>
                  <a:cubicBezTo>
                    <a:pt x="1481" y="136"/>
                    <a:pt x="1486" y="129"/>
                    <a:pt x="1487" y="121"/>
                  </a:cubicBezTo>
                  <a:cubicBezTo>
                    <a:pt x="1488" y="113"/>
                    <a:pt x="1486" y="105"/>
                    <a:pt x="1481" y="99"/>
                  </a:cubicBezTo>
                  <a:cubicBezTo>
                    <a:pt x="1465" y="80"/>
                    <a:pt x="1427" y="54"/>
                    <a:pt x="1377" y="54"/>
                  </a:cubicBezTo>
                  <a:cubicBezTo>
                    <a:pt x="1352" y="54"/>
                    <a:pt x="1323" y="60"/>
                    <a:pt x="1292" y="77"/>
                  </a:cubicBezTo>
                  <a:cubicBezTo>
                    <a:pt x="1230" y="111"/>
                    <a:pt x="907" y="281"/>
                    <a:pt x="676" y="403"/>
                  </a:cubicBezTo>
                  <a:cubicBezTo>
                    <a:pt x="677" y="403"/>
                    <a:pt x="677" y="403"/>
                    <a:pt x="677" y="403"/>
                  </a:cubicBezTo>
                  <a:cubicBezTo>
                    <a:pt x="643" y="421"/>
                    <a:pt x="612" y="438"/>
                    <a:pt x="583" y="453"/>
                  </a:cubicBezTo>
                  <a:cubicBezTo>
                    <a:pt x="537" y="426"/>
                    <a:pt x="537" y="426"/>
                    <a:pt x="537" y="426"/>
                  </a:cubicBezTo>
                  <a:cubicBezTo>
                    <a:pt x="435" y="154"/>
                    <a:pt x="435" y="154"/>
                    <a:pt x="435" y="154"/>
                  </a:cubicBezTo>
                  <a:cubicBezTo>
                    <a:pt x="435" y="154"/>
                    <a:pt x="435" y="154"/>
                    <a:pt x="435" y="154"/>
                  </a:cubicBezTo>
                  <a:cubicBezTo>
                    <a:pt x="406" y="65"/>
                    <a:pt x="322" y="0"/>
                    <a:pt x="223" y="0"/>
                  </a:cubicBezTo>
                  <a:cubicBezTo>
                    <a:pt x="100" y="0"/>
                    <a:pt x="0" y="101"/>
                    <a:pt x="0" y="224"/>
                  </a:cubicBezTo>
                  <a:cubicBezTo>
                    <a:pt x="0" y="347"/>
                    <a:pt x="100" y="447"/>
                    <a:pt x="223" y="447"/>
                  </a:cubicBezTo>
                  <a:cubicBezTo>
                    <a:pt x="250" y="447"/>
                    <a:pt x="276" y="442"/>
                    <a:pt x="300" y="433"/>
                  </a:cubicBezTo>
                  <a:cubicBezTo>
                    <a:pt x="410" y="557"/>
                    <a:pt x="410" y="557"/>
                    <a:pt x="410" y="557"/>
                  </a:cubicBezTo>
                  <a:cubicBezTo>
                    <a:pt x="300" y="681"/>
                    <a:pt x="300" y="681"/>
                    <a:pt x="300" y="681"/>
                  </a:cubicBezTo>
                  <a:cubicBezTo>
                    <a:pt x="276" y="673"/>
                    <a:pt x="250" y="668"/>
                    <a:pt x="223" y="668"/>
                  </a:cubicBezTo>
                  <a:cubicBezTo>
                    <a:pt x="100" y="668"/>
                    <a:pt x="0" y="768"/>
                    <a:pt x="0" y="891"/>
                  </a:cubicBezTo>
                  <a:cubicBezTo>
                    <a:pt x="0" y="1014"/>
                    <a:pt x="100" y="1114"/>
                    <a:pt x="223" y="1114"/>
                  </a:cubicBezTo>
                  <a:cubicBezTo>
                    <a:pt x="322" y="1114"/>
                    <a:pt x="406" y="1050"/>
                    <a:pt x="435" y="961"/>
                  </a:cubicBezTo>
                  <a:cubicBezTo>
                    <a:pt x="435" y="961"/>
                    <a:pt x="435" y="961"/>
                    <a:pt x="435" y="961"/>
                  </a:cubicBezTo>
                  <a:cubicBezTo>
                    <a:pt x="537" y="689"/>
                    <a:pt x="537" y="689"/>
                    <a:pt x="537" y="689"/>
                  </a:cubicBezTo>
                  <a:cubicBezTo>
                    <a:pt x="583" y="662"/>
                    <a:pt x="583" y="662"/>
                    <a:pt x="583" y="662"/>
                  </a:cubicBezTo>
                  <a:cubicBezTo>
                    <a:pt x="612" y="677"/>
                    <a:pt x="643" y="694"/>
                    <a:pt x="677" y="711"/>
                  </a:cubicBezTo>
                  <a:cubicBezTo>
                    <a:pt x="676" y="712"/>
                    <a:pt x="676" y="712"/>
                    <a:pt x="676" y="712"/>
                  </a:cubicBezTo>
                  <a:cubicBezTo>
                    <a:pt x="907" y="833"/>
                    <a:pt x="1230" y="1004"/>
                    <a:pt x="1292" y="1037"/>
                  </a:cubicBezTo>
                  <a:cubicBezTo>
                    <a:pt x="1323" y="1054"/>
                    <a:pt x="1352" y="1061"/>
                    <a:pt x="1377" y="1061"/>
                  </a:cubicBezTo>
                  <a:cubicBezTo>
                    <a:pt x="1427" y="1061"/>
                    <a:pt x="1465" y="1035"/>
                    <a:pt x="1481" y="1015"/>
                  </a:cubicBezTo>
                  <a:cubicBezTo>
                    <a:pt x="1486" y="1009"/>
                    <a:pt x="1488" y="1001"/>
                    <a:pt x="1487" y="993"/>
                  </a:cubicBezTo>
                  <a:cubicBezTo>
                    <a:pt x="1486" y="986"/>
                    <a:pt x="1481" y="979"/>
                    <a:pt x="1474" y="975"/>
                  </a:cubicBezTo>
                  <a:close/>
                  <a:moveTo>
                    <a:pt x="223" y="393"/>
                  </a:moveTo>
                  <a:cubicBezTo>
                    <a:pt x="130" y="393"/>
                    <a:pt x="53" y="317"/>
                    <a:pt x="53" y="224"/>
                  </a:cubicBezTo>
                  <a:cubicBezTo>
                    <a:pt x="53" y="130"/>
                    <a:pt x="129" y="54"/>
                    <a:pt x="223" y="54"/>
                  </a:cubicBezTo>
                  <a:cubicBezTo>
                    <a:pt x="316" y="54"/>
                    <a:pt x="393" y="130"/>
                    <a:pt x="393" y="223"/>
                  </a:cubicBezTo>
                  <a:cubicBezTo>
                    <a:pt x="393" y="317"/>
                    <a:pt x="317" y="393"/>
                    <a:pt x="223" y="393"/>
                  </a:cubicBezTo>
                  <a:close/>
                  <a:moveTo>
                    <a:pt x="223" y="1061"/>
                  </a:moveTo>
                  <a:cubicBezTo>
                    <a:pt x="129" y="1061"/>
                    <a:pt x="53" y="984"/>
                    <a:pt x="53" y="891"/>
                  </a:cubicBezTo>
                  <a:cubicBezTo>
                    <a:pt x="53" y="797"/>
                    <a:pt x="130" y="721"/>
                    <a:pt x="223" y="721"/>
                  </a:cubicBezTo>
                  <a:cubicBezTo>
                    <a:pt x="317" y="721"/>
                    <a:pt x="393" y="798"/>
                    <a:pt x="393" y="891"/>
                  </a:cubicBezTo>
                  <a:cubicBezTo>
                    <a:pt x="393" y="985"/>
                    <a:pt x="316" y="1061"/>
                    <a:pt x="223" y="1061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9" name="AutoShape 159">
              <a:extLst>
                <a:ext uri="{FF2B5EF4-FFF2-40B4-BE49-F238E27FC236}">
                  <a16:creationId xmlns:a16="http://schemas.microsoft.com/office/drawing/2014/main" id="{777844F2-2235-4C82-BD63-2392E5EA456E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6287861" y="2517776"/>
              <a:ext cx="1879600" cy="1879600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cap="flat" cmpd="sng" algn="ctr">
                  <a:solidFill>
                    <a:srgbClr val="9A9A9A"/>
                  </a:solidFill>
                  <a:prstDash val="solid"/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42" name="Fußzeilenplatzhalter 4">
            <a:extLst>
              <a:ext uri="{FF2B5EF4-FFF2-40B4-BE49-F238E27FC236}">
                <a16:creationId xmlns:a16="http://schemas.microsoft.com/office/drawing/2014/main" id="{6ED1D2BE-9BE8-6146-C673-0F1F09D245D4}"/>
              </a:ext>
            </a:extLst>
          </p:cNvPr>
          <p:cNvSpPr txBox="1">
            <a:spLocks/>
          </p:cNvSpPr>
          <p:nvPr/>
        </p:nvSpPr>
        <p:spPr>
          <a:xfrm>
            <a:off x="311162" y="4854985"/>
            <a:ext cx="7829538" cy="28851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1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r>
              <a:rPr lang="en-US" dirty="0">
                <a:latin typeface="Arial"/>
                <a:cs typeface="Arial"/>
              </a:rPr>
              <a:t>◻︎ Outline | ◻︎ Organizational</a:t>
            </a:r>
            <a:r>
              <a:rPr lang="en-US" b="1" dirty="0">
                <a:latin typeface="Arial"/>
                <a:cs typeface="Arial"/>
              </a:rPr>
              <a:t> </a:t>
            </a:r>
            <a:r>
              <a:rPr lang="en-US" dirty="0">
                <a:latin typeface="Arial"/>
                <a:cs typeface="Arial"/>
              </a:rPr>
              <a:t>structure</a:t>
            </a:r>
            <a:r>
              <a:rPr lang="en-US" b="1" dirty="0">
                <a:latin typeface="Arial"/>
                <a:cs typeface="Arial"/>
              </a:rPr>
              <a:t> </a:t>
            </a:r>
            <a:r>
              <a:rPr lang="en-US" dirty="0">
                <a:latin typeface="Arial"/>
                <a:cs typeface="Arial"/>
              </a:rPr>
              <a:t>| ◼︎ </a:t>
            </a:r>
            <a:r>
              <a:rPr lang="en-US" b="1" dirty="0">
                <a:latin typeface="Arial"/>
                <a:cs typeface="Arial"/>
              </a:rPr>
              <a:t>Research</a:t>
            </a:r>
            <a:r>
              <a:rPr lang="en-US" dirty="0">
                <a:latin typeface="Arial"/>
                <a:cs typeface="Arial"/>
              </a:rPr>
              <a:t> </a:t>
            </a:r>
            <a:r>
              <a:rPr lang="en-US" b="1" dirty="0">
                <a:latin typeface="Arial"/>
                <a:cs typeface="Arial"/>
              </a:rPr>
              <a:t>Topics</a:t>
            </a:r>
            <a:r>
              <a:rPr lang="en-US" dirty="0">
                <a:latin typeface="Arial"/>
                <a:cs typeface="Arial"/>
              </a:rPr>
              <a:t> | ◻︎ ML Pipeline  | ◻︎ Next steps</a:t>
            </a:r>
          </a:p>
        </p:txBody>
      </p:sp>
    </p:spTree>
    <p:extLst>
      <p:ext uri="{BB962C8B-B14F-4D97-AF65-F5344CB8AC3E}">
        <p14:creationId xmlns:p14="http://schemas.microsoft.com/office/powerpoint/2010/main" val="14274099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 advTm="20000"/>
    </mc:Choice>
    <mc:Fallback xmlns="">
      <p:transition spd="slow" advClick="0" advTm="20000"/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7ED68744-4E01-4801-A78D-D1B172F4C29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347644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7ED68744-4E01-4801-A78D-D1B172F4C29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el 2">
            <a:extLst>
              <a:ext uri="{FF2B5EF4-FFF2-40B4-BE49-F238E27FC236}">
                <a16:creationId xmlns:a16="http://schemas.microsoft.com/office/drawing/2014/main" id="{37327073-11DD-47A1-A0A3-AEC7A599651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7501" y="282065"/>
            <a:ext cx="7891317" cy="380810"/>
          </a:xfrm>
        </p:spPr>
        <p:txBody>
          <a:bodyPr vert="horz"/>
          <a:lstStyle/>
          <a:p>
            <a:r>
              <a:rPr lang="de-DE"/>
              <a:t>Image resizing always bears risks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F623D925-8B03-4C79-B8CE-4001D099571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9</a:t>
            </a:fld>
            <a:endParaRPr lang="de-DE"/>
          </a:p>
        </p:txBody>
      </p:sp>
      <p:pic>
        <p:nvPicPr>
          <p:cNvPr id="8" name="Grafik 2" descr="countdown.gif">
            <a:extLst>
              <a:ext uri="{FF2B5EF4-FFF2-40B4-BE49-F238E27FC236}">
                <a16:creationId xmlns:a16="http://schemas.microsoft.com/office/drawing/2014/main" id="{9F18EF32-707B-47E4-B94B-5CA81854BA99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85113" y="4575685"/>
            <a:ext cx="1258887" cy="571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9" name="Picture 3">
            <a:extLst>
              <a:ext uri="{FF2B5EF4-FFF2-40B4-BE49-F238E27FC236}">
                <a16:creationId xmlns:a16="http://schemas.microsoft.com/office/drawing/2014/main" id="{CB2C2CB5-8005-01E7-4B87-BDE51F0BA63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3460" b="41277"/>
          <a:stretch/>
        </p:blipFill>
        <p:spPr bwMode="auto">
          <a:xfrm>
            <a:off x="4625375" y="956105"/>
            <a:ext cx="1026730" cy="10223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0" name="Textfeld 19">
            <a:extLst>
              <a:ext uri="{FF2B5EF4-FFF2-40B4-BE49-F238E27FC236}">
                <a16:creationId xmlns:a16="http://schemas.microsoft.com/office/drawing/2014/main" id="{0901A7D2-93AD-15BB-CAB2-C093FAC3CDA2}"/>
              </a:ext>
            </a:extLst>
          </p:cNvPr>
          <p:cNvSpPr txBox="1"/>
          <p:nvPr/>
        </p:nvSpPr>
        <p:spPr>
          <a:xfrm>
            <a:off x="4644325" y="2263516"/>
            <a:ext cx="988829" cy="25725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114000"/>
              </a:lnSpc>
            </a:pPr>
            <a:r>
              <a:rPr lang="en-US" sz="1600">
                <a:latin typeface="+mn-lt"/>
              </a:rPr>
              <a:t>original</a:t>
            </a:r>
          </a:p>
        </p:txBody>
      </p:sp>
      <p:pic>
        <p:nvPicPr>
          <p:cNvPr id="47111" name="Picture 7" descr="The 10 Best Dogs for Kids and Families | PetMD">
            <a:extLst>
              <a:ext uri="{FF2B5EF4-FFF2-40B4-BE49-F238E27FC236}">
                <a16:creationId xmlns:a16="http://schemas.microsoft.com/office/drawing/2014/main" id="{72B02224-9EB6-937C-F895-61DC57A7848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77007" y="2821550"/>
            <a:ext cx="1323464" cy="13234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2" name="Picture 7" descr="The 10 Best Dogs for Kids and Families | PetMD">
            <a:extLst>
              <a:ext uri="{FF2B5EF4-FFF2-40B4-BE49-F238E27FC236}">
                <a16:creationId xmlns:a16="http://schemas.microsoft.com/office/drawing/2014/main" id="{DE0916CF-F47C-76A9-87A4-7DF93B136CE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12015" y="2967024"/>
            <a:ext cx="999510" cy="9995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4" name="Picture 7" descr="The 10 Best Dogs for Kids and Families | PetMD">
            <a:extLst>
              <a:ext uri="{FF2B5EF4-FFF2-40B4-BE49-F238E27FC236}">
                <a16:creationId xmlns:a16="http://schemas.microsoft.com/office/drawing/2014/main" id="{7F0235DD-2E83-F627-F358-CD4085C0216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331" t="9702" r="14331" b="17869"/>
          <a:stretch/>
        </p:blipFill>
        <p:spPr bwMode="auto">
          <a:xfrm>
            <a:off x="6243793" y="2974288"/>
            <a:ext cx="984494" cy="9995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6" name="Textfeld 35">
            <a:extLst>
              <a:ext uri="{FF2B5EF4-FFF2-40B4-BE49-F238E27FC236}">
                <a16:creationId xmlns:a16="http://schemas.microsoft.com/office/drawing/2014/main" id="{A9623D67-401A-0721-626E-26805E076041}"/>
              </a:ext>
            </a:extLst>
          </p:cNvPr>
          <p:cNvSpPr txBox="1"/>
          <p:nvPr/>
        </p:nvSpPr>
        <p:spPr>
          <a:xfrm>
            <a:off x="6074309" y="4189226"/>
            <a:ext cx="1323463" cy="25725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114000"/>
              </a:lnSpc>
            </a:pPr>
            <a:r>
              <a:rPr lang="en-US" sz="1600">
                <a:latin typeface="+mn-lt"/>
              </a:rPr>
              <a:t>cropping</a:t>
            </a:r>
          </a:p>
        </p:txBody>
      </p:sp>
      <p:sp>
        <p:nvSpPr>
          <p:cNvPr id="37" name="Textfeld 36">
            <a:extLst>
              <a:ext uri="{FF2B5EF4-FFF2-40B4-BE49-F238E27FC236}">
                <a16:creationId xmlns:a16="http://schemas.microsoft.com/office/drawing/2014/main" id="{DB9C63C4-33CF-F53B-7272-F69A6AAE3F79}"/>
              </a:ext>
            </a:extLst>
          </p:cNvPr>
          <p:cNvSpPr txBox="1"/>
          <p:nvPr/>
        </p:nvSpPr>
        <p:spPr>
          <a:xfrm>
            <a:off x="7650038" y="4194741"/>
            <a:ext cx="1323463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600">
                <a:latin typeface="+mn-lt"/>
              </a:rPr>
              <a:t>down scaling</a:t>
            </a:r>
          </a:p>
        </p:txBody>
      </p:sp>
      <p:sp>
        <p:nvSpPr>
          <p:cNvPr id="38" name="Textfeld 37">
            <a:extLst>
              <a:ext uri="{FF2B5EF4-FFF2-40B4-BE49-F238E27FC236}">
                <a16:creationId xmlns:a16="http://schemas.microsoft.com/office/drawing/2014/main" id="{01EBEB68-36D5-3B03-2DDB-B1F41A6A6F70}"/>
              </a:ext>
            </a:extLst>
          </p:cNvPr>
          <p:cNvSpPr txBox="1"/>
          <p:nvPr/>
        </p:nvSpPr>
        <p:spPr>
          <a:xfrm>
            <a:off x="4211154" y="4189226"/>
            <a:ext cx="1855171" cy="25725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114000"/>
              </a:lnSpc>
            </a:pPr>
            <a:r>
              <a:rPr lang="en-US" sz="1600">
                <a:latin typeface="+mn-lt"/>
              </a:rPr>
              <a:t>original</a:t>
            </a:r>
          </a:p>
        </p:txBody>
      </p:sp>
      <p:sp>
        <p:nvSpPr>
          <p:cNvPr id="48" name="Rechteck 47">
            <a:extLst>
              <a:ext uri="{FF2B5EF4-FFF2-40B4-BE49-F238E27FC236}">
                <a16:creationId xmlns:a16="http://schemas.microsoft.com/office/drawing/2014/main" id="{E1540F0A-0923-1031-5B7E-81D195A3B9B9}"/>
              </a:ext>
            </a:extLst>
          </p:cNvPr>
          <p:cNvSpPr/>
          <p:nvPr/>
        </p:nvSpPr>
        <p:spPr>
          <a:xfrm>
            <a:off x="766834" y="3004378"/>
            <a:ext cx="2973625" cy="34958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>
              <a:lnSpc>
                <a:spcPct val="114000"/>
              </a:lnSpc>
            </a:pPr>
            <a:r>
              <a:rPr lang="en-US" sz="1600">
                <a:solidFill>
                  <a:schemeClr val="tx1"/>
                </a:solidFill>
              </a:rPr>
              <a:t>Image larger than fixed size</a:t>
            </a:r>
          </a:p>
        </p:txBody>
      </p:sp>
      <p:sp>
        <p:nvSpPr>
          <p:cNvPr id="54" name="Rechteck 47">
            <a:extLst>
              <a:ext uri="{FF2B5EF4-FFF2-40B4-BE49-F238E27FC236}">
                <a16:creationId xmlns:a16="http://schemas.microsoft.com/office/drawing/2014/main" id="{F63E9E63-D644-4409-A4EF-68BFB23E77B2}"/>
              </a:ext>
            </a:extLst>
          </p:cNvPr>
          <p:cNvSpPr/>
          <p:nvPr/>
        </p:nvSpPr>
        <p:spPr>
          <a:xfrm>
            <a:off x="667081" y="3353961"/>
            <a:ext cx="3738209" cy="91101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446088" indent="-285750">
              <a:lnSpc>
                <a:spcPct val="114000"/>
              </a:lnSpc>
              <a:buFont typeface="Wingdings" panose="05000000000000000000" pitchFamily="2" charset="2"/>
              <a:buChar char="Ø"/>
            </a:pPr>
            <a:r>
              <a:rPr lang="en-US" sz="1600" b="1">
                <a:solidFill>
                  <a:schemeClr val="tx1"/>
                </a:solidFill>
              </a:rPr>
              <a:t>Cropping: </a:t>
            </a:r>
            <a:r>
              <a:rPr lang="en-US" sz="1600">
                <a:solidFill>
                  <a:schemeClr val="tx1"/>
                </a:solidFill>
              </a:rPr>
              <a:t>risk of losing feature</a:t>
            </a:r>
          </a:p>
          <a:p>
            <a:pPr marL="446088" indent="-285750">
              <a:lnSpc>
                <a:spcPct val="114000"/>
              </a:lnSpc>
              <a:buFont typeface="Wingdings" panose="05000000000000000000" pitchFamily="2" charset="2"/>
              <a:buChar char="Ø"/>
            </a:pPr>
            <a:r>
              <a:rPr lang="en-US" sz="1600" b="1">
                <a:solidFill>
                  <a:schemeClr val="tx1"/>
                </a:solidFill>
              </a:rPr>
              <a:t>Scaling: </a:t>
            </a:r>
            <a:r>
              <a:rPr lang="en-US" sz="1600">
                <a:solidFill>
                  <a:schemeClr val="tx1"/>
                </a:solidFill>
              </a:rPr>
              <a:t>risk of deforming pattern less severe</a:t>
            </a:r>
            <a:endParaRPr lang="en-US" sz="1600" b="1">
              <a:solidFill>
                <a:schemeClr val="tx1"/>
              </a:solidFill>
            </a:endParaRPr>
          </a:p>
        </p:txBody>
      </p:sp>
      <p:sp>
        <p:nvSpPr>
          <p:cNvPr id="49" name="Rechteck 48">
            <a:extLst>
              <a:ext uri="{FF2B5EF4-FFF2-40B4-BE49-F238E27FC236}">
                <a16:creationId xmlns:a16="http://schemas.microsoft.com/office/drawing/2014/main" id="{05794D1E-F632-B75D-754C-E344E49E022B}"/>
              </a:ext>
            </a:extLst>
          </p:cNvPr>
          <p:cNvSpPr/>
          <p:nvPr/>
        </p:nvSpPr>
        <p:spPr>
          <a:xfrm>
            <a:off x="766835" y="1083492"/>
            <a:ext cx="2965584" cy="33855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1600">
                <a:solidFill>
                  <a:schemeClr val="tx1"/>
                </a:solidFill>
              </a:rPr>
              <a:t>Image smaller than fixed size</a:t>
            </a:r>
            <a:endParaRPr lang="en-US">
              <a:solidFill>
                <a:schemeClr val="tx1"/>
              </a:solidFill>
            </a:endParaRPr>
          </a:p>
        </p:txBody>
      </p:sp>
      <p:sp>
        <p:nvSpPr>
          <p:cNvPr id="55" name="Rechteck 48">
            <a:extLst>
              <a:ext uri="{FF2B5EF4-FFF2-40B4-BE49-F238E27FC236}">
                <a16:creationId xmlns:a16="http://schemas.microsoft.com/office/drawing/2014/main" id="{65ABE874-F07B-4832-959C-4A1913CAF080}"/>
              </a:ext>
            </a:extLst>
          </p:cNvPr>
          <p:cNvSpPr/>
          <p:nvPr/>
        </p:nvSpPr>
        <p:spPr>
          <a:xfrm>
            <a:off x="667081" y="1422046"/>
            <a:ext cx="3728101" cy="83099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446088" indent="-285750">
              <a:buFont typeface="Wingdings" panose="05000000000000000000" pitchFamily="2" charset="2"/>
              <a:buChar char="Ø"/>
            </a:pPr>
            <a:r>
              <a:rPr lang="en-US" sz="1600" b="1">
                <a:solidFill>
                  <a:schemeClr val="tx1"/>
                </a:solidFill>
              </a:rPr>
              <a:t>Scaling</a:t>
            </a:r>
            <a:r>
              <a:rPr lang="en-US" sz="1600">
                <a:solidFill>
                  <a:schemeClr val="tx1"/>
                </a:solidFill>
              </a:rPr>
              <a:t>: risk of deforming pattern</a:t>
            </a:r>
          </a:p>
          <a:p>
            <a:pPr marL="446088" indent="-285750">
              <a:buFont typeface="Wingdings" panose="05000000000000000000" pitchFamily="2" charset="2"/>
              <a:buChar char="Ø"/>
            </a:pPr>
            <a:r>
              <a:rPr lang="en-US" sz="1600" b="1">
                <a:solidFill>
                  <a:schemeClr val="tx1"/>
                </a:solidFill>
              </a:rPr>
              <a:t>Zero-padding: </a:t>
            </a:r>
            <a:r>
              <a:rPr lang="en-US" sz="1600">
                <a:solidFill>
                  <a:schemeClr val="tx1"/>
                </a:solidFill>
              </a:rPr>
              <a:t>pattern preserved + faster calculations</a:t>
            </a:r>
            <a:endParaRPr lang="en-US">
              <a:solidFill>
                <a:schemeClr val="tx1"/>
              </a:solidFill>
            </a:endParaRPr>
          </a:p>
        </p:txBody>
      </p:sp>
      <p:grpSp>
        <p:nvGrpSpPr>
          <p:cNvPr id="31" name="Group 30">
            <a:extLst>
              <a:ext uri="{FF2B5EF4-FFF2-40B4-BE49-F238E27FC236}">
                <a16:creationId xmlns:a16="http://schemas.microsoft.com/office/drawing/2014/main" id="{7381DB6E-283B-434E-83AD-DED235FBC269}"/>
              </a:ext>
            </a:extLst>
          </p:cNvPr>
          <p:cNvGrpSpPr>
            <a:grpSpLocks noChangeAspect="1"/>
          </p:cNvGrpSpPr>
          <p:nvPr/>
        </p:nvGrpSpPr>
        <p:grpSpPr>
          <a:xfrm>
            <a:off x="7064564" y="2813497"/>
            <a:ext cx="306910" cy="306910"/>
            <a:chOff x="5961063" y="3294063"/>
            <a:chExt cx="269875" cy="269875"/>
          </a:xfrm>
        </p:grpSpPr>
        <p:sp>
          <p:nvSpPr>
            <p:cNvPr id="33" name="Oval 18">
              <a:extLst>
                <a:ext uri="{FF2B5EF4-FFF2-40B4-BE49-F238E27FC236}">
                  <a16:creationId xmlns:a16="http://schemas.microsoft.com/office/drawing/2014/main" id="{9D4F400A-B6BB-448D-8062-E81F5B2CA63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961063" y="3294063"/>
              <a:ext cx="269875" cy="269875"/>
            </a:xfrm>
            <a:prstGeom prst="ellipse">
              <a:avLst/>
            </a:prstGeom>
            <a:solidFill>
              <a:srgbClr val="E71C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" name="Freeform 19">
              <a:extLst>
                <a:ext uri="{FF2B5EF4-FFF2-40B4-BE49-F238E27FC236}">
                  <a16:creationId xmlns:a16="http://schemas.microsoft.com/office/drawing/2014/main" id="{1954C74F-AAF5-4E79-8F78-B5D326D65B60}"/>
                </a:ext>
              </a:extLst>
            </p:cNvPr>
            <p:cNvSpPr>
              <a:spLocks/>
            </p:cNvSpPr>
            <p:nvPr/>
          </p:nvSpPr>
          <p:spPr bwMode="auto">
            <a:xfrm>
              <a:off x="6040438" y="3373438"/>
              <a:ext cx="111125" cy="111125"/>
            </a:xfrm>
            <a:custGeom>
              <a:avLst/>
              <a:gdLst>
                <a:gd name="T0" fmla="*/ 63 w 70"/>
                <a:gd name="T1" fmla="*/ 0 h 70"/>
                <a:gd name="T2" fmla="*/ 35 w 70"/>
                <a:gd name="T3" fmla="*/ 29 h 70"/>
                <a:gd name="T4" fmla="*/ 6 w 70"/>
                <a:gd name="T5" fmla="*/ 0 h 70"/>
                <a:gd name="T6" fmla="*/ 0 w 70"/>
                <a:gd name="T7" fmla="*/ 6 h 70"/>
                <a:gd name="T8" fmla="*/ 28 w 70"/>
                <a:gd name="T9" fmla="*/ 35 h 70"/>
                <a:gd name="T10" fmla="*/ 0 w 70"/>
                <a:gd name="T11" fmla="*/ 63 h 70"/>
                <a:gd name="T12" fmla="*/ 6 w 70"/>
                <a:gd name="T13" fmla="*/ 70 h 70"/>
                <a:gd name="T14" fmla="*/ 35 w 70"/>
                <a:gd name="T15" fmla="*/ 41 h 70"/>
                <a:gd name="T16" fmla="*/ 63 w 70"/>
                <a:gd name="T17" fmla="*/ 70 h 70"/>
                <a:gd name="T18" fmla="*/ 70 w 70"/>
                <a:gd name="T19" fmla="*/ 63 h 70"/>
                <a:gd name="T20" fmla="*/ 41 w 70"/>
                <a:gd name="T21" fmla="*/ 35 h 70"/>
                <a:gd name="T22" fmla="*/ 70 w 70"/>
                <a:gd name="T23" fmla="*/ 6 h 70"/>
                <a:gd name="T24" fmla="*/ 63 w 70"/>
                <a:gd name="T25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0" h="70">
                  <a:moveTo>
                    <a:pt x="63" y="0"/>
                  </a:moveTo>
                  <a:lnTo>
                    <a:pt x="35" y="29"/>
                  </a:lnTo>
                  <a:lnTo>
                    <a:pt x="6" y="0"/>
                  </a:lnTo>
                  <a:lnTo>
                    <a:pt x="0" y="6"/>
                  </a:lnTo>
                  <a:lnTo>
                    <a:pt x="28" y="35"/>
                  </a:lnTo>
                  <a:lnTo>
                    <a:pt x="0" y="63"/>
                  </a:lnTo>
                  <a:lnTo>
                    <a:pt x="6" y="70"/>
                  </a:lnTo>
                  <a:lnTo>
                    <a:pt x="35" y="41"/>
                  </a:lnTo>
                  <a:lnTo>
                    <a:pt x="63" y="70"/>
                  </a:lnTo>
                  <a:lnTo>
                    <a:pt x="70" y="63"/>
                  </a:lnTo>
                  <a:lnTo>
                    <a:pt x="41" y="35"/>
                  </a:lnTo>
                  <a:lnTo>
                    <a:pt x="70" y="6"/>
                  </a:lnTo>
                  <a:lnTo>
                    <a:pt x="63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43" name="Group 42">
            <a:extLst>
              <a:ext uri="{FF2B5EF4-FFF2-40B4-BE49-F238E27FC236}">
                <a16:creationId xmlns:a16="http://schemas.microsoft.com/office/drawing/2014/main" id="{A44CBF19-32FF-48FC-990B-A9A8F302D0A7}"/>
              </a:ext>
            </a:extLst>
          </p:cNvPr>
          <p:cNvGrpSpPr>
            <a:grpSpLocks noChangeAspect="1"/>
          </p:cNvGrpSpPr>
          <p:nvPr/>
        </p:nvGrpSpPr>
        <p:grpSpPr>
          <a:xfrm>
            <a:off x="8661621" y="2813497"/>
            <a:ext cx="306910" cy="306910"/>
            <a:chOff x="982662" y="3868738"/>
            <a:chExt cx="269875" cy="269875"/>
          </a:xfrm>
        </p:grpSpPr>
        <p:sp>
          <p:nvSpPr>
            <p:cNvPr id="44" name="Oval 16">
              <a:extLst>
                <a:ext uri="{FF2B5EF4-FFF2-40B4-BE49-F238E27FC236}">
                  <a16:creationId xmlns:a16="http://schemas.microsoft.com/office/drawing/2014/main" id="{00A98B3F-E83C-4E18-BFCF-F45C6AC3327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82662" y="3868738"/>
              <a:ext cx="269875" cy="269875"/>
            </a:xfrm>
            <a:prstGeom prst="ellipse">
              <a:avLst/>
            </a:pr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45" name="Freeform 17">
              <a:extLst>
                <a:ext uri="{FF2B5EF4-FFF2-40B4-BE49-F238E27FC236}">
                  <a16:creationId xmlns:a16="http://schemas.microsoft.com/office/drawing/2014/main" id="{AD655F2E-8EF4-4F4C-A8A1-B882CD539884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0925" y="3938588"/>
              <a:ext cx="133350" cy="128587"/>
            </a:xfrm>
            <a:custGeom>
              <a:avLst/>
              <a:gdLst>
                <a:gd name="T0" fmla="*/ 36 w 84"/>
                <a:gd name="T1" fmla="*/ 67 h 81"/>
                <a:gd name="T2" fmla="*/ 7 w 84"/>
                <a:gd name="T3" fmla="*/ 39 h 81"/>
                <a:gd name="T4" fmla="*/ 0 w 84"/>
                <a:gd name="T5" fmla="*/ 45 h 81"/>
                <a:gd name="T6" fmla="*/ 38 w 84"/>
                <a:gd name="T7" fmla="*/ 81 h 81"/>
                <a:gd name="T8" fmla="*/ 84 w 84"/>
                <a:gd name="T9" fmla="*/ 4 h 81"/>
                <a:gd name="T10" fmla="*/ 76 w 84"/>
                <a:gd name="T11" fmla="*/ 0 h 81"/>
                <a:gd name="T12" fmla="*/ 36 w 84"/>
                <a:gd name="T13" fmla="*/ 67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4" h="81">
                  <a:moveTo>
                    <a:pt x="36" y="67"/>
                  </a:moveTo>
                  <a:lnTo>
                    <a:pt x="7" y="39"/>
                  </a:lnTo>
                  <a:lnTo>
                    <a:pt x="0" y="45"/>
                  </a:lnTo>
                  <a:lnTo>
                    <a:pt x="38" y="81"/>
                  </a:lnTo>
                  <a:lnTo>
                    <a:pt x="84" y="4"/>
                  </a:lnTo>
                  <a:lnTo>
                    <a:pt x="76" y="0"/>
                  </a:lnTo>
                  <a:lnTo>
                    <a:pt x="36" y="6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id="{0FAE5BCD-024C-434C-A81E-0D2CA19ECA41}"/>
              </a:ext>
            </a:extLst>
          </p:cNvPr>
          <p:cNvGrpSpPr/>
          <p:nvPr/>
        </p:nvGrpSpPr>
        <p:grpSpPr>
          <a:xfrm>
            <a:off x="7538415" y="635734"/>
            <a:ext cx="1546713" cy="1889470"/>
            <a:chOff x="6004514" y="619857"/>
            <a:chExt cx="1546713" cy="1889470"/>
          </a:xfrm>
        </p:grpSpPr>
        <p:pic>
          <p:nvPicPr>
            <p:cNvPr id="47107" name="Picture 3">
              <a:extLst>
                <a:ext uri="{FF2B5EF4-FFF2-40B4-BE49-F238E27FC236}">
                  <a16:creationId xmlns:a16="http://schemas.microsoft.com/office/drawing/2014/main" id="{9EC252C3-3269-64AA-ABD7-4E09BCEC503F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7974" r="36341" b="21066"/>
            <a:stretch/>
          </p:blipFill>
          <p:spPr bwMode="auto">
            <a:xfrm>
              <a:off x="6004514" y="749839"/>
              <a:ext cx="1441480" cy="143485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4" name="Textfeld 13">
              <a:extLst>
                <a:ext uri="{FF2B5EF4-FFF2-40B4-BE49-F238E27FC236}">
                  <a16:creationId xmlns:a16="http://schemas.microsoft.com/office/drawing/2014/main" id="{A7C6F032-493C-B8E9-9317-F9ED621688DF}"/>
                </a:ext>
              </a:extLst>
            </p:cNvPr>
            <p:cNvSpPr txBox="1"/>
            <p:nvPr/>
          </p:nvSpPr>
          <p:spPr>
            <a:xfrm>
              <a:off x="6090533" y="2274954"/>
              <a:ext cx="1269443" cy="23437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lnSpc>
                  <a:spcPct val="114000"/>
                </a:lnSpc>
              </a:pPr>
              <a:r>
                <a:rPr lang="en-US" sz="1600">
                  <a:latin typeface="+mn-lt"/>
                </a:rPr>
                <a:t>zero-padding</a:t>
              </a:r>
            </a:p>
          </p:txBody>
        </p:sp>
        <p:grpSp>
          <p:nvGrpSpPr>
            <p:cNvPr id="51" name="Group 50">
              <a:extLst>
                <a:ext uri="{FF2B5EF4-FFF2-40B4-BE49-F238E27FC236}">
                  <a16:creationId xmlns:a16="http://schemas.microsoft.com/office/drawing/2014/main" id="{CE9856FC-417D-4053-8562-B1A23DE2ED8A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7244317" y="619857"/>
              <a:ext cx="306910" cy="306910"/>
              <a:chOff x="982662" y="3868738"/>
              <a:chExt cx="269875" cy="269875"/>
            </a:xfrm>
          </p:grpSpPr>
          <p:sp>
            <p:nvSpPr>
              <p:cNvPr id="52" name="Oval 16">
                <a:extLst>
                  <a:ext uri="{FF2B5EF4-FFF2-40B4-BE49-F238E27FC236}">
                    <a16:creationId xmlns:a16="http://schemas.microsoft.com/office/drawing/2014/main" id="{6B12AC54-140C-42D1-8C94-EA932C3AE51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82662" y="3868738"/>
                <a:ext cx="269875" cy="269875"/>
              </a:xfrm>
              <a:prstGeom prst="ellipse">
                <a:avLst/>
              </a:prstGeom>
              <a:solidFill>
                <a:schemeClr val="accent5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chemeClr val="bg1"/>
                  </a:solidFill>
                </a:endParaRPr>
              </a:p>
            </p:txBody>
          </p:sp>
          <p:sp>
            <p:nvSpPr>
              <p:cNvPr id="53" name="Freeform 17">
                <a:extLst>
                  <a:ext uri="{FF2B5EF4-FFF2-40B4-BE49-F238E27FC236}">
                    <a16:creationId xmlns:a16="http://schemas.microsoft.com/office/drawing/2014/main" id="{4EBF9D82-2D34-444F-AE5F-520CBD09800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50925" y="3938588"/>
                <a:ext cx="133350" cy="128587"/>
              </a:xfrm>
              <a:custGeom>
                <a:avLst/>
                <a:gdLst>
                  <a:gd name="T0" fmla="*/ 36 w 84"/>
                  <a:gd name="T1" fmla="*/ 67 h 81"/>
                  <a:gd name="T2" fmla="*/ 7 w 84"/>
                  <a:gd name="T3" fmla="*/ 39 h 81"/>
                  <a:gd name="T4" fmla="*/ 0 w 84"/>
                  <a:gd name="T5" fmla="*/ 45 h 81"/>
                  <a:gd name="T6" fmla="*/ 38 w 84"/>
                  <a:gd name="T7" fmla="*/ 81 h 81"/>
                  <a:gd name="T8" fmla="*/ 84 w 84"/>
                  <a:gd name="T9" fmla="*/ 4 h 81"/>
                  <a:gd name="T10" fmla="*/ 76 w 84"/>
                  <a:gd name="T11" fmla="*/ 0 h 81"/>
                  <a:gd name="T12" fmla="*/ 36 w 84"/>
                  <a:gd name="T13" fmla="*/ 67 h 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4" h="81">
                    <a:moveTo>
                      <a:pt x="36" y="67"/>
                    </a:moveTo>
                    <a:lnTo>
                      <a:pt x="7" y="39"/>
                    </a:lnTo>
                    <a:lnTo>
                      <a:pt x="0" y="45"/>
                    </a:lnTo>
                    <a:lnTo>
                      <a:pt x="38" y="81"/>
                    </a:lnTo>
                    <a:lnTo>
                      <a:pt x="84" y="4"/>
                    </a:lnTo>
                    <a:lnTo>
                      <a:pt x="76" y="0"/>
                    </a:lnTo>
                    <a:lnTo>
                      <a:pt x="36" y="67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chemeClr val="bg1"/>
                  </a:solidFill>
                </a:endParaRPr>
              </a:p>
            </p:txBody>
          </p:sp>
        </p:grpSp>
      </p:grpSp>
      <p:grpSp>
        <p:nvGrpSpPr>
          <p:cNvPr id="56" name="Group 55">
            <a:extLst>
              <a:ext uri="{FF2B5EF4-FFF2-40B4-BE49-F238E27FC236}">
                <a16:creationId xmlns:a16="http://schemas.microsoft.com/office/drawing/2014/main" id="{D5EF597F-8A30-4DC1-92EE-EBEA79BC7D94}"/>
              </a:ext>
            </a:extLst>
          </p:cNvPr>
          <p:cNvGrpSpPr/>
          <p:nvPr/>
        </p:nvGrpSpPr>
        <p:grpSpPr>
          <a:xfrm>
            <a:off x="5962448" y="619857"/>
            <a:ext cx="1547183" cy="1987727"/>
            <a:chOff x="7586226" y="619857"/>
            <a:chExt cx="1547183" cy="1987727"/>
          </a:xfrm>
        </p:grpSpPr>
        <p:sp>
          <p:nvSpPr>
            <p:cNvPr id="57" name="Textfeld 16">
              <a:extLst>
                <a:ext uri="{FF2B5EF4-FFF2-40B4-BE49-F238E27FC236}">
                  <a16:creationId xmlns:a16="http://schemas.microsoft.com/office/drawing/2014/main" id="{E89449E3-E8E8-407A-A0C8-14BC5AE2AFFE}"/>
                </a:ext>
              </a:extLst>
            </p:cNvPr>
            <p:cNvSpPr txBox="1"/>
            <p:nvPr/>
          </p:nvSpPr>
          <p:spPr>
            <a:xfrm>
              <a:off x="7650037" y="2176697"/>
              <a:ext cx="1323464" cy="43088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1600">
                  <a:latin typeface="+mn-lt"/>
                </a:rPr>
                <a:t>up scaling</a:t>
              </a:r>
            </a:p>
            <a:p>
              <a:pPr algn="ctr"/>
              <a:r>
                <a:rPr lang="en-US" sz="1100">
                  <a:latin typeface="+mn-lt"/>
                </a:rPr>
                <a:t>(interpolation)</a:t>
              </a:r>
            </a:p>
          </p:txBody>
        </p:sp>
        <p:pic>
          <p:nvPicPr>
            <p:cNvPr id="58" name="Picture 3">
              <a:extLst>
                <a:ext uri="{FF2B5EF4-FFF2-40B4-BE49-F238E27FC236}">
                  <a16:creationId xmlns:a16="http://schemas.microsoft.com/office/drawing/2014/main" id="{2AC1CC0B-D75D-491E-B412-D2A3C5DC6B41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4077" b="21066"/>
            <a:stretch/>
          </p:blipFill>
          <p:spPr bwMode="auto">
            <a:xfrm>
              <a:off x="7586226" y="749839"/>
              <a:ext cx="1451086" cy="143485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grpSp>
          <p:nvGrpSpPr>
            <p:cNvPr id="59" name="Group 58">
              <a:extLst>
                <a:ext uri="{FF2B5EF4-FFF2-40B4-BE49-F238E27FC236}">
                  <a16:creationId xmlns:a16="http://schemas.microsoft.com/office/drawing/2014/main" id="{D133D36A-60E0-4EA8-BDB6-43875573886B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8826499" y="619857"/>
              <a:ext cx="306910" cy="306910"/>
              <a:chOff x="5961063" y="3294063"/>
              <a:chExt cx="269875" cy="269875"/>
            </a:xfrm>
          </p:grpSpPr>
          <p:sp>
            <p:nvSpPr>
              <p:cNvPr id="60" name="Oval 18">
                <a:extLst>
                  <a:ext uri="{FF2B5EF4-FFF2-40B4-BE49-F238E27FC236}">
                    <a16:creationId xmlns:a16="http://schemas.microsoft.com/office/drawing/2014/main" id="{C5F3ABE2-7D81-4B74-9DD3-8E472DD5DE8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961063" y="3294063"/>
                <a:ext cx="269875" cy="269875"/>
              </a:xfrm>
              <a:prstGeom prst="ellipse">
                <a:avLst/>
              </a:prstGeom>
              <a:solidFill>
                <a:srgbClr val="E71C57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1" name="Freeform 19">
                <a:extLst>
                  <a:ext uri="{FF2B5EF4-FFF2-40B4-BE49-F238E27FC236}">
                    <a16:creationId xmlns:a16="http://schemas.microsoft.com/office/drawing/2014/main" id="{F88740BC-1959-4303-99CB-8AFC7AAE66E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40438" y="3373438"/>
                <a:ext cx="111125" cy="111125"/>
              </a:xfrm>
              <a:custGeom>
                <a:avLst/>
                <a:gdLst>
                  <a:gd name="T0" fmla="*/ 63 w 70"/>
                  <a:gd name="T1" fmla="*/ 0 h 70"/>
                  <a:gd name="T2" fmla="*/ 35 w 70"/>
                  <a:gd name="T3" fmla="*/ 29 h 70"/>
                  <a:gd name="T4" fmla="*/ 6 w 70"/>
                  <a:gd name="T5" fmla="*/ 0 h 70"/>
                  <a:gd name="T6" fmla="*/ 0 w 70"/>
                  <a:gd name="T7" fmla="*/ 6 h 70"/>
                  <a:gd name="T8" fmla="*/ 28 w 70"/>
                  <a:gd name="T9" fmla="*/ 35 h 70"/>
                  <a:gd name="T10" fmla="*/ 0 w 70"/>
                  <a:gd name="T11" fmla="*/ 63 h 70"/>
                  <a:gd name="T12" fmla="*/ 6 w 70"/>
                  <a:gd name="T13" fmla="*/ 70 h 70"/>
                  <a:gd name="T14" fmla="*/ 35 w 70"/>
                  <a:gd name="T15" fmla="*/ 41 h 70"/>
                  <a:gd name="T16" fmla="*/ 63 w 70"/>
                  <a:gd name="T17" fmla="*/ 70 h 70"/>
                  <a:gd name="T18" fmla="*/ 70 w 70"/>
                  <a:gd name="T19" fmla="*/ 63 h 70"/>
                  <a:gd name="T20" fmla="*/ 41 w 70"/>
                  <a:gd name="T21" fmla="*/ 35 h 70"/>
                  <a:gd name="T22" fmla="*/ 70 w 70"/>
                  <a:gd name="T23" fmla="*/ 6 h 70"/>
                  <a:gd name="T24" fmla="*/ 63 w 70"/>
                  <a:gd name="T25" fmla="*/ 0 h 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70" h="70">
                    <a:moveTo>
                      <a:pt x="63" y="0"/>
                    </a:moveTo>
                    <a:lnTo>
                      <a:pt x="35" y="29"/>
                    </a:lnTo>
                    <a:lnTo>
                      <a:pt x="6" y="0"/>
                    </a:lnTo>
                    <a:lnTo>
                      <a:pt x="0" y="6"/>
                    </a:lnTo>
                    <a:lnTo>
                      <a:pt x="28" y="35"/>
                    </a:lnTo>
                    <a:lnTo>
                      <a:pt x="0" y="63"/>
                    </a:lnTo>
                    <a:lnTo>
                      <a:pt x="6" y="70"/>
                    </a:lnTo>
                    <a:lnTo>
                      <a:pt x="35" y="41"/>
                    </a:lnTo>
                    <a:lnTo>
                      <a:pt x="63" y="70"/>
                    </a:lnTo>
                    <a:lnTo>
                      <a:pt x="70" y="63"/>
                    </a:lnTo>
                    <a:lnTo>
                      <a:pt x="41" y="35"/>
                    </a:lnTo>
                    <a:lnTo>
                      <a:pt x="70" y="6"/>
                    </a:lnTo>
                    <a:lnTo>
                      <a:pt x="63" y="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grpSp>
        <p:nvGrpSpPr>
          <p:cNvPr id="62" name="bcgIcons_Scalable">
            <a:extLst>
              <a:ext uri="{FF2B5EF4-FFF2-40B4-BE49-F238E27FC236}">
                <a16:creationId xmlns:a16="http://schemas.microsoft.com/office/drawing/2014/main" id="{B176C2AB-B590-4A11-AC11-33012F4CA3A9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40889" y="878520"/>
            <a:ext cx="773156" cy="773873"/>
            <a:chOff x="1682" y="0"/>
            <a:chExt cx="4316" cy="4320"/>
          </a:xfrm>
        </p:grpSpPr>
        <p:sp>
          <p:nvSpPr>
            <p:cNvPr id="63" name="AutoShape 18">
              <a:extLst>
                <a:ext uri="{FF2B5EF4-FFF2-40B4-BE49-F238E27FC236}">
                  <a16:creationId xmlns:a16="http://schemas.microsoft.com/office/drawing/2014/main" id="{61103FF3-629E-4652-B261-37B80A0CDC26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1682" y="0"/>
              <a:ext cx="4316" cy="43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4" name="Freeform 20">
              <a:extLst>
                <a:ext uri="{FF2B5EF4-FFF2-40B4-BE49-F238E27FC236}">
                  <a16:creationId xmlns:a16="http://schemas.microsoft.com/office/drawing/2014/main" id="{A709BB0B-C8F3-4F24-BF30-AFE5C8D94D0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171" y="493"/>
              <a:ext cx="3316" cy="3338"/>
            </a:xfrm>
            <a:custGeom>
              <a:avLst/>
              <a:gdLst>
                <a:gd name="T0" fmla="*/ 1770 w 1770"/>
                <a:gd name="T1" fmla="*/ 22 h 1780"/>
                <a:gd name="T2" fmla="*/ 1770 w 1770"/>
                <a:gd name="T3" fmla="*/ 1474 h 1780"/>
                <a:gd name="T4" fmla="*/ 1748 w 1770"/>
                <a:gd name="T5" fmla="*/ 1496 h 1780"/>
                <a:gd name="T6" fmla="*/ 740 w 1770"/>
                <a:gd name="T7" fmla="*/ 1496 h 1780"/>
                <a:gd name="T8" fmla="*/ 740 w 1770"/>
                <a:gd name="T9" fmla="*/ 1452 h 1780"/>
                <a:gd name="T10" fmla="*/ 1726 w 1770"/>
                <a:gd name="T11" fmla="*/ 1452 h 1780"/>
                <a:gd name="T12" fmla="*/ 1726 w 1770"/>
                <a:gd name="T13" fmla="*/ 44 h 1780"/>
                <a:gd name="T14" fmla="*/ 317 w 1770"/>
                <a:gd name="T15" fmla="*/ 44 h 1780"/>
                <a:gd name="T16" fmla="*/ 317 w 1770"/>
                <a:gd name="T17" fmla="*/ 1039 h 1780"/>
                <a:gd name="T18" fmla="*/ 273 w 1770"/>
                <a:gd name="T19" fmla="*/ 1039 h 1780"/>
                <a:gd name="T20" fmla="*/ 273 w 1770"/>
                <a:gd name="T21" fmla="*/ 22 h 1780"/>
                <a:gd name="T22" fmla="*/ 295 w 1770"/>
                <a:gd name="T23" fmla="*/ 0 h 1780"/>
                <a:gd name="T24" fmla="*/ 1748 w 1770"/>
                <a:gd name="T25" fmla="*/ 0 h 1780"/>
                <a:gd name="T26" fmla="*/ 1770 w 1770"/>
                <a:gd name="T27" fmla="*/ 22 h 1780"/>
                <a:gd name="T28" fmla="*/ 1393 w 1770"/>
                <a:gd name="T29" fmla="*/ 409 h 1780"/>
                <a:gd name="T30" fmla="*/ 1393 w 1770"/>
                <a:gd name="T31" fmla="*/ 823 h 1780"/>
                <a:gd name="T32" fmla="*/ 1371 w 1770"/>
                <a:gd name="T33" fmla="*/ 845 h 1780"/>
                <a:gd name="T34" fmla="*/ 1349 w 1770"/>
                <a:gd name="T35" fmla="*/ 823 h 1780"/>
                <a:gd name="T36" fmla="*/ 1349 w 1770"/>
                <a:gd name="T37" fmla="*/ 462 h 1780"/>
                <a:gd name="T38" fmla="*/ 696 w 1770"/>
                <a:gd name="T39" fmla="*/ 1114 h 1780"/>
                <a:gd name="T40" fmla="*/ 696 w 1770"/>
                <a:gd name="T41" fmla="*/ 1758 h 1780"/>
                <a:gd name="T42" fmla="*/ 674 w 1770"/>
                <a:gd name="T43" fmla="*/ 1780 h 1780"/>
                <a:gd name="T44" fmla="*/ 22 w 1770"/>
                <a:gd name="T45" fmla="*/ 1780 h 1780"/>
                <a:gd name="T46" fmla="*/ 0 w 1770"/>
                <a:gd name="T47" fmla="*/ 1758 h 1780"/>
                <a:gd name="T48" fmla="*/ 0 w 1770"/>
                <a:gd name="T49" fmla="*/ 1105 h 1780"/>
                <a:gd name="T50" fmla="*/ 22 w 1770"/>
                <a:gd name="T51" fmla="*/ 1083 h 1780"/>
                <a:gd name="T52" fmla="*/ 665 w 1770"/>
                <a:gd name="T53" fmla="*/ 1083 h 1780"/>
                <a:gd name="T54" fmla="*/ 1317 w 1770"/>
                <a:gd name="T55" fmla="*/ 431 h 1780"/>
                <a:gd name="T56" fmla="*/ 956 w 1770"/>
                <a:gd name="T57" fmla="*/ 431 h 1780"/>
                <a:gd name="T58" fmla="*/ 934 w 1770"/>
                <a:gd name="T59" fmla="*/ 409 h 1780"/>
                <a:gd name="T60" fmla="*/ 956 w 1770"/>
                <a:gd name="T61" fmla="*/ 387 h 1780"/>
                <a:gd name="T62" fmla="*/ 1371 w 1770"/>
                <a:gd name="T63" fmla="*/ 387 h 1780"/>
                <a:gd name="T64" fmla="*/ 1375 w 1770"/>
                <a:gd name="T65" fmla="*/ 387 h 1780"/>
                <a:gd name="T66" fmla="*/ 1375 w 1770"/>
                <a:gd name="T67" fmla="*/ 387 h 1780"/>
                <a:gd name="T68" fmla="*/ 1379 w 1770"/>
                <a:gd name="T69" fmla="*/ 388 h 1780"/>
                <a:gd name="T70" fmla="*/ 1379 w 1770"/>
                <a:gd name="T71" fmla="*/ 388 h 1780"/>
                <a:gd name="T72" fmla="*/ 1383 w 1770"/>
                <a:gd name="T73" fmla="*/ 390 h 1780"/>
                <a:gd name="T74" fmla="*/ 1383 w 1770"/>
                <a:gd name="T75" fmla="*/ 390 h 1780"/>
                <a:gd name="T76" fmla="*/ 1389 w 1770"/>
                <a:gd name="T77" fmla="*/ 396 h 1780"/>
                <a:gd name="T78" fmla="*/ 1389 w 1770"/>
                <a:gd name="T79" fmla="*/ 397 h 1780"/>
                <a:gd name="T80" fmla="*/ 1391 w 1770"/>
                <a:gd name="T81" fmla="*/ 400 h 1780"/>
                <a:gd name="T82" fmla="*/ 1391 w 1770"/>
                <a:gd name="T83" fmla="*/ 401 h 1780"/>
                <a:gd name="T84" fmla="*/ 1392 w 1770"/>
                <a:gd name="T85" fmla="*/ 404 h 1780"/>
                <a:gd name="T86" fmla="*/ 1392 w 1770"/>
                <a:gd name="T87" fmla="*/ 405 h 1780"/>
                <a:gd name="T88" fmla="*/ 1393 w 1770"/>
                <a:gd name="T89" fmla="*/ 409 h 1780"/>
                <a:gd name="T90" fmla="*/ 652 w 1770"/>
                <a:gd name="T91" fmla="*/ 1127 h 1780"/>
                <a:gd name="T92" fmla="*/ 44 w 1770"/>
                <a:gd name="T93" fmla="*/ 1127 h 1780"/>
                <a:gd name="T94" fmla="*/ 44 w 1770"/>
                <a:gd name="T95" fmla="*/ 1736 h 1780"/>
                <a:gd name="T96" fmla="*/ 652 w 1770"/>
                <a:gd name="T97" fmla="*/ 1736 h 1780"/>
                <a:gd name="T98" fmla="*/ 652 w 1770"/>
                <a:gd name="T99" fmla="*/ 1127 h 17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770" h="1780">
                  <a:moveTo>
                    <a:pt x="1770" y="22"/>
                  </a:moveTo>
                  <a:cubicBezTo>
                    <a:pt x="1770" y="1474"/>
                    <a:pt x="1770" y="1474"/>
                    <a:pt x="1770" y="1474"/>
                  </a:cubicBezTo>
                  <a:cubicBezTo>
                    <a:pt x="1770" y="1486"/>
                    <a:pt x="1760" y="1496"/>
                    <a:pt x="1748" y="1496"/>
                  </a:cubicBezTo>
                  <a:cubicBezTo>
                    <a:pt x="740" y="1496"/>
                    <a:pt x="740" y="1496"/>
                    <a:pt x="740" y="1496"/>
                  </a:cubicBezTo>
                  <a:cubicBezTo>
                    <a:pt x="740" y="1452"/>
                    <a:pt x="740" y="1452"/>
                    <a:pt x="740" y="1452"/>
                  </a:cubicBezTo>
                  <a:cubicBezTo>
                    <a:pt x="1726" y="1452"/>
                    <a:pt x="1726" y="1452"/>
                    <a:pt x="1726" y="1452"/>
                  </a:cubicBezTo>
                  <a:cubicBezTo>
                    <a:pt x="1726" y="44"/>
                    <a:pt x="1726" y="44"/>
                    <a:pt x="1726" y="44"/>
                  </a:cubicBezTo>
                  <a:cubicBezTo>
                    <a:pt x="317" y="44"/>
                    <a:pt x="317" y="44"/>
                    <a:pt x="317" y="44"/>
                  </a:cubicBezTo>
                  <a:cubicBezTo>
                    <a:pt x="317" y="1039"/>
                    <a:pt x="317" y="1039"/>
                    <a:pt x="317" y="1039"/>
                  </a:cubicBezTo>
                  <a:cubicBezTo>
                    <a:pt x="273" y="1039"/>
                    <a:pt x="273" y="1039"/>
                    <a:pt x="273" y="1039"/>
                  </a:cubicBezTo>
                  <a:cubicBezTo>
                    <a:pt x="273" y="22"/>
                    <a:pt x="273" y="22"/>
                    <a:pt x="273" y="22"/>
                  </a:cubicBezTo>
                  <a:cubicBezTo>
                    <a:pt x="273" y="9"/>
                    <a:pt x="283" y="0"/>
                    <a:pt x="295" y="0"/>
                  </a:cubicBezTo>
                  <a:cubicBezTo>
                    <a:pt x="1748" y="0"/>
                    <a:pt x="1748" y="0"/>
                    <a:pt x="1748" y="0"/>
                  </a:cubicBezTo>
                  <a:cubicBezTo>
                    <a:pt x="1760" y="0"/>
                    <a:pt x="1770" y="9"/>
                    <a:pt x="1770" y="22"/>
                  </a:cubicBezTo>
                  <a:close/>
                  <a:moveTo>
                    <a:pt x="1393" y="409"/>
                  </a:moveTo>
                  <a:cubicBezTo>
                    <a:pt x="1393" y="823"/>
                    <a:pt x="1393" y="823"/>
                    <a:pt x="1393" y="823"/>
                  </a:cubicBezTo>
                  <a:cubicBezTo>
                    <a:pt x="1393" y="835"/>
                    <a:pt x="1383" y="845"/>
                    <a:pt x="1371" y="845"/>
                  </a:cubicBezTo>
                  <a:cubicBezTo>
                    <a:pt x="1358" y="845"/>
                    <a:pt x="1349" y="835"/>
                    <a:pt x="1349" y="823"/>
                  </a:cubicBezTo>
                  <a:cubicBezTo>
                    <a:pt x="1349" y="462"/>
                    <a:pt x="1349" y="462"/>
                    <a:pt x="1349" y="462"/>
                  </a:cubicBezTo>
                  <a:cubicBezTo>
                    <a:pt x="696" y="1114"/>
                    <a:pt x="696" y="1114"/>
                    <a:pt x="696" y="1114"/>
                  </a:cubicBezTo>
                  <a:cubicBezTo>
                    <a:pt x="696" y="1758"/>
                    <a:pt x="696" y="1758"/>
                    <a:pt x="696" y="1758"/>
                  </a:cubicBezTo>
                  <a:cubicBezTo>
                    <a:pt x="696" y="1770"/>
                    <a:pt x="686" y="1780"/>
                    <a:pt x="674" y="1780"/>
                  </a:cubicBezTo>
                  <a:cubicBezTo>
                    <a:pt x="22" y="1780"/>
                    <a:pt x="22" y="1780"/>
                    <a:pt x="22" y="1780"/>
                  </a:cubicBezTo>
                  <a:cubicBezTo>
                    <a:pt x="9" y="1780"/>
                    <a:pt x="0" y="1770"/>
                    <a:pt x="0" y="1758"/>
                  </a:cubicBezTo>
                  <a:cubicBezTo>
                    <a:pt x="0" y="1105"/>
                    <a:pt x="0" y="1105"/>
                    <a:pt x="0" y="1105"/>
                  </a:cubicBezTo>
                  <a:cubicBezTo>
                    <a:pt x="0" y="1093"/>
                    <a:pt x="9" y="1083"/>
                    <a:pt x="22" y="1083"/>
                  </a:cubicBezTo>
                  <a:cubicBezTo>
                    <a:pt x="665" y="1083"/>
                    <a:pt x="665" y="1083"/>
                    <a:pt x="665" y="1083"/>
                  </a:cubicBezTo>
                  <a:cubicBezTo>
                    <a:pt x="1317" y="431"/>
                    <a:pt x="1317" y="431"/>
                    <a:pt x="1317" y="431"/>
                  </a:cubicBezTo>
                  <a:cubicBezTo>
                    <a:pt x="956" y="431"/>
                    <a:pt x="956" y="431"/>
                    <a:pt x="956" y="431"/>
                  </a:cubicBezTo>
                  <a:cubicBezTo>
                    <a:pt x="944" y="431"/>
                    <a:pt x="934" y="421"/>
                    <a:pt x="934" y="409"/>
                  </a:cubicBezTo>
                  <a:cubicBezTo>
                    <a:pt x="934" y="396"/>
                    <a:pt x="944" y="387"/>
                    <a:pt x="956" y="387"/>
                  </a:cubicBezTo>
                  <a:cubicBezTo>
                    <a:pt x="1371" y="387"/>
                    <a:pt x="1371" y="387"/>
                    <a:pt x="1371" y="387"/>
                  </a:cubicBezTo>
                  <a:cubicBezTo>
                    <a:pt x="1372" y="387"/>
                    <a:pt x="1373" y="387"/>
                    <a:pt x="1375" y="387"/>
                  </a:cubicBezTo>
                  <a:cubicBezTo>
                    <a:pt x="1375" y="387"/>
                    <a:pt x="1375" y="387"/>
                    <a:pt x="1375" y="387"/>
                  </a:cubicBezTo>
                  <a:cubicBezTo>
                    <a:pt x="1376" y="387"/>
                    <a:pt x="1377" y="388"/>
                    <a:pt x="1379" y="388"/>
                  </a:cubicBezTo>
                  <a:cubicBezTo>
                    <a:pt x="1379" y="388"/>
                    <a:pt x="1379" y="388"/>
                    <a:pt x="1379" y="388"/>
                  </a:cubicBezTo>
                  <a:cubicBezTo>
                    <a:pt x="1380" y="389"/>
                    <a:pt x="1381" y="389"/>
                    <a:pt x="1383" y="390"/>
                  </a:cubicBezTo>
                  <a:cubicBezTo>
                    <a:pt x="1383" y="390"/>
                    <a:pt x="1383" y="390"/>
                    <a:pt x="1383" y="390"/>
                  </a:cubicBezTo>
                  <a:cubicBezTo>
                    <a:pt x="1385" y="392"/>
                    <a:pt x="1387" y="394"/>
                    <a:pt x="1389" y="396"/>
                  </a:cubicBezTo>
                  <a:cubicBezTo>
                    <a:pt x="1389" y="396"/>
                    <a:pt x="1389" y="397"/>
                    <a:pt x="1389" y="397"/>
                  </a:cubicBezTo>
                  <a:cubicBezTo>
                    <a:pt x="1390" y="398"/>
                    <a:pt x="1390" y="399"/>
                    <a:pt x="1391" y="400"/>
                  </a:cubicBezTo>
                  <a:cubicBezTo>
                    <a:pt x="1391" y="400"/>
                    <a:pt x="1391" y="400"/>
                    <a:pt x="1391" y="401"/>
                  </a:cubicBezTo>
                  <a:cubicBezTo>
                    <a:pt x="1392" y="402"/>
                    <a:pt x="1392" y="403"/>
                    <a:pt x="1392" y="404"/>
                  </a:cubicBezTo>
                  <a:cubicBezTo>
                    <a:pt x="1392" y="404"/>
                    <a:pt x="1392" y="404"/>
                    <a:pt x="1392" y="405"/>
                  </a:cubicBezTo>
                  <a:cubicBezTo>
                    <a:pt x="1392" y="406"/>
                    <a:pt x="1393" y="407"/>
                    <a:pt x="1393" y="409"/>
                  </a:cubicBezTo>
                  <a:close/>
                  <a:moveTo>
                    <a:pt x="652" y="1127"/>
                  </a:moveTo>
                  <a:cubicBezTo>
                    <a:pt x="44" y="1127"/>
                    <a:pt x="44" y="1127"/>
                    <a:pt x="44" y="1127"/>
                  </a:cubicBezTo>
                  <a:cubicBezTo>
                    <a:pt x="44" y="1736"/>
                    <a:pt x="44" y="1736"/>
                    <a:pt x="44" y="1736"/>
                  </a:cubicBezTo>
                  <a:cubicBezTo>
                    <a:pt x="652" y="1736"/>
                    <a:pt x="652" y="1736"/>
                    <a:pt x="652" y="1736"/>
                  </a:cubicBezTo>
                  <a:lnTo>
                    <a:pt x="652" y="1127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5" name="Freeform 21">
              <a:extLst>
                <a:ext uri="{FF2B5EF4-FFF2-40B4-BE49-F238E27FC236}">
                  <a16:creationId xmlns:a16="http://schemas.microsoft.com/office/drawing/2014/main" id="{F25D7C95-F3BB-413B-88CB-41E7B49FD18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336" y="656"/>
              <a:ext cx="2986" cy="3010"/>
            </a:xfrm>
            <a:custGeom>
              <a:avLst/>
              <a:gdLst>
                <a:gd name="T0" fmla="*/ 284 w 1594"/>
                <a:gd name="T1" fmla="*/ 0 h 1605"/>
                <a:gd name="T2" fmla="*/ 1584 w 1594"/>
                <a:gd name="T3" fmla="*/ 0 h 1605"/>
                <a:gd name="T4" fmla="*/ 1594 w 1594"/>
                <a:gd name="T5" fmla="*/ 10 h 1605"/>
                <a:gd name="T6" fmla="*/ 1594 w 1594"/>
                <a:gd name="T7" fmla="*/ 1312 h 1605"/>
                <a:gd name="T8" fmla="*/ 1584 w 1594"/>
                <a:gd name="T9" fmla="*/ 1322 h 1605"/>
                <a:gd name="T10" fmla="*/ 652 w 1594"/>
                <a:gd name="T11" fmla="*/ 1322 h 1605"/>
                <a:gd name="T12" fmla="*/ 652 w 1594"/>
                <a:gd name="T13" fmla="*/ 1046 h 1605"/>
                <a:gd name="T14" fmla="*/ 1217 w 1594"/>
                <a:gd name="T15" fmla="*/ 481 h 1605"/>
                <a:gd name="T16" fmla="*/ 1217 w 1594"/>
                <a:gd name="T17" fmla="*/ 736 h 1605"/>
                <a:gd name="T18" fmla="*/ 1281 w 1594"/>
                <a:gd name="T19" fmla="*/ 802 h 1605"/>
                <a:gd name="T20" fmla="*/ 1349 w 1594"/>
                <a:gd name="T21" fmla="*/ 734 h 1605"/>
                <a:gd name="T22" fmla="*/ 1349 w 1594"/>
                <a:gd name="T23" fmla="*/ 296 h 1605"/>
                <a:gd name="T24" fmla="*/ 1309 w 1594"/>
                <a:gd name="T25" fmla="*/ 256 h 1605"/>
                <a:gd name="T26" fmla="*/ 868 w 1594"/>
                <a:gd name="T27" fmla="*/ 256 h 1605"/>
                <a:gd name="T28" fmla="*/ 802 w 1594"/>
                <a:gd name="T29" fmla="*/ 322 h 1605"/>
                <a:gd name="T30" fmla="*/ 802 w 1594"/>
                <a:gd name="T31" fmla="*/ 322 h 1605"/>
                <a:gd name="T32" fmla="*/ 868 w 1594"/>
                <a:gd name="T33" fmla="*/ 388 h 1605"/>
                <a:gd name="T34" fmla="*/ 1123 w 1594"/>
                <a:gd name="T35" fmla="*/ 388 h 1605"/>
                <a:gd name="T36" fmla="*/ 559 w 1594"/>
                <a:gd name="T37" fmla="*/ 952 h 1605"/>
                <a:gd name="T38" fmla="*/ 274 w 1594"/>
                <a:gd name="T39" fmla="*/ 952 h 1605"/>
                <a:gd name="T40" fmla="*/ 274 w 1594"/>
                <a:gd name="T41" fmla="*/ 10 h 1605"/>
                <a:gd name="T42" fmla="*/ 284 w 1594"/>
                <a:gd name="T43" fmla="*/ 0 h 1605"/>
                <a:gd name="T44" fmla="*/ 510 w 1594"/>
                <a:gd name="T45" fmla="*/ 1084 h 1605"/>
                <a:gd name="T46" fmla="*/ 10 w 1594"/>
                <a:gd name="T47" fmla="*/ 1084 h 1605"/>
                <a:gd name="T48" fmla="*/ 0 w 1594"/>
                <a:gd name="T49" fmla="*/ 1094 h 1605"/>
                <a:gd name="T50" fmla="*/ 0 w 1594"/>
                <a:gd name="T51" fmla="*/ 1595 h 1605"/>
                <a:gd name="T52" fmla="*/ 10 w 1594"/>
                <a:gd name="T53" fmla="*/ 1605 h 1605"/>
                <a:gd name="T54" fmla="*/ 510 w 1594"/>
                <a:gd name="T55" fmla="*/ 1605 h 1605"/>
                <a:gd name="T56" fmla="*/ 520 w 1594"/>
                <a:gd name="T57" fmla="*/ 1595 h 1605"/>
                <a:gd name="T58" fmla="*/ 520 w 1594"/>
                <a:gd name="T59" fmla="*/ 1094 h 1605"/>
                <a:gd name="T60" fmla="*/ 510 w 1594"/>
                <a:gd name="T61" fmla="*/ 1084 h 16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594" h="1605">
                  <a:moveTo>
                    <a:pt x="284" y="0"/>
                  </a:moveTo>
                  <a:cubicBezTo>
                    <a:pt x="1584" y="0"/>
                    <a:pt x="1584" y="0"/>
                    <a:pt x="1584" y="0"/>
                  </a:cubicBezTo>
                  <a:cubicBezTo>
                    <a:pt x="1589" y="0"/>
                    <a:pt x="1594" y="5"/>
                    <a:pt x="1594" y="10"/>
                  </a:cubicBezTo>
                  <a:cubicBezTo>
                    <a:pt x="1594" y="1312"/>
                    <a:pt x="1594" y="1312"/>
                    <a:pt x="1594" y="1312"/>
                  </a:cubicBezTo>
                  <a:cubicBezTo>
                    <a:pt x="1594" y="1317"/>
                    <a:pt x="1589" y="1322"/>
                    <a:pt x="1584" y="1322"/>
                  </a:cubicBezTo>
                  <a:cubicBezTo>
                    <a:pt x="652" y="1322"/>
                    <a:pt x="652" y="1322"/>
                    <a:pt x="652" y="1322"/>
                  </a:cubicBezTo>
                  <a:cubicBezTo>
                    <a:pt x="652" y="1046"/>
                    <a:pt x="652" y="1046"/>
                    <a:pt x="652" y="1046"/>
                  </a:cubicBezTo>
                  <a:cubicBezTo>
                    <a:pt x="1217" y="481"/>
                    <a:pt x="1217" y="481"/>
                    <a:pt x="1217" y="481"/>
                  </a:cubicBezTo>
                  <a:cubicBezTo>
                    <a:pt x="1217" y="736"/>
                    <a:pt x="1217" y="736"/>
                    <a:pt x="1217" y="736"/>
                  </a:cubicBezTo>
                  <a:cubicBezTo>
                    <a:pt x="1217" y="772"/>
                    <a:pt x="1245" y="801"/>
                    <a:pt x="1281" y="802"/>
                  </a:cubicBezTo>
                  <a:cubicBezTo>
                    <a:pt x="1318" y="802"/>
                    <a:pt x="1349" y="771"/>
                    <a:pt x="1349" y="734"/>
                  </a:cubicBezTo>
                  <a:cubicBezTo>
                    <a:pt x="1349" y="296"/>
                    <a:pt x="1349" y="296"/>
                    <a:pt x="1349" y="296"/>
                  </a:cubicBezTo>
                  <a:cubicBezTo>
                    <a:pt x="1349" y="273"/>
                    <a:pt x="1331" y="256"/>
                    <a:pt x="1309" y="256"/>
                  </a:cubicBezTo>
                  <a:cubicBezTo>
                    <a:pt x="868" y="256"/>
                    <a:pt x="868" y="256"/>
                    <a:pt x="868" y="256"/>
                  </a:cubicBezTo>
                  <a:cubicBezTo>
                    <a:pt x="832" y="256"/>
                    <a:pt x="802" y="285"/>
                    <a:pt x="802" y="322"/>
                  </a:cubicBezTo>
                  <a:cubicBezTo>
                    <a:pt x="802" y="322"/>
                    <a:pt x="802" y="322"/>
                    <a:pt x="802" y="322"/>
                  </a:cubicBezTo>
                  <a:cubicBezTo>
                    <a:pt x="802" y="358"/>
                    <a:pt x="832" y="388"/>
                    <a:pt x="868" y="388"/>
                  </a:cubicBezTo>
                  <a:cubicBezTo>
                    <a:pt x="1123" y="388"/>
                    <a:pt x="1123" y="388"/>
                    <a:pt x="1123" y="388"/>
                  </a:cubicBezTo>
                  <a:cubicBezTo>
                    <a:pt x="559" y="952"/>
                    <a:pt x="559" y="952"/>
                    <a:pt x="559" y="952"/>
                  </a:cubicBezTo>
                  <a:cubicBezTo>
                    <a:pt x="274" y="952"/>
                    <a:pt x="274" y="952"/>
                    <a:pt x="274" y="952"/>
                  </a:cubicBezTo>
                  <a:cubicBezTo>
                    <a:pt x="274" y="10"/>
                    <a:pt x="274" y="10"/>
                    <a:pt x="274" y="10"/>
                  </a:cubicBezTo>
                  <a:cubicBezTo>
                    <a:pt x="274" y="5"/>
                    <a:pt x="278" y="0"/>
                    <a:pt x="284" y="0"/>
                  </a:cubicBezTo>
                  <a:close/>
                  <a:moveTo>
                    <a:pt x="510" y="1084"/>
                  </a:moveTo>
                  <a:cubicBezTo>
                    <a:pt x="10" y="1084"/>
                    <a:pt x="10" y="1084"/>
                    <a:pt x="10" y="1084"/>
                  </a:cubicBezTo>
                  <a:cubicBezTo>
                    <a:pt x="4" y="1084"/>
                    <a:pt x="0" y="1089"/>
                    <a:pt x="0" y="1094"/>
                  </a:cubicBezTo>
                  <a:cubicBezTo>
                    <a:pt x="0" y="1595"/>
                    <a:pt x="0" y="1595"/>
                    <a:pt x="0" y="1595"/>
                  </a:cubicBezTo>
                  <a:cubicBezTo>
                    <a:pt x="0" y="1600"/>
                    <a:pt x="4" y="1605"/>
                    <a:pt x="10" y="1605"/>
                  </a:cubicBezTo>
                  <a:cubicBezTo>
                    <a:pt x="510" y="1605"/>
                    <a:pt x="510" y="1605"/>
                    <a:pt x="510" y="1605"/>
                  </a:cubicBezTo>
                  <a:cubicBezTo>
                    <a:pt x="515" y="1605"/>
                    <a:pt x="520" y="1600"/>
                    <a:pt x="520" y="1595"/>
                  </a:cubicBezTo>
                  <a:cubicBezTo>
                    <a:pt x="520" y="1094"/>
                    <a:pt x="520" y="1094"/>
                    <a:pt x="520" y="1094"/>
                  </a:cubicBezTo>
                  <a:cubicBezTo>
                    <a:pt x="520" y="1089"/>
                    <a:pt x="515" y="1084"/>
                    <a:pt x="510" y="1084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66" name="Group 65">
            <a:extLst>
              <a:ext uri="{FF2B5EF4-FFF2-40B4-BE49-F238E27FC236}">
                <a16:creationId xmlns:a16="http://schemas.microsoft.com/office/drawing/2014/main" id="{9BDA4F81-506A-4FB6-B555-88E7CDD79055}"/>
              </a:ext>
            </a:extLst>
          </p:cNvPr>
          <p:cNvGrpSpPr>
            <a:grpSpLocks noChangeAspect="1"/>
          </p:cNvGrpSpPr>
          <p:nvPr/>
        </p:nvGrpSpPr>
        <p:grpSpPr>
          <a:xfrm>
            <a:off x="139387" y="2903765"/>
            <a:ext cx="675028" cy="675028"/>
            <a:chOff x="1983582" y="2081213"/>
            <a:chExt cx="1646238" cy="1646237"/>
          </a:xfrm>
        </p:grpSpPr>
        <p:sp>
          <p:nvSpPr>
            <p:cNvPr id="67" name="AutoShape 90">
              <a:extLst>
                <a:ext uri="{FF2B5EF4-FFF2-40B4-BE49-F238E27FC236}">
                  <a16:creationId xmlns:a16="http://schemas.microsoft.com/office/drawing/2014/main" id="{73C6D395-267E-4871-8E9B-BFB8A5125363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1983582" y="2081213"/>
              <a:ext cx="1646238" cy="16462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575757"/>
                </a:solidFill>
              </a:endParaRPr>
            </a:p>
          </p:txBody>
        </p:sp>
        <p:grpSp>
          <p:nvGrpSpPr>
            <p:cNvPr id="68" name="Group 67">
              <a:extLst>
                <a:ext uri="{FF2B5EF4-FFF2-40B4-BE49-F238E27FC236}">
                  <a16:creationId xmlns:a16="http://schemas.microsoft.com/office/drawing/2014/main" id="{F1F92472-52BA-4787-A98C-5FB872E1E86A}"/>
                </a:ext>
              </a:extLst>
            </p:cNvPr>
            <p:cNvGrpSpPr/>
            <p:nvPr/>
          </p:nvGrpSpPr>
          <p:grpSpPr>
            <a:xfrm>
              <a:off x="2137570" y="2235200"/>
              <a:ext cx="1336675" cy="1336675"/>
              <a:chOff x="2137570" y="2235200"/>
              <a:chExt cx="1336675" cy="1336675"/>
            </a:xfrm>
          </p:grpSpPr>
          <p:sp>
            <p:nvSpPr>
              <p:cNvPr id="69" name="Freeform 92">
                <a:extLst>
                  <a:ext uri="{FF2B5EF4-FFF2-40B4-BE49-F238E27FC236}">
                    <a16:creationId xmlns:a16="http://schemas.microsoft.com/office/drawing/2014/main" id="{801305FB-B276-4878-B232-751644D90C2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55032" y="2913063"/>
                <a:ext cx="665163" cy="631825"/>
              </a:xfrm>
              <a:custGeom>
                <a:avLst/>
                <a:gdLst>
                  <a:gd name="T0" fmla="*/ 906 w 932"/>
                  <a:gd name="T1" fmla="*/ 0 h 884"/>
                  <a:gd name="T2" fmla="*/ 27 w 932"/>
                  <a:gd name="T3" fmla="*/ 0 h 884"/>
                  <a:gd name="T4" fmla="*/ 20 w 932"/>
                  <a:gd name="T5" fmla="*/ 1 h 884"/>
                  <a:gd name="T6" fmla="*/ 15 w 932"/>
                  <a:gd name="T7" fmla="*/ 3 h 884"/>
                  <a:gd name="T8" fmla="*/ 0 w 932"/>
                  <a:gd name="T9" fmla="*/ 26 h 884"/>
                  <a:gd name="T10" fmla="*/ 0 w 932"/>
                  <a:gd name="T11" fmla="*/ 859 h 884"/>
                  <a:gd name="T12" fmla="*/ 27 w 932"/>
                  <a:gd name="T13" fmla="*/ 884 h 884"/>
                  <a:gd name="T14" fmla="*/ 906 w 932"/>
                  <a:gd name="T15" fmla="*/ 884 h 884"/>
                  <a:gd name="T16" fmla="*/ 919 w 932"/>
                  <a:gd name="T17" fmla="*/ 880 h 884"/>
                  <a:gd name="T18" fmla="*/ 921 w 932"/>
                  <a:gd name="T19" fmla="*/ 879 h 884"/>
                  <a:gd name="T20" fmla="*/ 932 w 932"/>
                  <a:gd name="T21" fmla="*/ 859 h 884"/>
                  <a:gd name="T22" fmla="*/ 932 w 932"/>
                  <a:gd name="T23" fmla="*/ 26 h 884"/>
                  <a:gd name="T24" fmla="*/ 906 w 932"/>
                  <a:gd name="T25" fmla="*/ 0 h 8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932" h="884">
                    <a:moveTo>
                      <a:pt x="906" y="0"/>
                    </a:moveTo>
                    <a:cubicBezTo>
                      <a:pt x="27" y="0"/>
                      <a:pt x="27" y="0"/>
                      <a:pt x="27" y="0"/>
                    </a:cubicBezTo>
                    <a:cubicBezTo>
                      <a:pt x="25" y="0"/>
                      <a:pt x="22" y="1"/>
                      <a:pt x="20" y="1"/>
                    </a:cubicBezTo>
                    <a:cubicBezTo>
                      <a:pt x="18" y="2"/>
                      <a:pt x="17" y="3"/>
                      <a:pt x="15" y="3"/>
                    </a:cubicBezTo>
                    <a:cubicBezTo>
                      <a:pt x="7" y="7"/>
                      <a:pt x="0" y="16"/>
                      <a:pt x="0" y="26"/>
                    </a:cubicBezTo>
                    <a:cubicBezTo>
                      <a:pt x="0" y="859"/>
                      <a:pt x="0" y="859"/>
                      <a:pt x="0" y="859"/>
                    </a:cubicBezTo>
                    <a:cubicBezTo>
                      <a:pt x="0" y="873"/>
                      <a:pt x="12" y="884"/>
                      <a:pt x="27" y="884"/>
                    </a:cubicBezTo>
                    <a:cubicBezTo>
                      <a:pt x="906" y="884"/>
                      <a:pt x="906" y="884"/>
                      <a:pt x="906" y="884"/>
                    </a:cubicBezTo>
                    <a:cubicBezTo>
                      <a:pt x="911" y="884"/>
                      <a:pt x="915" y="883"/>
                      <a:pt x="919" y="880"/>
                    </a:cubicBezTo>
                    <a:cubicBezTo>
                      <a:pt x="920" y="880"/>
                      <a:pt x="921" y="880"/>
                      <a:pt x="921" y="879"/>
                    </a:cubicBezTo>
                    <a:cubicBezTo>
                      <a:pt x="928" y="875"/>
                      <a:pt x="932" y="867"/>
                      <a:pt x="932" y="859"/>
                    </a:cubicBezTo>
                    <a:cubicBezTo>
                      <a:pt x="932" y="26"/>
                      <a:pt x="932" y="26"/>
                      <a:pt x="932" y="26"/>
                    </a:cubicBezTo>
                    <a:cubicBezTo>
                      <a:pt x="932" y="12"/>
                      <a:pt x="920" y="0"/>
                      <a:pt x="906" y="0"/>
                    </a:cubicBez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575757"/>
                  </a:solidFill>
                </a:endParaRPr>
              </a:p>
            </p:txBody>
          </p:sp>
          <p:sp>
            <p:nvSpPr>
              <p:cNvPr id="70" name="Freeform 93">
                <a:extLst>
                  <a:ext uri="{FF2B5EF4-FFF2-40B4-BE49-F238E27FC236}">
                    <a16:creationId xmlns:a16="http://schemas.microsoft.com/office/drawing/2014/main" id="{EDA265B7-AC2B-4664-B6FF-FAE49CE65F3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137570" y="2235200"/>
                <a:ext cx="1336675" cy="1336675"/>
              </a:xfrm>
              <a:custGeom>
                <a:avLst/>
                <a:gdLst>
                  <a:gd name="T0" fmla="*/ 1872 w 1872"/>
                  <a:gd name="T1" fmla="*/ 44 h 1872"/>
                  <a:gd name="T2" fmla="*/ 1872 w 1872"/>
                  <a:gd name="T3" fmla="*/ 1828 h 1872"/>
                  <a:gd name="T4" fmla="*/ 1828 w 1872"/>
                  <a:gd name="T5" fmla="*/ 1872 h 1872"/>
                  <a:gd name="T6" fmla="*/ 957 w 1872"/>
                  <a:gd name="T7" fmla="*/ 1872 h 1872"/>
                  <a:gd name="T8" fmla="*/ 966 w 1872"/>
                  <a:gd name="T9" fmla="*/ 1867 h 1872"/>
                  <a:gd name="T10" fmla="*/ 997 w 1872"/>
                  <a:gd name="T11" fmla="*/ 1828 h 1872"/>
                  <a:gd name="T12" fmla="*/ 1828 w 1872"/>
                  <a:gd name="T13" fmla="*/ 1828 h 1872"/>
                  <a:gd name="T14" fmla="*/ 1828 w 1872"/>
                  <a:gd name="T15" fmla="*/ 44 h 1872"/>
                  <a:gd name="T16" fmla="*/ 44 w 1872"/>
                  <a:gd name="T17" fmla="*/ 44 h 1872"/>
                  <a:gd name="T18" fmla="*/ 44 w 1872"/>
                  <a:gd name="T19" fmla="*/ 906 h 1872"/>
                  <a:gd name="T20" fmla="*/ 19 w 1872"/>
                  <a:gd name="T21" fmla="*/ 913 h 1872"/>
                  <a:gd name="T22" fmla="*/ 0 w 1872"/>
                  <a:gd name="T23" fmla="*/ 927 h 1872"/>
                  <a:gd name="T24" fmla="*/ 0 w 1872"/>
                  <a:gd name="T25" fmla="*/ 44 h 1872"/>
                  <a:gd name="T26" fmla="*/ 44 w 1872"/>
                  <a:gd name="T27" fmla="*/ 0 h 1872"/>
                  <a:gd name="T28" fmla="*/ 1828 w 1872"/>
                  <a:gd name="T29" fmla="*/ 0 h 1872"/>
                  <a:gd name="T30" fmla="*/ 1872 w 1872"/>
                  <a:gd name="T31" fmla="*/ 44 h 1872"/>
                  <a:gd name="T32" fmla="*/ 1273 w 1872"/>
                  <a:gd name="T33" fmla="*/ 241 h 1872"/>
                  <a:gd name="T34" fmla="*/ 1272 w 1872"/>
                  <a:gd name="T35" fmla="*/ 241 h 1872"/>
                  <a:gd name="T36" fmla="*/ 1271 w 1872"/>
                  <a:gd name="T37" fmla="*/ 241 h 1872"/>
                  <a:gd name="T38" fmla="*/ 1249 w 1872"/>
                  <a:gd name="T39" fmla="*/ 263 h 1872"/>
                  <a:gd name="T40" fmla="*/ 1249 w 1872"/>
                  <a:gd name="T41" fmla="*/ 593 h 1872"/>
                  <a:gd name="T42" fmla="*/ 1249 w 1872"/>
                  <a:gd name="T43" fmla="*/ 593 h 1872"/>
                  <a:gd name="T44" fmla="*/ 1249 w 1872"/>
                  <a:gd name="T45" fmla="*/ 593 h 1872"/>
                  <a:gd name="T46" fmla="*/ 1249 w 1872"/>
                  <a:gd name="T47" fmla="*/ 593 h 1872"/>
                  <a:gd name="T48" fmla="*/ 1250 w 1872"/>
                  <a:gd name="T49" fmla="*/ 597 h 1872"/>
                  <a:gd name="T50" fmla="*/ 1250 w 1872"/>
                  <a:gd name="T51" fmla="*/ 598 h 1872"/>
                  <a:gd name="T52" fmla="*/ 1251 w 1872"/>
                  <a:gd name="T53" fmla="*/ 601 h 1872"/>
                  <a:gd name="T54" fmla="*/ 1251 w 1872"/>
                  <a:gd name="T55" fmla="*/ 602 h 1872"/>
                  <a:gd name="T56" fmla="*/ 1253 w 1872"/>
                  <a:gd name="T57" fmla="*/ 605 h 1872"/>
                  <a:gd name="T58" fmla="*/ 1253 w 1872"/>
                  <a:gd name="T59" fmla="*/ 606 h 1872"/>
                  <a:gd name="T60" fmla="*/ 1256 w 1872"/>
                  <a:gd name="T61" fmla="*/ 609 h 1872"/>
                  <a:gd name="T62" fmla="*/ 1256 w 1872"/>
                  <a:gd name="T63" fmla="*/ 609 h 1872"/>
                  <a:gd name="T64" fmla="*/ 1256 w 1872"/>
                  <a:gd name="T65" fmla="*/ 609 h 1872"/>
                  <a:gd name="T66" fmla="*/ 1259 w 1872"/>
                  <a:gd name="T67" fmla="*/ 612 h 1872"/>
                  <a:gd name="T68" fmla="*/ 1260 w 1872"/>
                  <a:gd name="T69" fmla="*/ 612 h 1872"/>
                  <a:gd name="T70" fmla="*/ 1263 w 1872"/>
                  <a:gd name="T71" fmla="*/ 614 h 1872"/>
                  <a:gd name="T72" fmla="*/ 1263 w 1872"/>
                  <a:gd name="T73" fmla="*/ 614 h 1872"/>
                  <a:gd name="T74" fmla="*/ 1267 w 1872"/>
                  <a:gd name="T75" fmla="*/ 615 h 1872"/>
                  <a:gd name="T76" fmla="*/ 1267 w 1872"/>
                  <a:gd name="T77" fmla="*/ 615 h 1872"/>
                  <a:gd name="T78" fmla="*/ 1271 w 1872"/>
                  <a:gd name="T79" fmla="*/ 615 h 1872"/>
                  <a:gd name="T80" fmla="*/ 1273 w 1872"/>
                  <a:gd name="T81" fmla="*/ 615 h 1872"/>
                  <a:gd name="T82" fmla="*/ 1600 w 1872"/>
                  <a:gd name="T83" fmla="*/ 615 h 1872"/>
                  <a:gd name="T84" fmla="*/ 1601 w 1872"/>
                  <a:gd name="T85" fmla="*/ 615 h 1872"/>
                  <a:gd name="T86" fmla="*/ 1623 w 1872"/>
                  <a:gd name="T87" fmla="*/ 593 h 1872"/>
                  <a:gd name="T88" fmla="*/ 1601 w 1872"/>
                  <a:gd name="T89" fmla="*/ 571 h 1872"/>
                  <a:gd name="T90" fmla="*/ 1600 w 1872"/>
                  <a:gd name="T91" fmla="*/ 571 h 1872"/>
                  <a:gd name="T92" fmla="*/ 1327 w 1872"/>
                  <a:gd name="T93" fmla="*/ 571 h 1872"/>
                  <a:gd name="T94" fmla="*/ 1720 w 1872"/>
                  <a:gd name="T95" fmla="*/ 183 h 1872"/>
                  <a:gd name="T96" fmla="*/ 1720 w 1872"/>
                  <a:gd name="T97" fmla="*/ 152 h 1872"/>
                  <a:gd name="T98" fmla="*/ 1704 w 1872"/>
                  <a:gd name="T99" fmla="*/ 146 h 1872"/>
                  <a:gd name="T100" fmla="*/ 1688 w 1872"/>
                  <a:gd name="T101" fmla="*/ 152 h 1872"/>
                  <a:gd name="T102" fmla="*/ 1295 w 1872"/>
                  <a:gd name="T103" fmla="*/ 539 h 1872"/>
                  <a:gd name="T104" fmla="*/ 1295 w 1872"/>
                  <a:gd name="T105" fmla="*/ 263 h 1872"/>
                  <a:gd name="T106" fmla="*/ 1273 w 1872"/>
                  <a:gd name="T107" fmla="*/ 241 h 18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1872" h="1872">
                    <a:moveTo>
                      <a:pt x="1872" y="44"/>
                    </a:moveTo>
                    <a:cubicBezTo>
                      <a:pt x="1872" y="1828"/>
                      <a:pt x="1872" y="1828"/>
                      <a:pt x="1872" y="1828"/>
                    </a:cubicBezTo>
                    <a:cubicBezTo>
                      <a:pt x="1872" y="1852"/>
                      <a:pt x="1852" y="1872"/>
                      <a:pt x="1828" y="1872"/>
                    </a:cubicBezTo>
                    <a:cubicBezTo>
                      <a:pt x="957" y="1872"/>
                      <a:pt x="957" y="1872"/>
                      <a:pt x="957" y="1872"/>
                    </a:cubicBezTo>
                    <a:cubicBezTo>
                      <a:pt x="960" y="1871"/>
                      <a:pt x="963" y="1869"/>
                      <a:pt x="966" y="1867"/>
                    </a:cubicBezTo>
                    <a:cubicBezTo>
                      <a:pt x="981" y="1858"/>
                      <a:pt x="992" y="1844"/>
                      <a:pt x="997" y="1828"/>
                    </a:cubicBezTo>
                    <a:cubicBezTo>
                      <a:pt x="1828" y="1828"/>
                      <a:pt x="1828" y="1828"/>
                      <a:pt x="1828" y="1828"/>
                    </a:cubicBezTo>
                    <a:cubicBezTo>
                      <a:pt x="1828" y="44"/>
                      <a:pt x="1828" y="44"/>
                      <a:pt x="1828" y="44"/>
                    </a:cubicBezTo>
                    <a:cubicBezTo>
                      <a:pt x="44" y="44"/>
                      <a:pt x="44" y="44"/>
                      <a:pt x="44" y="44"/>
                    </a:cubicBezTo>
                    <a:cubicBezTo>
                      <a:pt x="44" y="906"/>
                      <a:pt x="44" y="906"/>
                      <a:pt x="44" y="906"/>
                    </a:cubicBezTo>
                    <a:cubicBezTo>
                      <a:pt x="36" y="907"/>
                      <a:pt x="27" y="909"/>
                      <a:pt x="19" y="913"/>
                    </a:cubicBezTo>
                    <a:cubicBezTo>
                      <a:pt x="12" y="917"/>
                      <a:pt x="6" y="921"/>
                      <a:pt x="0" y="927"/>
                    </a:cubicBezTo>
                    <a:cubicBezTo>
                      <a:pt x="0" y="44"/>
                      <a:pt x="0" y="44"/>
                      <a:pt x="0" y="44"/>
                    </a:cubicBezTo>
                    <a:cubicBezTo>
                      <a:pt x="0" y="20"/>
                      <a:pt x="20" y="0"/>
                      <a:pt x="44" y="0"/>
                    </a:cubicBezTo>
                    <a:cubicBezTo>
                      <a:pt x="1828" y="0"/>
                      <a:pt x="1828" y="0"/>
                      <a:pt x="1828" y="0"/>
                    </a:cubicBezTo>
                    <a:cubicBezTo>
                      <a:pt x="1852" y="0"/>
                      <a:pt x="1872" y="20"/>
                      <a:pt x="1872" y="44"/>
                    </a:cubicBezTo>
                    <a:close/>
                    <a:moveTo>
                      <a:pt x="1273" y="241"/>
                    </a:moveTo>
                    <a:cubicBezTo>
                      <a:pt x="1272" y="241"/>
                      <a:pt x="1272" y="241"/>
                      <a:pt x="1272" y="241"/>
                    </a:cubicBezTo>
                    <a:cubicBezTo>
                      <a:pt x="1272" y="241"/>
                      <a:pt x="1272" y="241"/>
                      <a:pt x="1271" y="241"/>
                    </a:cubicBezTo>
                    <a:cubicBezTo>
                      <a:pt x="1259" y="241"/>
                      <a:pt x="1249" y="250"/>
                      <a:pt x="1249" y="263"/>
                    </a:cubicBezTo>
                    <a:cubicBezTo>
                      <a:pt x="1249" y="593"/>
                      <a:pt x="1249" y="593"/>
                      <a:pt x="1249" y="593"/>
                    </a:cubicBezTo>
                    <a:cubicBezTo>
                      <a:pt x="1249" y="593"/>
                      <a:pt x="1249" y="593"/>
                      <a:pt x="1249" y="593"/>
                    </a:cubicBezTo>
                    <a:cubicBezTo>
                      <a:pt x="1249" y="593"/>
                      <a:pt x="1249" y="593"/>
                      <a:pt x="1249" y="593"/>
                    </a:cubicBezTo>
                    <a:cubicBezTo>
                      <a:pt x="1249" y="593"/>
                      <a:pt x="1249" y="593"/>
                      <a:pt x="1249" y="593"/>
                    </a:cubicBezTo>
                    <a:cubicBezTo>
                      <a:pt x="1249" y="595"/>
                      <a:pt x="1250" y="596"/>
                      <a:pt x="1250" y="597"/>
                    </a:cubicBezTo>
                    <a:cubicBezTo>
                      <a:pt x="1250" y="598"/>
                      <a:pt x="1250" y="598"/>
                      <a:pt x="1250" y="598"/>
                    </a:cubicBezTo>
                    <a:cubicBezTo>
                      <a:pt x="1250" y="599"/>
                      <a:pt x="1251" y="600"/>
                      <a:pt x="1251" y="601"/>
                    </a:cubicBezTo>
                    <a:cubicBezTo>
                      <a:pt x="1251" y="602"/>
                      <a:pt x="1251" y="602"/>
                      <a:pt x="1251" y="602"/>
                    </a:cubicBezTo>
                    <a:cubicBezTo>
                      <a:pt x="1252" y="603"/>
                      <a:pt x="1252" y="604"/>
                      <a:pt x="1253" y="605"/>
                    </a:cubicBezTo>
                    <a:cubicBezTo>
                      <a:pt x="1253" y="605"/>
                      <a:pt x="1253" y="605"/>
                      <a:pt x="1253" y="606"/>
                    </a:cubicBezTo>
                    <a:cubicBezTo>
                      <a:pt x="1254" y="607"/>
                      <a:pt x="1255" y="608"/>
                      <a:pt x="1256" y="609"/>
                    </a:cubicBezTo>
                    <a:cubicBezTo>
                      <a:pt x="1256" y="609"/>
                      <a:pt x="1256" y="609"/>
                      <a:pt x="1256" y="609"/>
                    </a:cubicBezTo>
                    <a:cubicBezTo>
                      <a:pt x="1256" y="609"/>
                      <a:pt x="1256" y="609"/>
                      <a:pt x="1256" y="609"/>
                    </a:cubicBezTo>
                    <a:cubicBezTo>
                      <a:pt x="1257" y="610"/>
                      <a:pt x="1258" y="611"/>
                      <a:pt x="1259" y="612"/>
                    </a:cubicBezTo>
                    <a:cubicBezTo>
                      <a:pt x="1259" y="612"/>
                      <a:pt x="1259" y="612"/>
                      <a:pt x="1260" y="612"/>
                    </a:cubicBezTo>
                    <a:cubicBezTo>
                      <a:pt x="1261" y="613"/>
                      <a:pt x="1262" y="613"/>
                      <a:pt x="1263" y="614"/>
                    </a:cubicBezTo>
                    <a:cubicBezTo>
                      <a:pt x="1263" y="614"/>
                      <a:pt x="1263" y="614"/>
                      <a:pt x="1263" y="614"/>
                    </a:cubicBezTo>
                    <a:cubicBezTo>
                      <a:pt x="1265" y="614"/>
                      <a:pt x="1266" y="615"/>
                      <a:pt x="1267" y="615"/>
                    </a:cubicBezTo>
                    <a:cubicBezTo>
                      <a:pt x="1267" y="615"/>
                      <a:pt x="1267" y="615"/>
                      <a:pt x="1267" y="615"/>
                    </a:cubicBezTo>
                    <a:cubicBezTo>
                      <a:pt x="1269" y="615"/>
                      <a:pt x="1270" y="615"/>
                      <a:pt x="1271" y="615"/>
                    </a:cubicBezTo>
                    <a:cubicBezTo>
                      <a:pt x="1273" y="615"/>
                      <a:pt x="1273" y="615"/>
                      <a:pt x="1273" y="615"/>
                    </a:cubicBezTo>
                    <a:cubicBezTo>
                      <a:pt x="1600" y="615"/>
                      <a:pt x="1600" y="615"/>
                      <a:pt x="1600" y="615"/>
                    </a:cubicBezTo>
                    <a:cubicBezTo>
                      <a:pt x="1601" y="615"/>
                      <a:pt x="1601" y="615"/>
                      <a:pt x="1601" y="615"/>
                    </a:cubicBezTo>
                    <a:cubicBezTo>
                      <a:pt x="1613" y="615"/>
                      <a:pt x="1623" y="606"/>
                      <a:pt x="1623" y="593"/>
                    </a:cubicBezTo>
                    <a:cubicBezTo>
                      <a:pt x="1623" y="581"/>
                      <a:pt x="1613" y="571"/>
                      <a:pt x="1601" y="571"/>
                    </a:cubicBezTo>
                    <a:cubicBezTo>
                      <a:pt x="1600" y="571"/>
                      <a:pt x="1600" y="571"/>
                      <a:pt x="1600" y="571"/>
                    </a:cubicBezTo>
                    <a:cubicBezTo>
                      <a:pt x="1327" y="571"/>
                      <a:pt x="1327" y="571"/>
                      <a:pt x="1327" y="571"/>
                    </a:cubicBezTo>
                    <a:cubicBezTo>
                      <a:pt x="1720" y="183"/>
                      <a:pt x="1720" y="183"/>
                      <a:pt x="1720" y="183"/>
                    </a:cubicBezTo>
                    <a:cubicBezTo>
                      <a:pt x="1728" y="175"/>
                      <a:pt x="1728" y="161"/>
                      <a:pt x="1720" y="152"/>
                    </a:cubicBezTo>
                    <a:cubicBezTo>
                      <a:pt x="1715" y="148"/>
                      <a:pt x="1710" y="146"/>
                      <a:pt x="1704" y="146"/>
                    </a:cubicBezTo>
                    <a:cubicBezTo>
                      <a:pt x="1698" y="146"/>
                      <a:pt x="1692" y="148"/>
                      <a:pt x="1688" y="152"/>
                    </a:cubicBezTo>
                    <a:cubicBezTo>
                      <a:pt x="1295" y="539"/>
                      <a:pt x="1295" y="539"/>
                      <a:pt x="1295" y="539"/>
                    </a:cubicBezTo>
                    <a:cubicBezTo>
                      <a:pt x="1295" y="263"/>
                      <a:pt x="1295" y="263"/>
                      <a:pt x="1295" y="263"/>
                    </a:cubicBezTo>
                    <a:cubicBezTo>
                      <a:pt x="1295" y="250"/>
                      <a:pt x="1285" y="241"/>
                      <a:pt x="1273" y="241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575757"/>
                  </a:solidFill>
                </a:endParaRPr>
              </a:p>
            </p:txBody>
          </p:sp>
        </p:grpSp>
      </p:grpSp>
      <p:sp>
        <p:nvSpPr>
          <p:cNvPr id="46" name="Fußzeilenplatzhalter 4">
            <a:extLst>
              <a:ext uri="{FF2B5EF4-FFF2-40B4-BE49-F238E27FC236}">
                <a16:creationId xmlns:a16="http://schemas.microsoft.com/office/drawing/2014/main" id="{5D3464AA-3EC4-C9AF-3D45-242933563C62}"/>
              </a:ext>
            </a:extLst>
          </p:cNvPr>
          <p:cNvSpPr txBox="1">
            <a:spLocks/>
          </p:cNvSpPr>
          <p:nvPr/>
        </p:nvSpPr>
        <p:spPr>
          <a:xfrm>
            <a:off x="311162" y="4854985"/>
            <a:ext cx="7829538" cy="28851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1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r>
              <a:rPr lang="en-US" dirty="0">
                <a:latin typeface="Arial"/>
                <a:cs typeface="Arial"/>
              </a:rPr>
              <a:t>◻︎ Outline | ◻︎ Organizational</a:t>
            </a:r>
            <a:r>
              <a:rPr lang="en-US" b="1" dirty="0">
                <a:latin typeface="Arial"/>
                <a:cs typeface="Arial"/>
              </a:rPr>
              <a:t> </a:t>
            </a:r>
            <a:r>
              <a:rPr lang="en-US" dirty="0">
                <a:latin typeface="Arial"/>
                <a:cs typeface="Arial"/>
              </a:rPr>
              <a:t>structure</a:t>
            </a:r>
            <a:r>
              <a:rPr lang="en-US" b="1" dirty="0">
                <a:latin typeface="Arial"/>
                <a:cs typeface="Arial"/>
              </a:rPr>
              <a:t> </a:t>
            </a:r>
            <a:r>
              <a:rPr lang="en-US" dirty="0">
                <a:latin typeface="Arial"/>
                <a:cs typeface="Arial"/>
              </a:rPr>
              <a:t>| ◼︎ </a:t>
            </a:r>
            <a:r>
              <a:rPr lang="en-US" b="1" dirty="0">
                <a:latin typeface="Arial"/>
                <a:cs typeface="Arial"/>
              </a:rPr>
              <a:t>Research</a:t>
            </a:r>
            <a:r>
              <a:rPr lang="en-US" dirty="0">
                <a:latin typeface="Arial"/>
                <a:cs typeface="Arial"/>
              </a:rPr>
              <a:t> </a:t>
            </a:r>
            <a:r>
              <a:rPr lang="en-US" b="1" dirty="0">
                <a:latin typeface="Arial"/>
                <a:cs typeface="Arial"/>
              </a:rPr>
              <a:t>Topics</a:t>
            </a:r>
            <a:r>
              <a:rPr lang="en-US" dirty="0">
                <a:latin typeface="Arial"/>
                <a:cs typeface="Arial"/>
              </a:rPr>
              <a:t> | ◻︎ ML Pipeline  | ◻︎ Next steps</a:t>
            </a:r>
          </a:p>
        </p:txBody>
      </p:sp>
    </p:spTree>
    <p:extLst>
      <p:ext uri="{BB962C8B-B14F-4D97-AF65-F5344CB8AC3E}">
        <p14:creationId xmlns:p14="http://schemas.microsoft.com/office/powerpoint/2010/main" val="27639877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 advTm="20000"/>
    </mc:Choice>
    <mc:Fallback xmlns="">
      <p:transition spd="slow" advClick="0" advTm="20000"/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7037&quot;&gt;&lt;version val=&quot;32866&quot;/&gt;&lt;CPresentation id=&quot;1&quot;&gt;&lt;m_precDefaultNumber&gt;&lt;m_yearfmt&gt;&lt;begin val=&quot;0&quot;/&gt;&lt;end val=&quot;4&quot;/&gt;&lt;/m_yearfmt&gt;&lt;/m_precDefaultNumber&gt;&lt;m_precDefaultPercent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  <p:tag name="EE4P_STYLE_ID" val="39dcc26a-7131-49f4-a9eb-1c0521500c03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FORMATWIZARD_TAG" val="Whi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FORMATWIZARD_TAG" val="Whi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FORMATWIZARD_TAG" val="Whi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FORMATWIZARD_TAG" val="Whi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GRADIENT_CIRCLE" val="1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GRADIENT_CIRCLE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GRADIENT_CIRCLE" val="1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GRADIENT_CIRCLE" val="1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GRADIENT_CIRCLE" val="1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itel 1">
  <a:themeElements>
    <a:clrScheme name="TUM">
      <a:dk1>
        <a:sysClr val="windowText" lastClr="000000"/>
      </a:dk1>
      <a:lt1>
        <a:sysClr val="window" lastClr="FFFFFF"/>
      </a:lt1>
      <a:dk2>
        <a:srgbClr val="0065BD"/>
      </a:dk2>
      <a:lt2>
        <a:srgbClr val="EEECE1"/>
      </a:lt2>
      <a:accent1>
        <a:srgbClr val="005293"/>
      </a:accent1>
      <a:accent2>
        <a:srgbClr val="98C6EA"/>
      </a:accent2>
      <a:accent3>
        <a:srgbClr val="64A0C8"/>
      </a:accent3>
      <a:accent4>
        <a:srgbClr val="DAD7CB"/>
      </a:accent4>
      <a:accent5>
        <a:srgbClr val="A2AD00"/>
      </a:accent5>
      <a:accent6>
        <a:srgbClr val="E37222"/>
      </a:accent6>
      <a:hlink>
        <a:srgbClr val="0000FF"/>
      </a:hlink>
      <a:folHlink>
        <a:srgbClr val="800080"/>
      </a:folHlink>
    </a:clrScheme>
    <a:fontScheme name="TUM 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<a:prstTxWarp prst="textNoShape">
          <a:avLst/>
        </a:prstTxWarp>
        <a:noAutofit/>
      </a:bodyPr>
      <a:lstStyle>
        <a:defPPr>
          <a:lnSpc>
            <a:spcPct val="114000"/>
          </a:lnSpc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>
          <a:lnSpc>
            <a:spcPct val="114000"/>
          </a:lnSpc>
          <a:defRPr sz="1600" dirty="0" err="1" smtClean="0">
            <a:latin typeface="+mn-lt"/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Titel 2">
  <a:themeElements>
    <a:clrScheme name="TUM">
      <a:dk1>
        <a:sysClr val="windowText" lastClr="000000"/>
      </a:dk1>
      <a:lt1>
        <a:sysClr val="window" lastClr="FFFFFF"/>
      </a:lt1>
      <a:dk2>
        <a:srgbClr val="0065BD"/>
      </a:dk2>
      <a:lt2>
        <a:srgbClr val="EEECE1"/>
      </a:lt2>
      <a:accent1>
        <a:srgbClr val="005293"/>
      </a:accent1>
      <a:accent2>
        <a:srgbClr val="98C6EA"/>
      </a:accent2>
      <a:accent3>
        <a:srgbClr val="64A0C8"/>
      </a:accent3>
      <a:accent4>
        <a:srgbClr val="DAD7CB"/>
      </a:accent4>
      <a:accent5>
        <a:srgbClr val="A2AD00"/>
      </a:accent5>
      <a:accent6>
        <a:srgbClr val="E37222"/>
      </a:accent6>
      <a:hlink>
        <a:srgbClr val="0000FF"/>
      </a:hlink>
      <a:folHlink>
        <a:srgbClr val="800080"/>
      </a:folHlink>
    </a:clrScheme>
    <a:fontScheme name="TUM 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<a:prstTxWarp prst="textNoShape">
          <a:avLst/>
        </a:prstTxWarp>
        <a:noAutofit/>
      </a:bodyPr>
      <a:lstStyle>
        <a:defPPr>
          <a:lnSpc>
            <a:spcPct val="114000"/>
          </a:lnSpc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>
          <a:lnSpc>
            <a:spcPct val="114000"/>
          </a:lnSpc>
          <a:defRPr sz="1600" dirty="0" err="1" smtClean="0">
            <a:latin typeface="+mn-lt"/>
          </a:defRPr>
        </a:defPPr>
      </a:lstStyle>
    </a:txDef>
  </a:objectDefaults>
  <a:extraClrSchemeLst/>
</a:theme>
</file>

<file path=ppt/theme/theme3.xml><?xml version="1.0" encoding="utf-8"?>
<a:theme xmlns:a="http://schemas.openxmlformats.org/drawingml/2006/main" name="Titel 3">
  <a:themeElements>
    <a:clrScheme name="TUM">
      <a:dk1>
        <a:sysClr val="windowText" lastClr="000000"/>
      </a:dk1>
      <a:lt1>
        <a:sysClr val="window" lastClr="FFFFFF"/>
      </a:lt1>
      <a:dk2>
        <a:srgbClr val="0065BD"/>
      </a:dk2>
      <a:lt2>
        <a:srgbClr val="EEECE1"/>
      </a:lt2>
      <a:accent1>
        <a:srgbClr val="005293"/>
      </a:accent1>
      <a:accent2>
        <a:srgbClr val="98C6EA"/>
      </a:accent2>
      <a:accent3>
        <a:srgbClr val="64A0C8"/>
      </a:accent3>
      <a:accent4>
        <a:srgbClr val="DAD7CB"/>
      </a:accent4>
      <a:accent5>
        <a:srgbClr val="A2AD00"/>
      </a:accent5>
      <a:accent6>
        <a:srgbClr val="E37222"/>
      </a:accent6>
      <a:hlink>
        <a:srgbClr val="0000FF"/>
      </a:hlink>
      <a:folHlink>
        <a:srgbClr val="800080"/>
      </a:folHlink>
    </a:clrScheme>
    <a:fontScheme name="TUM 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<a:prstTxWarp prst="textNoShape">
          <a:avLst/>
        </a:prstTxWarp>
        <a:noAutofit/>
      </a:bodyPr>
      <a:lstStyle>
        <a:defPPr>
          <a:lnSpc>
            <a:spcPct val="114000"/>
          </a:lnSpc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>
          <a:lnSpc>
            <a:spcPct val="114000"/>
          </a:lnSpc>
          <a:defRPr sz="1600" dirty="0" err="1" smtClean="0">
            <a:latin typeface="+mn-lt"/>
          </a:defRPr>
        </a:defPPr>
      </a:lstStyle>
    </a:txDef>
  </a:objectDefaults>
  <a:extraClrSchemeLst/>
</a:theme>
</file>

<file path=ppt/theme/theme4.xml><?xml version="1.0" encoding="utf-8"?>
<a:theme xmlns:a="http://schemas.openxmlformats.org/drawingml/2006/main" name="Inhalt">
  <a:themeElements>
    <a:clrScheme name="TUM">
      <a:dk1>
        <a:sysClr val="windowText" lastClr="000000"/>
      </a:dk1>
      <a:lt1>
        <a:sysClr val="window" lastClr="FFFFFF"/>
      </a:lt1>
      <a:dk2>
        <a:srgbClr val="003359"/>
      </a:dk2>
      <a:lt2>
        <a:srgbClr val="0065BD"/>
      </a:lt2>
      <a:accent1>
        <a:srgbClr val="005293"/>
      </a:accent1>
      <a:accent2>
        <a:srgbClr val="64A0C8"/>
      </a:accent2>
      <a:accent3>
        <a:srgbClr val="98C6EA"/>
      </a:accent3>
      <a:accent4>
        <a:srgbClr val="A2AD00"/>
      </a:accent4>
      <a:accent5>
        <a:srgbClr val="E37222"/>
      </a:accent5>
      <a:accent6>
        <a:srgbClr val="DAD7CB"/>
      </a:accent6>
      <a:hlink>
        <a:srgbClr val="0000FF"/>
      </a:hlink>
      <a:folHlink>
        <a:srgbClr val="800080"/>
      </a:folHlink>
    </a:clrScheme>
    <a:fontScheme name="TUM 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<a:prstTxWarp prst="textNoShape">
          <a:avLst/>
        </a:prstTxWarp>
        <a:noAutofit/>
      </a:bodyPr>
      <a:lstStyle>
        <a:defPPr>
          <a:lnSpc>
            <a:spcPct val="114000"/>
          </a:lnSpc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>
          <a:lnSpc>
            <a:spcPct val="114000"/>
          </a:lnSpc>
          <a:defRPr sz="1600" dirty="0" err="1" smtClean="0">
            <a:latin typeface="+mn-lt"/>
          </a:defRPr>
        </a:defPPr>
      </a:lstStyle>
    </a:txDef>
  </a:objectDefaults>
  <a:extraClrSchemeLst/>
</a:theme>
</file>

<file path=ppt/theme/theme5.xml><?xml version="1.0" encoding="utf-8"?>
<a:theme xmlns:a="http://schemas.openxmlformats.org/drawingml/2006/main" name="Kapiteltrenner blau">
  <a:themeElements>
    <a:clrScheme name="TUM">
      <a:dk1>
        <a:sysClr val="windowText" lastClr="000000"/>
      </a:dk1>
      <a:lt1>
        <a:sysClr val="window" lastClr="FFFFFF"/>
      </a:lt1>
      <a:dk2>
        <a:srgbClr val="0065BD"/>
      </a:dk2>
      <a:lt2>
        <a:srgbClr val="EEECE1"/>
      </a:lt2>
      <a:accent1>
        <a:srgbClr val="005293"/>
      </a:accent1>
      <a:accent2>
        <a:srgbClr val="98C6EA"/>
      </a:accent2>
      <a:accent3>
        <a:srgbClr val="64A0C8"/>
      </a:accent3>
      <a:accent4>
        <a:srgbClr val="DAD7CB"/>
      </a:accent4>
      <a:accent5>
        <a:srgbClr val="A2AD00"/>
      </a:accent5>
      <a:accent6>
        <a:srgbClr val="E37222"/>
      </a:accent6>
      <a:hlink>
        <a:srgbClr val="0000FF"/>
      </a:hlink>
      <a:folHlink>
        <a:srgbClr val="800080"/>
      </a:folHlink>
    </a:clrScheme>
    <a:fontScheme name="TUM 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<a:prstTxWarp prst="textNoShape">
          <a:avLst/>
        </a:prstTxWarp>
        <a:noAutofit/>
      </a:bodyPr>
      <a:lstStyle>
        <a:defPPr>
          <a:lnSpc>
            <a:spcPct val="114000"/>
          </a:lnSpc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>
          <a:lnSpc>
            <a:spcPct val="114000"/>
          </a:lnSpc>
          <a:defRPr sz="1600" dirty="0" err="1" smtClean="0">
            <a:latin typeface="+mn-lt"/>
          </a:defRPr>
        </a:defPPr>
      </a:lstStyle>
    </a:txDef>
  </a:objectDefaults>
  <a:extraClrSchemeLst/>
</a:theme>
</file>

<file path=ppt/theme/theme6.xml><?xml version="1.0" encoding="utf-8"?>
<a:theme xmlns:a="http://schemas.openxmlformats.org/drawingml/2006/main" name="Kapiteltrenner schwarz">
  <a:themeElements>
    <a:clrScheme name="TUM">
      <a:dk1>
        <a:sysClr val="windowText" lastClr="000000"/>
      </a:dk1>
      <a:lt1>
        <a:sysClr val="window" lastClr="FFFFFF"/>
      </a:lt1>
      <a:dk2>
        <a:srgbClr val="0065BD"/>
      </a:dk2>
      <a:lt2>
        <a:srgbClr val="EEECE1"/>
      </a:lt2>
      <a:accent1>
        <a:srgbClr val="005293"/>
      </a:accent1>
      <a:accent2>
        <a:srgbClr val="98C6EA"/>
      </a:accent2>
      <a:accent3>
        <a:srgbClr val="64A0C8"/>
      </a:accent3>
      <a:accent4>
        <a:srgbClr val="DAD7CB"/>
      </a:accent4>
      <a:accent5>
        <a:srgbClr val="A2AD00"/>
      </a:accent5>
      <a:accent6>
        <a:srgbClr val="E37222"/>
      </a:accent6>
      <a:hlink>
        <a:srgbClr val="0000FF"/>
      </a:hlink>
      <a:folHlink>
        <a:srgbClr val="800080"/>
      </a:folHlink>
    </a:clrScheme>
    <a:fontScheme name="TUM 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<a:prstTxWarp prst="textNoShape">
          <a:avLst/>
        </a:prstTxWarp>
        <a:noAutofit/>
      </a:bodyPr>
      <a:lstStyle>
        <a:defPPr>
          <a:lnSpc>
            <a:spcPct val="114000"/>
          </a:lnSpc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>
          <a:lnSpc>
            <a:spcPct val="114000"/>
          </a:lnSpc>
          <a:defRPr sz="1600" dirty="0" err="1" smtClean="0">
            <a:latin typeface="+mn-lt"/>
          </a:defRPr>
        </a:defPPr>
      </a:lstStyle>
    </a:txDef>
  </a:objectDefaults>
  <a:extraClrSchemeLst/>
</a:theme>
</file>

<file path=ppt/theme/theme7.xml><?xml version="1.0" encoding="utf-8"?>
<a:theme xmlns:a="http://schemas.openxmlformats.org/drawingml/2006/main" name="Titel 1">
  <a:themeElements>
    <a:clrScheme name="TUM">
      <a:dk1>
        <a:sysClr val="windowText" lastClr="000000"/>
      </a:dk1>
      <a:lt1>
        <a:sysClr val="window" lastClr="FFFFFF"/>
      </a:lt1>
      <a:dk2>
        <a:srgbClr val="0065BD"/>
      </a:dk2>
      <a:lt2>
        <a:srgbClr val="EEECE1"/>
      </a:lt2>
      <a:accent1>
        <a:srgbClr val="005293"/>
      </a:accent1>
      <a:accent2>
        <a:srgbClr val="98C6EA"/>
      </a:accent2>
      <a:accent3>
        <a:srgbClr val="64A0C8"/>
      </a:accent3>
      <a:accent4>
        <a:srgbClr val="DAD7CB"/>
      </a:accent4>
      <a:accent5>
        <a:srgbClr val="A2AD00"/>
      </a:accent5>
      <a:accent6>
        <a:srgbClr val="E37222"/>
      </a:accent6>
      <a:hlink>
        <a:srgbClr val="0000FF"/>
      </a:hlink>
      <a:folHlink>
        <a:srgbClr val="800080"/>
      </a:folHlink>
    </a:clrScheme>
    <a:fontScheme name="TUM 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<a:prstTxWarp prst="textNoShape">
          <a:avLst/>
        </a:prstTxWarp>
        <a:noAutofit/>
      </a:bodyPr>
      <a:lstStyle>
        <a:defPPr>
          <a:lnSpc>
            <a:spcPct val="114000"/>
          </a:lnSpc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>
          <a:lnSpc>
            <a:spcPct val="114000"/>
          </a:lnSpc>
          <a:defRPr sz="1600" dirty="0" err="1" smtClean="0">
            <a:latin typeface="+mn-lt"/>
          </a:defRPr>
        </a:defPPr>
      </a:lstStyle>
    </a:txDef>
  </a:objectDefaults>
  <a:extraClrSchemeLst/>
</a:theme>
</file>

<file path=ppt/theme/theme8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9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FAE9212D52993E4F8265320D033A943C" ma:contentTypeVersion="2" ma:contentTypeDescription="Create a new document." ma:contentTypeScope="" ma:versionID="ea0cf5d3941db8e5a54687ca25d2c20e">
  <xsd:schema xmlns:xsd="http://www.w3.org/2001/XMLSchema" xmlns:xs="http://www.w3.org/2001/XMLSchema" xmlns:p="http://schemas.microsoft.com/office/2006/metadata/properties" xmlns:ns2="0cad4480-634b-4dc1-b906-238aba27b2e6" targetNamespace="http://schemas.microsoft.com/office/2006/metadata/properties" ma:root="true" ma:fieldsID="6a6f0196ce26980c544123a9e1b21f99" ns2:_="">
    <xsd:import namespace="0cad4480-634b-4dc1-b906-238aba27b2e6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cad4480-634b-4dc1-b906-238aba27b2e6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7416FCDB-3006-475F-93B0-2E3AF3EC3135}">
  <ds:schemaRefs>
    <ds:schemaRef ds:uri="0cad4480-634b-4dc1-b906-238aba27b2e6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5E689295-2476-41D0-BFA7-CE0B48831ED5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96556B70-628E-4B87-9F0F-B0F760CE055E}">
  <ds:schemaRefs>
    <ds:schemaRef ds:uri="0cad4480-634b-4dc1-b906-238aba27b2e6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TUM_Praesentation_p_v1_16-9</Template>
  <TotalTime>0</TotalTime>
  <Words>2054</Words>
  <Application>Microsoft Macintosh PowerPoint</Application>
  <PresentationFormat>Bildschirmpräsentation (16:9)</PresentationFormat>
  <Paragraphs>347</Paragraphs>
  <Slides>20</Slides>
  <Notes>19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6</vt:i4>
      </vt:variant>
      <vt:variant>
        <vt:lpstr>Design</vt:lpstr>
      </vt:variant>
      <vt:variant>
        <vt:i4>7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20</vt:i4>
      </vt:variant>
    </vt:vector>
  </HeadingPairs>
  <TitlesOfParts>
    <vt:vector size="34" baseType="lpstr">
      <vt:lpstr>Arial</vt:lpstr>
      <vt:lpstr>Calibri</vt:lpstr>
      <vt:lpstr>Courier New</vt:lpstr>
      <vt:lpstr>Symbol</vt:lpstr>
      <vt:lpstr>Trebuchet MS</vt:lpstr>
      <vt:lpstr>Wingdings</vt:lpstr>
      <vt:lpstr>Titel 1</vt:lpstr>
      <vt:lpstr>Titel 2</vt:lpstr>
      <vt:lpstr>Titel 3</vt:lpstr>
      <vt:lpstr>Inhalt</vt:lpstr>
      <vt:lpstr>Kapiteltrenner blau</vt:lpstr>
      <vt:lpstr>Kapiteltrenner schwarz</vt:lpstr>
      <vt:lpstr>Titel 1</vt:lpstr>
      <vt:lpstr>think-cell Slide</vt:lpstr>
      <vt:lpstr>Pecha Kucha 2 – From idea to production</vt:lpstr>
      <vt:lpstr>Outline for today</vt:lpstr>
      <vt:lpstr>What has been achieved since the last time?</vt:lpstr>
      <vt:lpstr>How do we move forward?</vt:lpstr>
      <vt:lpstr>We use the wiki to document all of our work</vt:lpstr>
      <vt:lpstr>Problem setting: What data are we dealing with?</vt:lpstr>
      <vt:lpstr>Problem setting: Obvious class imbalances</vt:lpstr>
      <vt:lpstr>Data Augmentation enriches the dataset</vt:lpstr>
      <vt:lpstr>Image resizing always bears risks</vt:lpstr>
      <vt:lpstr>Detecting data issues</vt:lpstr>
      <vt:lpstr>Reducing the need for manual labeling with active learning</vt:lpstr>
      <vt:lpstr>Exploiting knowledge with transfer learning</vt:lpstr>
      <vt:lpstr>Using self supervised learning to learn a good representation from unlabled data</vt:lpstr>
      <vt:lpstr>We organize our findings in a MLOps Pipeline</vt:lpstr>
      <vt:lpstr> Keeping the ML development organized!</vt:lpstr>
      <vt:lpstr>TFX encapsulates fuctionalities inside components</vt:lpstr>
      <vt:lpstr>We will use TFX to keep our ML Pipeline organized</vt:lpstr>
      <vt:lpstr>The TFX flow covers the whole pipeline</vt:lpstr>
      <vt:lpstr>TFX Serving allows a seamless processing of the given tasks</vt:lpstr>
      <vt:lpstr>PowerPoint-Präsentation</vt:lpstr>
    </vt:vector>
  </TitlesOfParts>
  <Company>--</Company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ga68bow</dc:creator>
  <cp:lastModifiedBy>Asim Soysal</cp:lastModifiedBy>
  <cp:revision>6</cp:revision>
  <cp:lastPrinted>2015-07-30T14:04:45Z</cp:lastPrinted>
  <dcterms:created xsi:type="dcterms:W3CDTF">2017-11-15T09:52:15Z</dcterms:created>
  <dcterms:modified xsi:type="dcterms:W3CDTF">2022-06-20T21:28:3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FAE9212D52993E4F8265320D033A943C</vt:lpwstr>
  </property>
  <property fmtid="{D5CDD505-2E9C-101B-9397-08002B2CF9AE}" pid="3" name="MSIP_Label_b0d5c4f4-7a29-4385-b7a5-afbe2154ae6f_Enabled">
    <vt:lpwstr>true</vt:lpwstr>
  </property>
  <property fmtid="{D5CDD505-2E9C-101B-9397-08002B2CF9AE}" pid="4" name="MSIP_Label_b0d5c4f4-7a29-4385-b7a5-afbe2154ae6f_SetDate">
    <vt:lpwstr>2022-06-16T15:26:55Z</vt:lpwstr>
  </property>
  <property fmtid="{D5CDD505-2E9C-101B-9397-08002B2CF9AE}" pid="5" name="MSIP_Label_b0d5c4f4-7a29-4385-b7a5-afbe2154ae6f_Method">
    <vt:lpwstr>Standard</vt:lpwstr>
  </property>
  <property fmtid="{D5CDD505-2E9C-101B-9397-08002B2CF9AE}" pid="6" name="MSIP_Label_b0d5c4f4-7a29-4385-b7a5-afbe2154ae6f_Name">
    <vt:lpwstr>Confidential</vt:lpwstr>
  </property>
  <property fmtid="{D5CDD505-2E9C-101B-9397-08002B2CF9AE}" pid="7" name="MSIP_Label_b0d5c4f4-7a29-4385-b7a5-afbe2154ae6f_SiteId">
    <vt:lpwstr>2dfb2f0b-4d21-4268-9559-72926144c918</vt:lpwstr>
  </property>
  <property fmtid="{D5CDD505-2E9C-101B-9397-08002B2CF9AE}" pid="8" name="MSIP_Label_b0d5c4f4-7a29-4385-b7a5-afbe2154ae6f_ActionId">
    <vt:lpwstr>69721263-341e-4451-878b-696319a296a5</vt:lpwstr>
  </property>
  <property fmtid="{D5CDD505-2E9C-101B-9397-08002B2CF9AE}" pid="9" name="MSIP_Label_b0d5c4f4-7a29-4385-b7a5-afbe2154ae6f_ContentBits">
    <vt:lpwstr>0</vt:lpwstr>
  </property>
  <property fmtid="{D5CDD505-2E9C-101B-9397-08002B2CF9AE}" pid="10" name="bcgClassification">
    <vt:lpwstr>bcgConfidential</vt:lpwstr>
  </property>
</Properties>
</file>